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jfif" ContentType="image/jpe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xlsb" ContentType="application/vnd.ms-excel.sheet.binary.macroEnabled.12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notesSlides/notesSlide2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ags/tag180.xml" ContentType="application/vnd.openxmlformats-officedocument.presentationml.tags+xml"/>
  <Override PartName="/ppt/tags/tag181.xml" ContentType="application/vnd.openxmlformats-officedocument.presentationml.tags+xml"/>
  <Override PartName="/ppt/tags/tag182.xml" ContentType="application/vnd.openxmlformats-officedocument.presentationml.tags+xml"/>
  <Override PartName="/ppt/tags/tag183.xml" ContentType="application/vnd.openxmlformats-officedocument.presentationml.tags+xml"/>
  <Override PartName="/ppt/tags/tag184.xml" ContentType="application/vnd.openxmlformats-officedocument.presentationml.tags+xml"/>
  <Override PartName="/ppt/tags/tag185.xml" ContentType="application/vnd.openxmlformats-officedocument.presentationml.tags+xml"/>
  <Override PartName="/ppt/tags/tag186.xml" ContentType="application/vnd.openxmlformats-officedocument.presentationml.tags+xml"/>
  <Override PartName="/ppt/tags/tag187.xml" ContentType="application/vnd.openxmlformats-officedocument.presentationml.tags+xml"/>
  <Override PartName="/ppt/tags/tag188.xml" ContentType="application/vnd.openxmlformats-officedocument.presentationml.tags+xml"/>
  <Override PartName="/ppt/tags/tag189.xml" ContentType="application/vnd.openxmlformats-officedocument.presentationml.tags+xml"/>
  <Override PartName="/ppt/tags/tag190.xml" ContentType="application/vnd.openxmlformats-officedocument.presentationml.tags+xml"/>
  <Override PartName="/ppt/tags/tag191.xml" ContentType="application/vnd.openxmlformats-officedocument.presentationml.tags+xml"/>
  <Override PartName="/ppt/tags/tag192.xml" ContentType="application/vnd.openxmlformats-officedocument.presentationml.tags+xml"/>
  <Override PartName="/ppt/tags/tag193.xml" ContentType="application/vnd.openxmlformats-officedocument.presentationml.tags+xml"/>
  <Override PartName="/ppt/tags/tag194.xml" ContentType="application/vnd.openxmlformats-officedocument.presentationml.tags+xml"/>
  <Override PartName="/ppt/tags/tag195.xml" ContentType="application/vnd.openxmlformats-officedocument.presentationml.tags+xml"/>
  <Override PartName="/ppt/tags/tag196.xml" ContentType="application/vnd.openxmlformats-officedocument.presentationml.tags+xml"/>
  <Override PartName="/ppt/tags/tag197.xml" ContentType="application/vnd.openxmlformats-officedocument.presentationml.tags+xml"/>
  <Override PartName="/ppt/tags/tag198.xml" ContentType="application/vnd.openxmlformats-officedocument.presentationml.tags+xml"/>
  <Override PartName="/ppt/tags/tag199.xml" ContentType="application/vnd.openxmlformats-officedocument.presentationml.tags+xml"/>
  <Override PartName="/ppt/tags/tag200.xml" ContentType="application/vnd.openxmlformats-officedocument.presentationml.tags+xml"/>
  <Override PartName="/ppt/tags/tag201.xml" ContentType="application/vnd.openxmlformats-officedocument.presentationml.tags+xml"/>
  <Override PartName="/ppt/tags/tag202.xml" ContentType="application/vnd.openxmlformats-officedocument.presentationml.tags+xml"/>
  <Override PartName="/ppt/tags/tag203.xml" ContentType="application/vnd.openxmlformats-officedocument.presentationml.tags+xml"/>
  <Override PartName="/ppt/tags/tag204.xml" ContentType="application/vnd.openxmlformats-officedocument.presentationml.tags+xml"/>
  <Override PartName="/ppt/tags/tag205.xml" ContentType="application/vnd.openxmlformats-officedocument.presentationml.tags+xml"/>
  <Override PartName="/ppt/tags/tag206.xml" ContentType="application/vnd.openxmlformats-officedocument.presentationml.tags+xml"/>
  <Override PartName="/ppt/tags/tag207.xml" ContentType="application/vnd.openxmlformats-officedocument.presentationml.tags+xml"/>
  <Override PartName="/ppt/tags/tag208.xml" ContentType="application/vnd.openxmlformats-officedocument.presentationml.tags+xml"/>
  <Override PartName="/ppt/tags/tag209.xml" ContentType="application/vnd.openxmlformats-officedocument.presentationml.tags+xml"/>
  <Override PartName="/ppt/tags/tag210.xml" ContentType="application/vnd.openxmlformats-officedocument.presentationml.tags+xml"/>
  <Override PartName="/ppt/tags/tag211.xml" ContentType="application/vnd.openxmlformats-officedocument.presentationml.tags+xml"/>
  <Override PartName="/ppt/tags/tag212.xml" ContentType="application/vnd.openxmlformats-officedocument.presentationml.tags+xml"/>
  <Override PartName="/ppt/tags/tag213.xml" ContentType="application/vnd.openxmlformats-officedocument.presentationml.tags+xml"/>
  <Override PartName="/ppt/tags/tag214.xml" ContentType="application/vnd.openxmlformats-officedocument.presentationml.tags+xml"/>
  <Override PartName="/ppt/notesSlides/notesSlide3.xml" ContentType="application/vnd.openxmlformats-officedocument.presentationml.notesSlide+xml"/>
  <Override PartName="/ppt/charts/chart2.xml" ContentType="application/vnd.openxmlformats-officedocument.drawingml.chart+xml"/>
  <Override PartName="/ppt/charts/chart3.xml" ContentType="application/vnd.openxmlformats-officedocument.drawingml.chart+xml"/>
  <Override PartName="/ppt/charts/chart4.xml" ContentType="application/vnd.openxmlformats-officedocument.drawingml.chart+xml"/>
  <Override PartName="/ppt/charts/chart5.xml" ContentType="application/vnd.openxmlformats-officedocument.drawingml.chart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66" r:id="rId1"/>
  </p:sldMasterIdLst>
  <p:notesMasterIdLst>
    <p:notesMasterId r:id="rId10"/>
  </p:notesMasterIdLst>
  <p:handoutMasterIdLst>
    <p:handoutMasterId r:id="rId11"/>
  </p:handoutMasterIdLst>
  <p:sldIdLst>
    <p:sldId id="257" r:id="rId2"/>
    <p:sldId id="3484" r:id="rId3"/>
    <p:sldId id="3485" r:id="rId4"/>
    <p:sldId id="3475" r:id="rId5"/>
    <p:sldId id="3483" r:id="rId6"/>
    <p:sldId id="3482" r:id="rId7"/>
    <p:sldId id="3474" r:id="rId8"/>
    <p:sldId id="266" r:id="rId9"/>
  </p:sldIdLst>
  <p:sldSz cx="12192000" cy="6858000"/>
  <p:notesSz cx="9309100" cy="7023100"/>
  <p:custDataLst>
    <p:tags r:id="rId12"/>
  </p:custDataLst>
  <p:defaultTextStyle>
    <a:defPPr>
      <a:defRPr lang="uk-UA"/>
    </a:defPPr>
    <a:lvl1pPr marL="0" algn="l" defTabSz="804649" rtl="0" eaLnBrk="1" latinLnBrk="0" hangingPunct="1">
      <a:defRPr sz="1584" kern="1200">
        <a:solidFill>
          <a:schemeClr val="tx1"/>
        </a:solidFill>
        <a:latin typeface="+mn-lt"/>
        <a:ea typeface="+mn-ea"/>
        <a:cs typeface="+mn-cs"/>
      </a:defRPr>
    </a:lvl1pPr>
    <a:lvl2pPr marL="402325" algn="l" defTabSz="804649" rtl="0" eaLnBrk="1" latinLnBrk="0" hangingPunct="1">
      <a:defRPr sz="1584" kern="1200">
        <a:solidFill>
          <a:schemeClr val="tx1"/>
        </a:solidFill>
        <a:latin typeface="+mn-lt"/>
        <a:ea typeface="+mn-ea"/>
        <a:cs typeface="+mn-cs"/>
      </a:defRPr>
    </a:lvl2pPr>
    <a:lvl3pPr marL="804649" algn="l" defTabSz="804649" rtl="0" eaLnBrk="1" latinLnBrk="0" hangingPunct="1">
      <a:defRPr sz="1584" kern="1200">
        <a:solidFill>
          <a:schemeClr val="tx1"/>
        </a:solidFill>
        <a:latin typeface="+mn-lt"/>
        <a:ea typeface="+mn-ea"/>
        <a:cs typeface="+mn-cs"/>
      </a:defRPr>
    </a:lvl3pPr>
    <a:lvl4pPr marL="1206974" algn="l" defTabSz="804649" rtl="0" eaLnBrk="1" latinLnBrk="0" hangingPunct="1">
      <a:defRPr sz="1584" kern="1200">
        <a:solidFill>
          <a:schemeClr val="tx1"/>
        </a:solidFill>
        <a:latin typeface="+mn-lt"/>
        <a:ea typeface="+mn-ea"/>
        <a:cs typeface="+mn-cs"/>
      </a:defRPr>
    </a:lvl4pPr>
    <a:lvl5pPr marL="1609298" algn="l" defTabSz="804649" rtl="0" eaLnBrk="1" latinLnBrk="0" hangingPunct="1">
      <a:defRPr sz="1584" kern="1200">
        <a:solidFill>
          <a:schemeClr val="tx1"/>
        </a:solidFill>
        <a:latin typeface="+mn-lt"/>
        <a:ea typeface="+mn-ea"/>
        <a:cs typeface="+mn-cs"/>
      </a:defRPr>
    </a:lvl5pPr>
    <a:lvl6pPr marL="2011623" algn="l" defTabSz="804649" rtl="0" eaLnBrk="1" latinLnBrk="0" hangingPunct="1">
      <a:defRPr sz="1584" kern="1200">
        <a:solidFill>
          <a:schemeClr val="tx1"/>
        </a:solidFill>
        <a:latin typeface="+mn-lt"/>
        <a:ea typeface="+mn-ea"/>
        <a:cs typeface="+mn-cs"/>
      </a:defRPr>
    </a:lvl6pPr>
    <a:lvl7pPr marL="2413947" algn="l" defTabSz="804649" rtl="0" eaLnBrk="1" latinLnBrk="0" hangingPunct="1">
      <a:defRPr sz="1584" kern="1200">
        <a:solidFill>
          <a:schemeClr val="tx1"/>
        </a:solidFill>
        <a:latin typeface="+mn-lt"/>
        <a:ea typeface="+mn-ea"/>
        <a:cs typeface="+mn-cs"/>
      </a:defRPr>
    </a:lvl7pPr>
    <a:lvl8pPr marL="2816272" algn="l" defTabSz="804649" rtl="0" eaLnBrk="1" latinLnBrk="0" hangingPunct="1">
      <a:defRPr sz="1584" kern="1200">
        <a:solidFill>
          <a:schemeClr val="tx1"/>
        </a:solidFill>
        <a:latin typeface="+mn-lt"/>
        <a:ea typeface="+mn-ea"/>
        <a:cs typeface="+mn-cs"/>
      </a:defRPr>
    </a:lvl8pPr>
    <a:lvl9pPr marL="3218597" algn="l" defTabSz="804649" rtl="0" eaLnBrk="1" latinLnBrk="0" hangingPunct="1">
      <a:defRPr sz="1584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9692A5E6-D983-814B-B720-607F70AC0851}">
          <p14:sldIdLst>
            <p14:sldId id="257"/>
            <p14:sldId id="3484"/>
            <p14:sldId id="3485"/>
            <p14:sldId id="3475"/>
            <p14:sldId id="3483"/>
            <p14:sldId id="3482"/>
            <p14:sldId id="3474"/>
            <p14:sldId id="266"/>
          </p14:sldIdLst>
        </p14:section>
      </p14:sectionLst>
    </p:ext>
    <p:ext uri="{EFAFB233-063F-42B5-8137-9DF3F51BA10A}">
      <p15:sldGuideLst xmlns:p15="http://schemas.microsoft.com/office/powerpoint/2012/main">
        <p15:guide id="2" userDrawn="1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EF7D24"/>
    <a:srgbClr val="FEA624"/>
    <a:srgbClr val="00A1DF"/>
    <a:srgbClr val="069432"/>
    <a:srgbClr val="E31322"/>
    <a:srgbClr val="00A9DF"/>
    <a:srgbClr val="09E14C"/>
    <a:srgbClr val="FFD211"/>
    <a:srgbClr val="FFEE11"/>
    <a:srgbClr val="BFDFF4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3240" autoAdjust="0"/>
    <p:restoredTop sz="94014" autoAdjust="0"/>
  </p:normalViewPr>
  <p:slideViewPr>
    <p:cSldViewPr>
      <p:cViewPr varScale="1">
        <p:scale>
          <a:sx n="72" d="100"/>
          <a:sy n="72" d="100"/>
        </p:scale>
        <p:origin x="2256" y="200"/>
      </p:cViewPr>
      <p:guideLst>
        <p:guide/>
        <p:guide orient="horz" pos="2160"/>
      </p:guideLst>
    </p:cSldViewPr>
  </p:slideViewPr>
  <p:notesTextViewPr>
    <p:cViewPr>
      <p:scale>
        <a:sx n="3" d="2"/>
        <a:sy n="3" d="2"/>
      </p:scale>
      <p:origin x="0" y="0"/>
    </p:cViewPr>
  </p:notesText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Binary_Worksheet.xlsb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1.xlsb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2.xlsb"/></Relationships>
</file>

<file path=ppt/charts/_rels/chart4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3.xlsb"/></Relationships>
</file>

<file path=ppt/charts/_rels/chart5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Binary_Worksheet4.xlsb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0"/>
    <c:plotArea>
      <c:layout>
        <c:manualLayout>
          <c:layoutTarget val="inner"/>
          <c:xMode val="edge"/>
          <c:yMode val="edge"/>
          <c:x val="4.6069984174432914E-2"/>
          <c:y val="2.1617852161785217E-2"/>
          <c:w val="0.94478635484438189"/>
          <c:h val="0.95676429567642962"/>
        </c:manualLayout>
      </c:layout>
      <c:scatterChart>
        <c:scatterStyle val="lineMarker"/>
        <c:varyColors val="0"/>
        <c:ser>
          <c:idx val="0"/>
          <c:order val="0"/>
          <c:spPr>
            <a:ln w="19050" algn="ctr">
              <a:solidFill>
                <a:schemeClr val="accent1"/>
              </a:solidFill>
              <a:prstDash val="solid"/>
            </a:ln>
          </c:spPr>
          <c:marker>
            <c:symbol val="none"/>
          </c:marker>
          <c:xVal>
            <c:numRef>
              <c:f>Sheet1!$A$1:$TR$1</c:f>
              <c:numCache>
                <c:formatCode>General</c:formatCode>
                <c:ptCount val="538"/>
                <c:pt idx="0">
                  <c:v>18263</c:v>
                </c:pt>
                <c:pt idx="1">
                  <c:v>18264</c:v>
                </c:pt>
                <c:pt idx="2">
                  <c:v>18267</c:v>
                </c:pt>
                <c:pt idx="3">
                  <c:v>18268</c:v>
                </c:pt>
                <c:pt idx="4">
                  <c:v>18269</c:v>
                </c:pt>
                <c:pt idx="5">
                  <c:v>18270</c:v>
                </c:pt>
                <c:pt idx="6">
                  <c:v>18271</c:v>
                </c:pt>
                <c:pt idx="7">
                  <c:v>18274</c:v>
                </c:pt>
                <c:pt idx="8">
                  <c:v>18275</c:v>
                </c:pt>
                <c:pt idx="9">
                  <c:v>18276</c:v>
                </c:pt>
                <c:pt idx="10">
                  <c:v>18277</c:v>
                </c:pt>
                <c:pt idx="11">
                  <c:v>18278</c:v>
                </c:pt>
                <c:pt idx="12">
                  <c:v>18281</c:v>
                </c:pt>
                <c:pt idx="13">
                  <c:v>18282</c:v>
                </c:pt>
                <c:pt idx="14">
                  <c:v>18283</c:v>
                </c:pt>
                <c:pt idx="15">
                  <c:v>18284</c:v>
                </c:pt>
                <c:pt idx="16">
                  <c:v>18285</c:v>
                </c:pt>
                <c:pt idx="17">
                  <c:v>18288</c:v>
                </c:pt>
                <c:pt idx="18">
                  <c:v>18289</c:v>
                </c:pt>
                <c:pt idx="19">
                  <c:v>18290</c:v>
                </c:pt>
                <c:pt idx="20">
                  <c:v>18291</c:v>
                </c:pt>
                <c:pt idx="21">
                  <c:v>18292</c:v>
                </c:pt>
                <c:pt idx="22">
                  <c:v>18295</c:v>
                </c:pt>
                <c:pt idx="23">
                  <c:v>18296</c:v>
                </c:pt>
                <c:pt idx="24">
                  <c:v>18297</c:v>
                </c:pt>
                <c:pt idx="25">
                  <c:v>18298</c:v>
                </c:pt>
                <c:pt idx="26">
                  <c:v>18299</c:v>
                </c:pt>
                <c:pt idx="27">
                  <c:v>18302</c:v>
                </c:pt>
                <c:pt idx="28">
                  <c:v>18303</c:v>
                </c:pt>
                <c:pt idx="29">
                  <c:v>18304</c:v>
                </c:pt>
                <c:pt idx="30">
                  <c:v>18305</c:v>
                </c:pt>
                <c:pt idx="31">
                  <c:v>18306</c:v>
                </c:pt>
                <c:pt idx="32">
                  <c:v>18309</c:v>
                </c:pt>
                <c:pt idx="33">
                  <c:v>18310</c:v>
                </c:pt>
                <c:pt idx="34">
                  <c:v>18311</c:v>
                </c:pt>
                <c:pt idx="35">
                  <c:v>18312</c:v>
                </c:pt>
                <c:pt idx="36">
                  <c:v>18313</c:v>
                </c:pt>
                <c:pt idx="37">
                  <c:v>18316</c:v>
                </c:pt>
                <c:pt idx="38">
                  <c:v>18317</c:v>
                </c:pt>
                <c:pt idx="39">
                  <c:v>18318</c:v>
                </c:pt>
                <c:pt idx="40">
                  <c:v>18319</c:v>
                </c:pt>
                <c:pt idx="41">
                  <c:v>18320</c:v>
                </c:pt>
                <c:pt idx="42">
                  <c:v>18323</c:v>
                </c:pt>
                <c:pt idx="43">
                  <c:v>18324</c:v>
                </c:pt>
                <c:pt idx="44">
                  <c:v>18325</c:v>
                </c:pt>
                <c:pt idx="45">
                  <c:v>18326</c:v>
                </c:pt>
                <c:pt idx="46">
                  <c:v>18327</c:v>
                </c:pt>
                <c:pt idx="47">
                  <c:v>18330</c:v>
                </c:pt>
                <c:pt idx="48">
                  <c:v>18331</c:v>
                </c:pt>
                <c:pt idx="49">
                  <c:v>18332</c:v>
                </c:pt>
                <c:pt idx="50">
                  <c:v>18333</c:v>
                </c:pt>
                <c:pt idx="51">
                  <c:v>18334</c:v>
                </c:pt>
                <c:pt idx="52">
                  <c:v>18337</c:v>
                </c:pt>
                <c:pt idx="53">
                  <c:v>18338</c:v>
                </c:pt>
                <c:pt idx="54">
                  <c:v>18339</c:v>
                </c:pt>
                <c:pt idx="55">
                  <c:v>18340</c:v>
                </c:pt>
                <c:pt idx="56">
                  <c:v>18341</c:v>
                </c:pt>
                <c:pt idx="57">
                  <c:v>18344</c:v>
                </c:pt>
                <c:pt idx="58">
                  <c:v>18345</c:v>
                </c:pt>
                <c:pt idx="59">
                  <c:v>18346</c:v>
                </c:pt>
                <c:pt idx="60">
                  <c:v>18347</c:v>
                </c:pt>
                <c:pt idx="61">
                  <c:v>18348</c:v>
                </c:pt>
                <c:pt idx="62">
                  <c:v>18351</c:v>
                </c:pt>
                <c:pt idx="63">
                  <c:v>18352</c:v>
                </c:pt>
                <c:pt idx="64">
                  <c:v>18353</c:v>
                </c:pt>
                <c:pt idx="65">
                  <c:v>18354</c:v>
                </c:pt>
                <c:pt idx="66">
                  <c:v>18355</c:v>
                </c:pt>
                <c:pt idx="67">
                  <c:v>18358</c:v>
                </c:pt>
                <c:pt idx="68">
                  <c:v>18359</c:v>
                </c:pt>
                <c:pt idx="69">
                  <c:v>18360</c:v>
                </c:pt>
                <c:pt idx="70">
                  <c:v>18361</c:v>
                </c:pt>
                <c:pt idx="71">
                  <c:v>18366</c:v>
                </c:pt>
                <c:pt idx="72">
                  <c:v>18367</c:v>
                </c:pt>
                <c:pt idx="73">
                  <c:v>18368</c:v>
                </c:pt>
                <c:pt idx="74">
                  <c:v>18369</c:v>
                </c:pt>
                <c:pt idx="75">
                  <c:v>18372</c:v>
                </c:pt>
                <c:pt idx="76">
                  <c:v>18373</c:v>
                </c:pt>
                <c:pt idx="77">
                  <c:v>18374</c:v>
                </c:pt>
                <c:pt idx="78">
                  <c:v>18375</c:v>
                </c:pt>
                <c:pt idx="79">
                  <c:v>18376</c:v>
                </c:pt>
                <c:pt idx="80">
                  <c:v>18379</c:v>
                </c:pt>
                <c:pt idx="81">
                  <c:v>18380</c:v>
                </c:pt>
                <c:pt idx="82">
                  <c:v>18381</c:v>
                </c:pt>
                <c:pt idx="83">
                  <c:v>18382</c:v>
                </c:pt>
                <c:pt idx="84">
                  <c:v>18386</c:v>
                </c:pt>
                <c:pt idx="85">
                  <c:v>18387</c:v>
                </c:pt>
                <c:pt idx="86">
                  <c:v>18388</c:v>
                </c:pt>
                <c:pt idx="87">
                  <c:v>18389</c:v>
                </c:pt>
                <c:pt idx="88">
                  <c:v>18393</c:v>
                </c:pt>
                <c:pt idx="89">
                  <c:v>18394</c:v>
                </c:pt>
                <c:pt idx="90">
                  <c:v>18395</c:v>
                </c:pt>
                <c:pt idx="91">
                  <c:v>18396</c:v>
                </c:pt>
                <c:pt idx="92">
                  <c:v>18397</c:v>
                </c:pt>
                <c:pt idx="93">
                  <c:v>18400</c:v>
                </c:pt>
                <c:pt idx="94">
                  <c:v>18401</c:v>
                </c:pt>
                <c:pt idx="95">
                  <c:v>18402</c:v>
                </c:pt>
                <c:pt idx="96">
                  <c:v>18403</c:v>
                </c:pt>
                <c:pt idx="97">
                  <c:v>18404</c:v>
                </c:pt>
                <c:pt idx="98">
                  <c:v>18408</c:v>
                </c:pt>
                <c:pt idx="99">
                  <c:v>18409</c:v>
                </c:pt>
                <c:pt idx="100">
                  <c:v>18410</c:v>
                </c:pt>
                <c:pt idx="101">
                  <c:v>18411</c:v>
                </c:pt>
                <c:pt idx="102">
                  <c:v>18414</c:v>
                </c:pt>
                <c:pt idx="103">
                  <c:v>18415</c:v>
                </c:pt>
                <c:pt idx="104">
                  <c:v>18416</c:v>
                </c:pt>
                <c:pt idx="105">
                  <c:v>18417</c:v>
                </c:pt>
                <c:pt idx="106">
                  <c:v>18418</c:v>
                </c:pt>
                <c:pt idx="107">
                  <c:v>18421</c:v>
                </c:pt>
                <c:pt idx="108">
                  <c:v>18422</c:v>
                </c:pt>
                <c:pt idx="109">
                  <c:v>18423</c:v>
                </c:pt>
                <c:pt idx="110">
                  <c:v>18424</c:v>
                </c:pt>
                <c:pt idx="111">
                  <c:v>18425</c:v>
                </c:pt>
                <c:pt idx="112">
                  <c:v>18428</c:v>
                </c:pt>
                <c:pt idx="113">
                  <c:v>18429</c:v>
                </c:pt>
                <c:pt idx="114">
                  <c:v>18430</c:v>
                </c:pt>
                <c:pt idx="115">
                  <c:v>18431</c:v>
                </c:pt>
                <c:pt idx="116">
                  <c:v>18432</c:v>
                </c:pt>
                <c:pt idx="117">
                  <c:v>18435</c:v>
                </c:pt>
                <c:pt idx="118">
                  <c:v>18436</c:v>
                </c:pt>
                <c:pt idx="119">
                  <c:v>18437</c:v>
                </c:pt>
                <c:pt idx="120">
                  <c:v>18438</c:v>
                </c:pt>
                <c:pt idx="121">
                  <c:v>18439</c:v>
                </c:pt>
                <c:pt idx="122">
                  <c:v>18442</c:v>
                </c:pt>
                <c:pt idx="123">
                  <c:v>18443</c:v>
                </c:pt>
                <c:pt idx="124">
                  <c:v>18444</c:v>
                </c:pt>
                <c:pt idx="125">
                  <c:v>18445</c:v>
                </c:pt>
                <c:pt idx="126">
                  <c:v>18446</c:v>
                </c:pt>
                <c:pt idx="127">
                  <c:v>18449</c:v>
                </c:pt>
                <c:pt idx="128">
                  <c:v>18450</c:v>
                </c:pt>
                <c:pt idx="129">
                  <c:v>18451</c:v>
                </c:pt>
                <c:pt idx="130">
                  <c:v>18452</c:v>
                </c:pt>
                <c:pt idx="131">
                  <c:v>18453</c:v>
                </c:pt>
                <c:pt idx="132">
                  <c:v>18456</c:v>
                </c:pt>
                <c:pt idx="133">
                  <c:v>18457</c:v>
                </c:pt>
                <c:pt idx="134">
                  <c:v>18458</c:v>
                </c:pt>
                <c:pt idx="135">
                  <c:v>18459</c:v>
                </c:pt>
                <c:pt idx="136">
                  <c:v>18460</c:v>
                </c:pt>
                <c:pt idx="137">
                  <c:v>18463</c:v>
                </c:pt>
                <c:pt idx="138">
                  <c:v>18464</c:v>
                </c:pt>
                <c:pt idx="139">
                  <c:v>18465</c:v>
                </c:pt>
                <c:pt idx="140">
                  <c:v>18466</c:v>
                </c:pt>
                <c:pt idx="141">
                  <c:v>18467</c:v>
                </c:pt>
                <c:pt idx="142">
                  <c:v>18470</c:v>
                </c:pt>
                <c:pt idx="143">
                  <c:v>18471</c:v>
                </c:pt>
                <c:pt idx="144">
                  <c:v>18472</c:v>
                </c:pt>
                <c:pt idx="145">
                  <c:v>18473</c:v>
                </c:pt>
                <c:pt idx="146">
                  <c:v>18474</c:v>
                </c:pt>
                <c:pt idx="147">
                  <c:v>18477</c:v>
                </c:pt>
                <c:pt idx="148">
                  <c:v>18478</c:v>
                </c:pt>
                <c:pt idx="149">
                  <c:v>18479</c:v>
                </c:pt>
                <c:pt idx="150">
                  <c:v>18480</c:v>
                </c:pt>
                <c:pt idx="151">
                  <c:v>18481</c:v>
                </c:pt>
                <c:pt idx="152">
                  <c:v>18484</c:v>
                </c:pt>
                <c:pt idx="153">
                  <c:v>18485</c:v>
                </c:pt>
                <c:pt idx="154">
                  <c:v>18486</c:v>
                </c:pt>
                <c:pt idx="155">
                  <c:v>18487</c:v>
                </c:pt>
                <c:pt idx="156">
                  <c:v>18488</c:v>
                </c:pt>
                <c:pt idx="157">
                  <c:v>18491</c:v>
                </c:pt>
                <c:pt idx="158">
                  <c:v>18492</c:v>
                </c:pt>
                <c:pt idx="159">
                  <c:v>18493</c:v>
                </c:pt>
                <c:pt idx="160">
                  <c:v>18494</c:v>
                </c:pt>
                <c:pt idx="161">
                  <c:v>18495</c:v>
                </c:pt>
                <c:pt idx="162">
                  <c:v>18498</c:v>
                </c:pt>
                <c:pt idx="163">
                  <c:v>18499</c:v>
                </c:pt>
                <c:pt idx="164">
                  <c:v>18500</c:v>
                </c:pt>
                <c:pt idx="165">
                  <c:v>18501</c:v>
                </c:pt>
                <c:pt idx="166">
                  <c:v>18502</c:v>
                </c:pt>
                <c:pt idx="167">
                  <c:v>18505</c:v>
                </c:pt>
                <c:pt idx="168">
                  <c:v>18506</c:v>
                </c:pt>
                <c:pt idx="169">
                  <c:v>18507</c:v>
                </c:pt>
                <c:pt idx="170">
                  <c:v>18508</c:v>
                </c:pt>
                <c:pt idx="171">
                  <c:v>18509</c:v>
                </c:pt>
                <c:pt idx="172">
                  <c:v>18512</c:v>
                </c:pt>
                <c:pt idx="173">
                  <c:v>18513</c:v>
                </c:pt>
                <c:pt idx="174">
                  <c:v>18514</c:v>
                </c:pt>
                <c:pt idx="175">
                  <c:v>18515</c:v>
                </c:pt>
                <c:pt idx="176">
                  <c:v>18516</c:v>
                </c:pt>
                <c:pt idx="177">
                  <c:v>18519</c:v>
                </c:pt>
                <c:pt idx="178">
                  <c:v>18520</c:v>
                </c:pt>
                <c:pt idx="179">
                  <c:v>18521</c:v>
                </c:pt>
                <c:pt idx="180">
                  <c:v>18522</c:v>
                </c:pt>
                <c:pt idx="181">
                  <c:v>18523</c:v>
                </c:pt>
                <c:pt idx="182">
                  <c:v>18526</c:v>
                </c:pt>
                <c:pt idx="183">
                  <c:v>18527</c:v>
                </c:pt>
                <c:pt idx="184">
                  <c:v>18528</c:v>
                </c:pt>
                <c:pt idx="185">
                  <c:v>18529</c:v>
                </c:pt>
                <c:pt idx="186">
                  <c:v>18530</c:v>
                </c:pt>
                <c:pt idx="187">
                  <c:v>18533</c:v>
                </c:pt>
                <c:pt idx="188">
                  <c:v>18534</c:v>
                </c:pt>
                <c:pt idx="189">
                  <c:v>18535</c:v>
                </c:pt>
                <c:pt idx="190">
                  <c:v>18536</c:v>
                </c:pt>
                <c:pt idx="191">
                  <c:v>18537</c:v>
                </c:pt>
                <c:pt idx="192">
                  <c:v>18540</c:v>
                </c:pt>
                <c:pt idx="193">
                  <c:v>18541</c:v>
                </c:pt>
                <c:pt idx="194">
                  <c:v>18542</c:v>
                </c:pt>
                <c:pt idx="195">
                  <c:v>18543</c:v>
                </c:pt>
                <c:pt idx="196">
                  <c:v>18544</c:v>
                </c:pt>
                <c:pt idx="197">
                  <c:v>18547</c:v>
                </c:pt>
                <c:pt idx="198">
                  <c:v>18548</c:v>
                </c:pt>
                <c:pt idx="199">
                  <c:v>18549</c:v>
                </c:pt>
                <c:pt idx="200">
                  <c:v>18550</c:v>
                </c:pt>
                <c:pt idx="201">
                  <c:v>18551</c:v>
                </c:pt>
                <c:pt idx="202">
                  <c:v>18554</c:v>
                </c:pt>
                <c:pt idx="203">
                  <c:v>18555</c:v>
                </c:pt>
                <c:pt idx="204">
                  <c:v>18556</c:v>
                </c:pt>
                <c:pt idx="205">
                  <c:v>18557</c:v>
                </c:pt>
                <c:pt idx="206">
                  <c:v>18558</c:v>
                </c:pt>
                <c:pt idx="207">
                  <c:v>18561</c:v>
                </c:pt>
                <c:pt idx="208">
                  <c:v>18562</c:v>
                </c:pt>
                <c:pt idx="209">
                  <c:v>18563</c:v>
                </c:pt>
                <c:pt idx="210">
                  <c:v>18564</c:v>
                </c:pt>
                <c:pt idx="211">
                  <c:v>18565</c:v>
                </c:pt>
                <c:pt idx="212">
                  <c:v>18568</c:v>
                </c:pt>
                <c:pt idx="213">
                  <c:v>18569</c:v>
                </c:pt>
                <c:pt idx="214">
                  <c:v>18570</c:v>
                </c:pt>
                <c:pt idx="215">
                  <c:v>18571</c:v>
                </c:pt>
                <c:pt idx="216">
                  <c:v>18572</c:v>
                </c:pt>
                <c:pt idx="217">
                  <c:v>18575</c:v>
                </c:pt>
                <c:pt idx="218">
                  <c:v>18576</c:v>
                </c:pt>
                <c:pt idx="219">
                  <c:v>18577</c:v>
                </c:pt>
                <c:pt idx="220">
                  <c:v>18578</c:v>
                </c:pt>
                <c:pt idx="221">
                  <c:v>18579</c:v>
                </c:pt>
                <c:pt idx="222">
                  <c:v>18582</c:v>
                </c:pt>
                <c:pt idx="223">
                  <c:v>18583</c:v>
                </c:pt>
                <c:pt idx="224">
                  <c:v>18584</c:v>
                </c:pt>
                <c:pt idx="225">
                  <c:v>18585</c:v>
                </c:pt>
                <c:pt idx="226">
                  <c:v>18586</c:v>
                </c:pt>
                <c:pt idx="227">
                  <c:v>18589</c:v>
                </c:pt>
                <c:pt idx="228">
                  <c:v>18590</c:v>
                </c:pt>
                <c:pt idx="229">
                  <c:v>18591</c:v>
                </c:pt>
                <c:pt idx="230">
                  <c:v>18592</c:v>
                </c:pt>
                <c:pt idx="231">
                  <c:v>18593</c:v>
                </c:pt>
                <c:pt idx="232">
                  <c:v>18596</c:v>
                </c:pt>
                <c:pt idx="233">
                  <c:v>18597</c:v>
                </c:pt>
                <c:pt idx="234">
                  <c:v>18598</c:v>
                </c:pt>
                <c:pt idx="235">
                  <c:v>18599</c:v>
                </c:pt>
                <c:pt idx="236">
                  <c:v>18600</c:v>
                </c:pt>
                <c:pt idx="237">
                  <c:v>18603</c:v>
                </c:pt>
                <c:pt idx="238">
                  <c:v>18604</c:v>
                </c:pt>
                <c:pt idx="239">
                  <c:v>18605</c:v>
                </c:pt>
                <c:pt idx="240">
                  <c:v>18606</c:v>
                </c:pt>
                <c:pt idx="241">
                  <c:v>18607</c:v>
                </c:pt>
                <c:pt idx="242">
                  <c:v>18610</c:v>
                </c:pt>
                <c:pt idx="243">
                  <c:v>18611</c:v>
                </c:pt>
                <c:pt idx="244">
                  <c:v>18612</c:v>
                </c:pt>
                <c:pt idx="245">
                  <c:v>18613</c:v>
                </c:pt>
                <c:pt idx="246">
                  <c:v>18614</c:v>
                </c:pt>
                <c:pt idx="247">
                  <c:v>18617</c:v>
                </c:pt>
                <c:pt idx="248">
                  <c:v>18618</c:v>
                </c:pt>
                <c:pt idx="249">
                  <c:v>18619</c:v>
                </c:pt>
                <c:pt idx="250">
                  <c:v>18620</c:v>
                </c:pt>
                <c:pt idx="251">
                  <c:v>18624</c:v>
                </c:pt>
                <c:pt idx="252">
                  <c:v>18625</c:v>
                </c:pt>
                <c:pt idx="253">
                  <c:v>18626</c:v>
                </c:pt>
                <c:pt idx="254">
                  <c:v>18627</c:v>
                </c:pt>
                <c:pt idx="255">
                  <c:v>18631</c:v>
                </c:pt>
                <c:pt idx="256">
                  <c:v>18632</c:v>
                </c:pt>
                <c:pt idx="257">
                  <c:v>18633</c:v>
                </c:pt>
                <c:pt idx="258">
                  <c:v>18634</c:v>
                </c:pt>
                <c:pt idx="259">
                  <c:v>18635</c:v>
                </c:pt>
                <c:pt idx="260">
                  <c:v>18638</c:v>
                </c:pt>
                <c:pt idx="261">
                  <c:v>18639</c:v>
                </c:pt>
                <c:pt idx="262">
                  <c:v>18640</c:v>
                </c:pt>
                <c:pt idx="263">
                  <c:v>18641</c:v>
                </c:pt>
                <c:pt idx="264">
                  <c:v>18642</c:v>
                </c:pt>
                <c:pt idx="265">
                  <c:v>18645</c:v>
                </c:pt>
                <c:pt idx="266">
                  <c:v>18646</c:v>
                </c:pt>
                <c:pt idx="267">
                  <c:v>18647</c:v>
                </c:pt>
                <c:pt idx="268">
                  <c:v>18648</c:v>
                </c:pt>
                <c:pt idx="269">
                  <c:v>18649</c:v>
                </c:pt>
                <c:pt idx="270">
                  <c:v>18652</c:v>
                </c:pt>
                <c:pt idx="271">
                  <c:v>18653</c:v>
                </c:pt>
                <c:pt idx="272">
                  <c:v>18654</c:v>
                </c:pt>
                <c:pt idx="273">
                  <c:v>18655</c:v>
                </c:pt>
                <c:pt idx="274">
                  <c:v>18656</c:v>
                </c:pt>
                <c:pt idx="275">
                  <c:v>18659</c:v>
                </c:pt>
                <c:pt idx="276">
                  <c:v>18660</c:v>
                </c:pt>
                <c:pt idx="277">
                  <c:v>18661</c:v>
                </c:pt>
                <c:pt idx="278">
                  <c:v>18662</c:v>
                </c:pt>
                <c:pt idx="279">
                  <c:v>18663</c:v>
                </c:pt>
                <c:pt idx="280">
                  <c:v>18666</c:v>
                </c:pt>
                <c:pt idx="281">
                  <c:v>18667</c:v>
                </c:pt>
                <c:pt idx="282">
                  <c:v>18668</c:v>
                </c:pt>
                <c:pt idx="283">
                  <c:v>18669</c:v>
                </c:pt>
                <c:pt idx="284">
                  <c:v>18670</c:v>
                </c:pt>
                <c:pt idx="285">
                  <c:v>18673</c:v>
                </c:pt>
                <c:pt idx="286">
                  <c:v>18674</c:v>
                </c:pt>
                <c:pt idx="287">
                  <c:v>18675</c:v>
                </c:pt>
                <c:pt idx="288">
                  <c:v>18676</c:v>
                </c:pt>
                <c:pt idx="289">
                  <c:v>18677</c:v>
                </c:pt>
                <c:pt idx="290">
                  <c:v>18680</c:v>
                </c:pt>
                <c:pt idx="291">
                  <c:v>18681</c:v>
                </c:pt>
                <c:pt idx="292">
                  <c:v>18682</c:v>
                </c:pt>
                <c:pt idx="293">
                  <c:v>18683</c:v>
                </c:pt>
                <c:pt idx="294">
                  <c:v>18684</c:v>
                </c:pt>
                <c:pt idx="295">
                  <c:v>18687</c:v>
                </c:pt>
                <c:pt idx="296">
                  <c:v>18688</c:v>
                </c:pt>
                <c:pt idx="297">
                  <c:v>18689</c:v>
                </c:pt>
                <c:pt idx="298">
                  <c:v>18690</c:v>
                </c:pt>
                <c:pt idx="299">
                  <c:v>18691</c:v>
                </c:pt>
                <c:pt idx="300">
                  <c:v>18694</c:v>
                </c:pt>
                <c:pt idx="301">
                  <c:v>18695</c:v>
                </c:pt>
                <c:pt idx="302">
                  <c:v>18696</c:v>
                </c:pt>
                <c:pt idx="303">
                  <c:v>18697</c:v>
                </c:pt>
                <c:pt idx="304">
                  <c:v>18698</c:v>
                </c:pt>
                <c:pt idx="305">
                  <c:v>18701</c:v>
                </c:pt>
                <c:pt idx="306">
                  <c:v>18702</c:v>
                </c:pt>
                <c:pt idx="307">
                  <c:v>18703</c:v>
                </c:pt>
                <c:pt idx="308">
                  <c:v>18704</c:v>
                </c:pt>
                <c:pt idx="309">
                  <c:v>18705</c:v>
                </c:pt>
                <c:pt idx="310">
                  <c:v>18708</c:v>
                </c:pt>
                <c:pt idx="311">
                  <c:v>18709</c:v>
                </c:pt>
                <c:pt idx="312">
                  <c:v>18710</c:v>
                </c:pt>
                <c:pt idx="313">
                  <c:v>18711</c:v>
                </c:pt>
                <c:pt idx="314">
                  <c:v>18712</c:v>
                </c:pt>
                <c:pt idx="315">
                  <c:v>18715</c:v>
                </c:pt>
                <c:pt idx="316">
                  <c:v>18716</c:v>
                </c:pt>
                <c:pt idx="317">
                  <c:v>18717</c:v>
                </c:pt>
                <c:pt idx="318">
                  <c:v>18718</c:v>
                </c:pt>
                <c:pt idx="319">
                  <c:v>18723</c:v>
                </c:pt>
                <c:pt idx="320">
                  <c:v>18724</c:v>
                </c:pt>
                <c:pt idx="321">
                  <c:v>18725</c:v>
                </c:pt>
                <c:pt idx="322">
                  <c:v>18726</c:v>
                </c:pt>
                <c:pt idx="323">
                  <c:v>18729</c:v>
                </c:pt>
                <c:pt idx="324">
                  <c:v>18730</c:v>
                </c:pt>
                <c:pt idx="325">
                  <c:v>18731</c:v>
                </c:pt>
                <c:pt idx="326">
                  <c:v>18732</c:v>
                </c:pt>
                <c:pt idx="327">
                  <c:v>18733</c:v>
                </c:pt>
                <c:pt idx="328">
                  <c:v>18736</c:v>
                </c:pt>
                <c:pt idx="329">
                  <c:v>18737</c:v>
                </c:pt>
                <c:pt idx="330">
                  <c:v>18738</c:v>
                </c:pt>
                <c:pt idx="331">
                  <c:v>18739</c:v>
                </c:pt>
                <c:pt idx="332">
                  <c:v>18740</c:v>
                </c:pt>
                <c:pt idx="333">
                  <c:v>18743</c:v>
                </c:pt>
                <c:pt idx="334">
                  <c:v>18744</c:v>
                </c:pt>
                <c:pt idx="335">
                  <c:v>18745</c:v>
                </c:pt>
                <c:pt idx="336">
                  <c:v>18746</c:v>
                </c:pt>
                <c:pt idx="337">
                  <c:v>18747</c:v>
                </c:pt>
                <c:pt idx="338">
                  <c:v>18750</c:v>
                </c:pt>
                <c:pt idx="339">
                  <c:v>18751</c:v>
                </c:pt>
                <c:pt idx="340">
                  <c:v>18752</c:v>
                </c:pt>
                <c:pt idx="341">
                  <c:v>18753</c:v>
                </c:pt>
                <c:pt idx="342">
                  <c:v>18754</c:v>
                </c:pt>
                <c:pt idx="343">
                  <c:v>18757</c:v>
                </c:pt>
                <c:pt idx="344">
                  <c:v>18758</c:v>
                </c:pt>
                <c:pt idx="345">
                  <c:v>18759</c:v>
                </c:pt>
                <c:pt idx="346">
                  <c:v>18760</c:v>
                </c:pt>
                <c:pt idx="347">
                  <c:v>18761</c:v>
                </c:pt>
                <c:pt idx="348">
                  <c:v>18764</c:v>
                </c:pt>
                <c:pt idx="349">
                  <c:v>18765</c:v>
                </c:pt>
                <c:pt idx="350">
                  <c:v>18766</c:v>
                </c:pt>
                <c:pt idx="351">
                  <c:v>18767</c:v>
                </c:pt>
                <c:pt idx="352">
                  <c:v>18768</c:v>
                </c:pt>
                <c:pt idx="353">
                  <c:v>18771</c:v>
                </c:pt>
                <c:pt idx="354">
                  <c:v>18772</c:v>
                </c:pt>
                <c:pt idx="355">
                  <c:v>18773</c:v>
                </c:pt>
                <c:pt idx="356">
                  <c:v>18774</c:v>
                </c:pt>
                <c:pt idx="357">
                  <c:v>18775</c:v>
                </c:pt>
                <c:pt idx="358">
                  <c:v>18778</c:v>
                </c:pt>
                <c:pt idx="359">
                  <c:v>18779</c:v>
                </c:pt>
                <c:pt idx="360">
                  <c:v>18780</c:v>
                </c:pt>
                <c:pt idx="361">
                  <c:v>18781</c:v>
                </c:pt>
                <c:pt idx="362">
                  <c:v>18782</c:v>
                </c:pt>
                <c:pt idx="363">
                  <c:v>18785</c:v>
                </c:pt>
                <c:pt idx="364">
                  <c:v>18786</c:v>
                </c:pt>
                <c:pt idx="365">
                  <c:v>18787</c:v>
                </c:pt>
                <c:pt idx="366">
                  <c:v>18788</c:v>
                </c:pt>
                <c:pt idx="367">
                  <c:v>18789</c:v>
                </c:pt>
                <c:pt idx="368">
                  <c:v>18792</c:v>
                </c:pt>
                <c:pt idx="369">
                  <c:v>18793</c:v>
                </c:pt>
                <c:pt idx="370">
                  <c:v>18794</c:v>
                </c:pt>
                <c:pt idx="371">
                  <c:v>18795</c:v>
                </c:pt>
                <c:pt idx="372">
                  <c:v>18796</c:v>
                </c:pt>
                <c:pt idx="373">
                  <c:v>18799</c:v>
                </c:pt>
                <c:pt idx="374">
                  <c:v>18800</c:v>
                </c:pt>
                <c:pt idx="375">
                  <c:v>18801</c:v>
                </c:pt>
                <c:pt idx="376">
                  <c:v>18802</c:v>
                </c:pt>
                <c:pt idx="377">
                  <c:v>18803</c:v>
                </c:pt>
                <c:pt idx="378">
                  <c:v>18806</c:v>
                </c:pt>
                <c:pt idx="379">
                  <c:v>18807</c:v>
                </c:pt>
                <c:pt idx="380">
                  <c:v>18808</c:v>
                </c:pt>
                <c:pt idx="381">
                  <c:v>18809</c:v>
                </c:pt>
                <c:pt idx="382">
                  <c:v>18810</c:v>
                </c:pt>
                <c:pt idx="383">
                  <c:v>18813</c:v>
                </c:pt>
                <c:pt idx="384">
                  <c:v>18814</c:v>
                </c:pt>
                <c:pt idx="385">
                  <c:v>18815</c:v>
                </c:pt>
                <c:pt idx="386">
                  <c:v>18816</c:v>
                </c:pt>
                <c:pt idx="387">
                  <c:v>18817</c:v>
                </c:pt>
                <c:pt idx="388">
                  <c:v>18820</c:v>
                </c:pt>
                <c:pt idx="389">
                  <c:v>18821</c:v>
                </c:pt>
                <c:pt idx="390">
                  <c:v>18822</c:v>
                </c:pt>
                <c:pt idx="391">
                  <c:v>18823</c:v>
                </c:pt>
                <c:pt idx="392">
                  <c:v>18824</c:v>
                </c:pt>
                <c:pt idx="393">
                  <c:v>18827</c:v>
                </c:pt>
                <c:pt idx="394">
                  <c:v>18828</c:v>
                </c:pt>
                <c:pt idx="395">
                  <c:v>18829</c:v>
                </c:pt>
                <c:pt idx="396">
                  <c:v>18830</c:v>
                </c:pt>
                <c:pt idx="397">
                  <c:v>18831</c:v>
                </c:pt>
                <c:pt idx="398">
                  <c:v>18834</c:v>
                </c:pt>
                <c:pt idx="399">
                  <c:v>18835</c:v>
                </c:pt>
                <c:pt idx="400">
                  <c:v>18836</c:v>
                </c:pt>
                <c:pt idx="401">
                  <c:v>18837</c:v>
                </c:pt>
                <c:pt idx="402">
                  <c:v>18838</c:v>
                </c:pt>
                <c:pt idx="403">
                  <c:v>18841</c:v>
                </c:pt>
                <c:pt idx="404">
                  <c:v>18842</c:v>
                </c:pt>
                <c:pt idx="405">
                  <c:v>18843</c:v>
                </c:pt>
                <c:pt idx="406">
                  <c:v>18844</c:v>
                </c:pt>
                <c:pt idx="407">
                  <c:v>18845</c:v>
                </c:pt>
                <c:pt idx="408">
                  <c:v>18848</c:v>
                </c:pt>
                <c:pt idx="409">
                  <c:v>18849</c:v>
                </c:pt>
                <c:pt idx="410">
                  <c:v>18850</c:v>
                </c:pt>
                <c:pt idx="411">
                  <c:v>18851</c:v>
                </c:pt>
                <c:pt idx="412">
                  <c:v>18852</c:v>
                </c:pt>
                <c:pt idx="413">
                  <c:v>18855</c:v>
                </c:pt>
                <c:pt idx="414">
                  <c:v>18856</c:v>
                </c:pt>
                <c:pt idx="415">
                  <c:v>18857</c:v>
                </c:pt>
                <c:pt idx="416">
                  <c:v>18858</c:v>
                </c:pt>
                <c:pt idx="417">
                  <c:v>18859</c:v>
                </c:pt>
                <c:pt idx="418">
                  <c:v>18862</c:v>
                </c:pt>
                <c:pt idx="419">
                  <c:v>18863</c:v>
                </c:pt>
                <c:pt idx="420">
                  <c:v>18864</c:v>
                </c:pt>
                <c:pt idx="421">
                  <c:v>18865</c:v>
                </c:pt>
                <c:pt idx="422">
                  <c:v>18866</c:v>
                </c:pt>
                <c:pt idx="423">
                  <c:v>18869</c:v>
                </c:pt>
                <c:pt idx="424">
                  <c:v>18870</c:v>
                </c:pt>
                <c:pt idx="425">
                  <c:v>18871</c:v>
                </c:pt>
                <c:pt idx="426">
                  <c:v>18872</c:v>
                </c:pt>
                <c:pt idx="427">
                  <c:v>18873</c:v>
                </c:pt>
                <c:pt idx="428">
                  <c:v>18876</c:v>
                </c:pt>
                <c:pt idx="429">
                  <c:v>18877</c:v>
                </c:pt>
                <c:pt idx="430">
                  <c:v>18878</c:v>
                </c:pt>
                <c:pt idx="431">
                  <c:v>18879</c:v>
                </c:pt>
                <c:pt idx="432">
                  <c:v>18880</c:v>
                </c:pt>
                <c:pt idx="433">
                  <c:v>18883</c:v>
                </c:pt>
                <c:pt idx="434">
                  <c:v>18884</c:v>
                </c:pt>
                <c:pt idx="435">
                  <c:v>18885</c:v>
                </c:pt>
                <c:pt idx="436">
                  <c:v>18886</c:v>
                </c:pt>
                <c:pt idx="437">
                  <c:v>18887</c:v>
                </c:pt>
                <c:pt idx="438">
                  <c:v>18890</c:v>
                </c:pt>
                <c:pt idx="439">
                  <c:v>18891</c:v>
                </c:pt>
                <c:pt idx="440">
                  <c:v>18892</c:v>
                </c:pt>
                <c:pt idx="441">
                  <c:v>18893</c:v>
                </c:pt>
                <c:pt idx="442">
                  <c:v>18894</c:v>
                </c:pt>
                <c:pt idx="443">
                  <c:v>18897</c:v>
                </c:pt>
                <c:pt idx="444">
                  <c:v>18898</c:v>
                </c:pt>
                <c:pt idx="445">
                  <c:v>18899</c:v>
                </c:pt>
                <c:pt idx="446">
                  <c:v>18900</c:v>
                </c:pt>
                <c:pt idx="447">
                  <c:v>18901</c:v>
                </c:pt>
                <c:pt idx="448">
                  <c:v>18904</c:v>
                </c:pt>
                <c:pt idx="449">
                  <c:v>18905</c:v>
                </c:pt>
                <c:pt idx="450">
                  <c:v>18906</c:v>
                </c:pt>
                <c:pt idx="451">
                  <c:v>18907</c:v>
                </c:pt>
                <c:pt idx="452">
                  <c:v>18908</c:v>
                </c:pt>
                <c:pt idx="453">
                  <c:v>18911</c:v>
                </c:pt>
                <c:pt idx="454">
                  <c:v>18912</c:v>
                </c:pt>
                <c:pt idx="455">
                  <c:v>18913</c:v>
                </c:pt>
                <c:pt idx="456">
                  <c:v>18914</c:v>
                </c:pt>
                <c:pt idx="457">
                  <c:v>18915</c:v>
                </c:pt>
                <c:pt idx="458">
                  <c:v>18918</c:v>
                </c:pt>
                <c:pt idx="459">
                  <c:v>18919</c:v>
                </c:pt>
                <c:pt idx="460">
                  <c:v>18920</c:v>
                </c:pt>
                <c:pt idx="461">
                  <c:v>18921</c:v>
                </c:pt>
                <c:pt idx="462">
                  <c:v>18922</c:v>
                </c:pt>
                <c:pt idx="463">
                  <c:v>18925</c:v>
                </c:pt>
                <c:pt idx="464">
                  <c:v>18926</c:v>
                </c:pt>
                <c:pt idx="465">
                  <c:v>18927</c:v>
                </c:pt>
                <c:pt idx="466">
                  <c:v>18928</c:v>
                </c:pt>
                <c:pt idx="467">
                  <c:v>18929</c:v>
                </c:pt>
                <c:pt idx="468">
                  <c:v>18932</c:v>
                </c:pt>
                <c:pt idx="469">
                  <c:v>18933</c:v>
                </c:pt>
                <c:pt idx="470">
                  <c:v>18934</c:v>
                </c:pt>
                <c:pt idx="471">
                  <c:v>18935</c:v>
                </c:pt>
                <c:pt idx="472">
                  <c:v>18936</c:v>
                </c:pt>
                <c:pt idx="473">
                  <c:v>18939</c:v>
                </c:pt>
                <c:pt idx="474">
                  <c:v>18940</c:v>
                </c:pt>
                <c:pt idx="475">
                  <c:v>18941</c:v>
                </c:pt>
                <c:pt idx="476">
                  <c:v>18942</c:v>
                </c:pt>
                <c:pt idx="477">
                  <c:v>18943</c:v>
                </c:pt>
                <c:pt idx="478">
                  <c:v>18946</c:v>
                </c:pt>
                <c:pt idx="479">
                  <c:v>18947</c:v>
                </c:pt>
                <c:pt idx="480">
                  <c:v>18948</c:v>
                </c:pt>
                <c:pt idx="481">
                  <c:v>18949</c:v>
                </c:pt>
                <c:pt idx="482">
                  <c:v>18950</c:v>
                </c:pt>
                <c:pt idx="483">
                  <c:v>18953</c:v>
                </c:pt>
                <c:pt idx="484">
                  <c:v>18954</c:v>
                </c:pt>
                <c:pt idx="485">
                  <c:v>18955</c:v>
                </c:pt>
                <c:pt idx="486">
                  <c:v>18956</c:v>
                </c:pt>
                <c:pt idx="487">
                  <c:v>18957</c:v>
                </c:pt>
                <c:pt idx="488">
                  <c:v>18960</c:v>
                </c:pt>
                <c:pt idx="489">
                  <c:v>18961</c:v>
                </c:pt>
                <c:pt idx="490">
                  <c:v>18962</c:v>
                </c:pt>
                <c:pt idx="491">
                  <c:v>18963</c:v>
                </c:pt>
                <c:pt idx="492">
                  <c:v>18964</c:v>
                </c:pt>
                <c:pt idx="493">
                  <c:v>18967</c:v>
                </c:pt>
                <c:pt idx="494">
                  <c:v>18968</c:v>
                </c:pt>
                <c:pt idx="495">
                  <c:v>18969</c:v>
                </c:pt>
                <c:pt idx="496">
                  <c:v>18970</c:v>
                </c:pt>
                <c:pt idx="497">
                  <c:v>18971</c:v>
                </c:pt>
                <c:pt idx="498">
                  <c:v>18974</c:v>
                </c:pt>
                <c:pt idx="499">
                  <c:v>18975</c:v>
                </c:pt>
                <c:pt idx="500">
                  <c:v>18976</c:v>
                </c:pt>
                <c:pt idx="501">
                  <c:v>18977</c:v>
                </c:pt>
                <c:pt idx="502">
                  <c:v>18978</c:v>
                </c:pt>
                <c:pt idx="503">
                  <c:v>18981</c:v>
                </c:pt>
                <c:pt idx="504">
                  <c:v>18982</c:v>
                </c:pt>
                <c:pt idx="505">
                  <c:v>18983</c:v>
                </c:pt>
                <c:pt idx="506">
                  <c:v>18984</c:v>
                </c:pt>
                <c:pt idx="507">
                  <c:v>18985</c:v>
                </c:pt>
                <c:pt idx="508">
                  <c:v>18988</c:v>
                </c:pt>
                <c:pt idx="509">
                  <c:v>18990</c:v>
                </c:pt>
                <c:pt idx="510">
                  <c:v>18991</c:v>
                </c:pt>
                <c:pt idx="511">
                  <c:v>18992</c:v>
                </c:pt>
                <c:pt idx="512">
                  <c:v>18995</c:v>
                </c:pt>
                <c:pt idx="513">
                  <c:v>18996</c:v>
                </c:pt>
                <c:pt idx="514">
                  <c:v>18997</c:v>
                </c:pt>
                <c:pt idx="515">
                  <c:v>18998</c:v>
                </c:pt>
                <c:pt idx="516">
                  <c:v>18999</c:v>
                </c:pt>
                <c:pt idx="517">
                  <c:v>19002</c:v>
                </c:pt>
                <c:pt idx="518">
                  <c:v>19003</c:v>
                </c:pt>
                <c:pt idx="519">
                  <c:v>19004</c:v>
                </c:pt>
                <c:pt idx="520">
                  <c:v>19005</c:v>
                </c:pt>
                <c:pt idx="521">
                  <c:v>19006</c:v>
                </c:pt>
                <c:pt idx="522">
                  <c:v>19009</c:v>
                </c:pt>
                <c:pt idx="523">
                  <c:v>19010</c:v>
                </c:pt>
                <c:pt idx="524">
                  <c:v>19011</c:v>
                </c:pt>
                <c:pt idx="525">
                  <c:v>19012</c:v>
                </c:pt>
                <c:pt idx="526">
                  <c:v>19013</c:v>
                </c:pt>
                <c:pt idx="527">
                  <c:v>19016</c:v>
                </c:pt>
                <c:pt idx="528">
                  <c:v>19017</c:v>
                </c:pt>
                <c:pt idx="529">
                  <c:v>19018</c:v>
                </c:pt>
                <c:pt idx="530">
                  <c:v>19019</c:v>
                </c:pt>
                <c:pt idx="531">
                  <c:v>19020</c:v>
                </c:pt>
                <c:pt idx="532">
                  <c:v>19023</c:v>
                </c:pt>
                <c:pt idx="533">
                  <c:v>19024</c:v>
                </c:pt>
                <c:pt idx="534">
                  <c:v>19025</c:v>
                </c:pt>
                <c:pt idx="535">
                  <c:v>19026</c:v>
                </c:pt>
                <c:pt idx="536">
                  <c:v>19027</c:v>
                </c:pt>
                <c:pt idx="537">
                  <c:v>19030</c:v>
                </c:pt>
              </c:numCache>
            </c:numRef>
          </c:xVal>
          <c:yVal>
            <c:numRef>
              <c:f>Sheet1!$A$2:$TR$2</c:f>
              <c:numCache>
                <c:formatCode>General</c:formatCode>
                <c:ptCount val="538"/>
                <c:pt idx="0">
                  <c:v>11.85</c:v>
                </c:pt>
                <c:pt idx="1">
                  <c:v>12.725</c:v>
                </c:pt>
                <c:pt idx="2">
                  <c:v>12.125</c:v>
                </c:pt>
                <c:pt idx="3">
                  <c:v>11.75</c:v>
                </c:pt>
                <c:pt idx="4">
                  <c:v>11.75</c:v>
                </c:pt>
                <c:pt idx="5">
                  <c:v>11.83</c:v>
                </c:pt>
                <c:pt idx="6">
                  <c:v>11.8</c:v>
                </c:pt>
                <c:pt idx="7">
                  <c:v>12</c:v>
                </c:pt>
                <c:pt idx="8">
                  <c:v>11.25</c:v>
                </c:pt>
                <c:pt idx="9">
                  <c:v>11.18</c:v>
                </c:pt>
                <c:pt idx="10">
                  <c:v>11.05</c:v>
                </c:pt>
                <c:pt idx="11">
                  <c:v>10.85</c:v>
                </c:pt>
                <c:pt idx="12">
                  <c:v>10.7</c:v>
                </c:pt>
                <c:pt idx="13">
                  <c:v>10.95</c:v>
                </c:pt>
                <c:pt idx="14">
                  <c:v>10.574999999999999</c:v>
                </c:pt>
                <c:pt idx="15">
                  <c:v>10.425000000000001</c:v>
                </c:pt>
                <c:pt idx="16">
                  <c:v>10.475</c:v>
                </c:pt>
                <c:pt idx="17">
                  <c:v>10.5</c:v>
                </c:pt>
                <c:pt idx="18">
                  <c:v>10.83</c:v>
                </c:pt>
                <c:pt idx="19">
                  <c:v>10.125</c:v>
                </c:pt>
                <c:pt idx="20">
                  <c:v>9.9</c:v>
                </c:pt>
                <c:pt idx="21">
                  <c:v>9.8000000000000007</c:v>
                </c:pt>
                <c:pt idx="22">
                  <c:v>9.4749999999999996</c:v>
                </c:pt>
                <c:pt idx="23">
                  <c:v>9.75</c:v>
                </c:pt>
                <c:pt idx="24">
                  <c:v>9.6</c:v>
                </c:pt>
                <c:pt idx="25">
                  <c:v>9.2750000000000004</c:v>
                </c:pt>
                <c:pt idx="26">
                  <c:v>9.375</c:v>
                </c:pt>
                <c:pt idx="27">
                  <c:v>8.8800000000000008</c:v>
                </c:pt>
                <c:pt idx="28">
                  <c:v>9.0500000000000007</c:v>
                </c:pt>
                <c:pt idx="29">
                  <c:v>9.3000000000000007</c:v>
                </c:pt>
                <c:pt idx="30">
                  <c:v>9.1</c:v>
                </c:pt>
                <c:pt idx="31">
                  <c:v>9.15</c:v>
                </c:pt>
                <c:pt idx="32">
                  <c:v>9.4</c:v>
                </c:pt>
                <c:pt idx="33">
                  <c:v>9.68</c:v>
                </c:pt>
                <c:pt idx="34">
                  <c:v>9.625</c:v>
                </c:pt>
                <c:pt idx="35">
                  <c:v>9.7799999999999994</c:v>
                </c:pt>
                <c:pt idx="36">
                  <c:v>9.4499999999999993</c:v>
                </c:pt>
                <c:pt idx="37">
                  <c:v>9.3000000000000007</c:v>
                </c:pt>
                <c:pt idx="38">
                  <c:v>9.3249999999999993</c:v>
                </c:pt>
                <c:pt idx="39">
                  <c:v>9.5</c:v>
                </c:pt>
                <c:pt idx="40">
                  <c:v>9.18</c:v>
                </c:pt>
                <c:pt idx="41">
                  <c:v>9.2249999999999996</c:v>
                </c:pt>
                <c:pt idx="42">
                  <c:v>9.43</c:v>
                </c:pt>
                <c:pt idx="43">
                  <c:v>9.5250000000000004</c:v>
                </c:pt>
                <c:pt idx="44">
                  <c:v>9.2750000000000004</c:v>
                </c:pt>
                <c:pt idx="45">
                  <c:v>9.4499999999999993</c:v>
                </c:pt>
                <c:pt idx="46">
                  <c:v>9</c:v>
                </c:pt>
                <c:pt idx="47">
                  <c:v>8.8249999999999993</c:v>
                </c:pt>
                <c:pt idx="48">
                  <c:v>9.15</c:v>
                </c:pt>
                <c:pt idx="49">
                  <c:v>9.15</c:v>
                </c:pt>
                <c:pt idx="50">
                  <c:v>9.4749999999999996</c:v>
                </c:pt>
                <c:pt idx="51">
                  <c:v>9.35</c:v>
                </c:pt>
                <c:pt idx="52">
                  <c:v>8.875</c:v>
                </c:pt>
                <c:pt idx="53">
                  <c:v>8.5</c:v>
                </c:pt>
                <c:pt idx="54">
                  <c:v>8.4499999999999993</c:v>
                </c:pt>
                <c:pt idx="55">
                  <c:v>8.6300000000000008</c:v>
                </c:pt>
                <c:pt idx="56">
                  <c:v>8.25</c:v>
                </c:pt>
                <c:pt idx="57">
                  <c:v>8.1750000000000007</c:v>
                </c:pt>
                <c:pt idx="58">
                  <c:v>8.15</c:v>
                </c:pt>
                <c:pt idx="59">
                  <c:v>8.0500000000000007</c:v>
                </c:pt>
                <c:pt idx="60">
                  <c:v>7.63</c:v>
                </c:pt>
                <c:pt idx="61">
                  <c:v>7.45</c:v>
                </c:pt>
                <c:pt idx="62">
                  <c:v>7.15</c:v>
                </c:pt>
                <c:pt idx="63">
                  <c:v>7.125</c:v>
                </c:pt>
                <c:pt idx="64">
                  <c:v>7</c:v>
                </c:pt>
                <c:pt idx="65">
                  <c:v>7.05</c:v>
                </c:pt>
                <c:pt idx="66">
                  <c:v>7.05</c:v>
                </c:pt>
                <c:pt idx="67">
                  <c:v>7.0750000000000002</c:v>
                </c:pt>
                <c:pt idx="68">
                  <c:v>7.3</c:v>
                </c:pt>
                <c:pt idx="69">
                  <c:v>7.05</c:v>
                </c:pt>
                <c:pt idx="70">
                  <c:v>7.05</c:v>
                </c:pt>
                <c:pt idx="71">
                  <c:v>7.0750000000000002</c:v>
                </c:pt>
                <c:pt idx="72">
                  <c:v>6.85</c:v>
                </c:pt>
                <c:pt idx="73">
                  <c:v>6.8250000000000002</c:v>
                </c:pt>
                <c:pt idx="74">
                  <c:v>6.35</c:v>
                </c:pt>
                <c:pt idx="75">
                  <c:v>6.18</c:v>
                </c:pt>
                <c:pt idx="76">
                  <c:v>5.95</c:v>
                </c:pt>
                <c:pt idx="77">
                  <c:v>6.15</c:v>
                </c:pt>
                <c:pt idx="78">
                  <c:v>5.63</c:v>
                </c:pt>
                <c:pt idx="79">
                  <c:v>5.55</c:v>
                </c:pt>
                <c:pt idx="80">
                  <c:v>6.1749999999999998</c:v>
                </c:pt>
                <c:pt idx="81">
                  <c:v>6.05</c:v>
                </c:pt>
                <c:pt idx="82">
                  <c:v>5.6</c:v>
                </c:pt>
                <c:pt idx="83">
                  <c:v>5.5750000000000002</c:v>
                </c:pt>
                <c:pt idx="84">
                  <c:v>5.5250000000000004</c:v>
                </c:pt>
                <c:pt idx="85">
                  <c:v>5.25</c:v>
                </c:pt>
                <c:pt idx="86">
                  <c:v>5.53</c:v>
                </c:pt>
                <c:pt idx="87">
                  <c:v>5.3</c:v>
                </c:pt>
                <c:pt idx="88">
                  <c:v>5.85</c:v>
                </c:pt>
                <c:pt idx="89">
                  <c:v>5.0250000000000004</c:v>
                </c:pt>
                <c:pt idx="90">
                  <c:v>5.0250000000000004</c:v>
                </c:pt>
                <c:pt idx="91">
                  <c:v>5.05</c:v>
                </c:pt>
                <c:pt idx="92">
                  <c:v>4.8</c:v>
                </c:pt>
                <c:pt idx="93">
                  <c:v>4.5</c:v>
                </c:pt>
                <c:pt idx="94">
                  <c:v>4.2249999999999996</c:v>
                </c:pt>
                <c:pt idx="95">
                  <c:v>3.95</c:v>
                </c:pt>
                <c:pt idx="96">
                  <c:v>3</c:v>
                </c:pt>
                <c:pt idx="97">
                  <c:v>3.75</c:v>
                </c:pt>
                <c:pt idx="98">
                  <c:v>4.03</c:v>
                </c:pt>
                <c:pt idx="99">
                  <c:v>3.48</c:v>
                </c:pt>
                <c:pt idx="100">
                  <c:v>3.2</c:v>
                </c:pt>
                <c:pt idx="101">
                  <c:v>3.5249999999999999</c:v>
                </c:pt>
                <c:pt idx="102">
                  <c:v>3.6</c:v>
                </c:pt>
                <c:pt idx="103">
                  <c:v>4.3</c:v>
                </c:pt>
                <c:pt idx="104">
                  <c:v>4.625</c:v>
                </c:pt>
                <c:pt idx="105">
                  <c:v>4.5</c:v>
                </c:pt>
                <c:pt idx="106">
                  <c:v>4.88</c:v>
                </c:pt>
                <c:pt idx="107">
                  <c:v>4.7</c:v>
                </c:pt>
                <c:pt idx="108">
                  <c:v>4.6500000000000004</c:v>
                </c:pt>
                <c:pt idx="109">
                  <c:v>4.6500000000000004</c:v>
                </c:pt>
                <c:pt idx="110">
                  <c:v>4.7</c:v>
                </c:pt>
                <c:pt idx="111">
                  <c:v>5.03</c:v>
                </c:pt>
                <c:pt idx="112">
                  <c:v>5.35</c:v>
                </c:pt>
                <c:pt idx="113">
                  <c:v>5.0999999999999996</c:v>
                </c:pt>
                <c:pt idx="114">
                  <c:v>5.2</c:v>
                </c:pt>
                <c:pt idx="115">
                  <c:v>5.23</c:v>
                </c:pt>
                <c:pt idx="116">
                  <c:v>5.4</c:v>
                </c:pt>
                <c:pt idx="117">
                  <c:v>5.28</c:v>
                </c:pt>
                <c:pt idx="118">
                  <c:v>5.73</c:v>
                </c:pt>
                <c:pt idx="119">
                  <c:v>5.6749999999999998</c:v>
                </c:pt>
                <c:pt idx="120">
                  <c:v>5.03</c:v>
                </c:pt>
                <c:pt idx="121">
                  <c:v>5.0999999999999996</c:v>
                </c:pt>
                <c:pt idx="122">
                  <c:v>5.63</c:v>
                </c:pt>
                <c:pt idx="123">
                  <c:v>5.5</c:v>
                </c:pt>
                <c:pt idx="124">
                  <c:v>5.55</c:v>
                </c:pt>
                <c:pt idx="125">
                  <c:v>5.125</c:v>
                </c:pt>
                <c:pt idx="126">
                  <c:v>4.8499999999999996</c:v>
                </c:pt>
                <c:pt idx="127">
                  <c:v>5.3250000000000002</c:v>
                </c:pt>
                <c:pt idx="128">
                  <c:v>5.4749999999999996</c:v>
                </c:pt>
                <c:pt idx="129">
                  <c:v>5.4</c:v>
                </c:pt>
                <c:pt idx="130">
                  <c:v>4.8499999999999996</c:v>
                </c:pt>
                <c:pt idx="131">
                  <c:v>4.7750000000000004</c:v>
                </c:pt>
                <c:pt idx="132">
                  <c:v>4.3250000000000002</c:v>
                </c:pt>
                <c:pt idx="133">
                  <c:v>4.3</c:v>
                </c:pt>
                <c:pt idx="134">
                  <c:v>4.8</c:v>
                </c:pt>
                <c:pt idx="135">
                  <c:v>4.4249999999999998</c:v>
                </c:pt>
                <c:pt idx="136">
                  <c:v>4.9000000000000004</c:v>
                </c:pt>
                <c:pt idx="137">
                  <c:v>4.43</c:v>
                </c:pt>
                <c:pt idx="138">
                  <c:v>4.63</c:v>
                </c:pt>
                <c:pt idx="139">
                  <c:v>4.8</c:v>
                </c:pt>
                <c:pt idx="140">
                  <c:v>4.8499999999999996</c:v>
                </c:pt>
                <c:pt idx="141">
                  <c:v>4.7750000000000004</c:v>
                </c:pt>
                <c:pt idx="142">
                  <c:v>4.3499999999999996</c:v>
                </c:pt>
                <c:pt idx="143">
                  <c:v>4.55</c:v>
                </c:pt>
                <c:pt idx="144">
                  <c:v>4.9249999999999998</c:v>
                </c:pt>
                <c:pt idx="145">
                  <c:v>4.875</c:v>
                </c:pt>
                <c:pt idx="146">
                  <c:v>5.2</c:v>
                </c:pt>
                <c:pt idx="147">
                  <c:v>6.5250000000000004</c:v>
                </c:pt>
                <c:pt idx="148">
                  <c:v>6.35</c:v>
                </c:pt>
                <c:pt idx="149">
                  <c:v>6.7</c:v>
                </c:pt>
                <c:pt idx="150">
                  <c:v>7.1</c:v>
                </c:pt>
                <c:pt idx="151">
                  <c:v>7.05</c:v>
                </c:pt>
                <c:pt idx="152">
                  <c:v>6.9</c:v>
                </c:pt>
                <c:pt idx="153">
                  <c:v>6.8</c:v>
                </c:pt>
                <c:pt idx="154">
                  <c:v>6.4249999999999998</c:v>
                </c:pt>
                <c:pt idx="155">
                  <c:v>6.7249999999999996</c:v>
                </c:pt>
                <c:pt idx="156">
                  <c:v>7.15</c:v>
                </c:pt>
                <c:pt idx="157">
                  <c:v>7.5</c:v>
                </c:pt>
                <c:pt idx="158">
                  <c:v>8.25</c:v>
                </c:pt>
                <c:pt idx="159">
                  <c:v>8</c:v>
                </c:pt>
                <c:pt idx="160">
                  <c:v>7.25</c:v>
                </c:pt>
                <c:pt idx="161">
                  <c:v>6.58</c:v>
                </c:pt>
                <c:pt idx="162">
                  <c:v>7.5750000000000002</c:v>
                </c:pt>
                <c:pt idx="163">
                  <c:v>8.4749999999999996</c:v>
                </c:pt>
                <c:pt idx="164">
                  <c:v>8.8000000000000007</c:v>
                </c:pt>
                <c:pt idx="165">
                  <c:v>8.75</c:v>
                </c:pt>
                <c:pt idx="166">
                  <c:v>9.65</c:v>
                </c:pt>
                <c:pt idx="167">
                  <c:v>10.375</c:v>
                </c:pt>
                <c:pt idx="168">
                  <c:v>10.775</c:v>
                </c:pt>
                <c:pt idx="169">
                  <c:v>10.625</c:v>
                </c:pt>
                <c:pt idx="170">
                  <c:v>11.15</c:v>
                </c:pt>
                <c:pt idx="171">
                  <c:v>11.574999999999999</c:v>
                </c:pt>
                <c:pt idx="172">
                  <c:v>11.175000000000001</c:v>
                </c:pt>
                <c:pt idx="173">
                  <c:v>10.875</c:v>
                </c:pt>
                <c:pt idx="174">
                  <c:v>10.65</c:v>
                </c:pt>
                <c:pt idx="175">
                  <c:v>10.525</c:v>
                </c:pt>
                <c:pt idx="176">
                  <c:v>10.425000000000001</c:v>
                </c:pt>
                <c:pt idx="177">
                  <c:v>10.25</c:v>
                </c:pt>
                <c:pt idx="178">
                  <c:v>10.7</c:v>
                </c:pt>
                <c:pt idx="179">
                  <c:v>11.225</c:v>
                </c:pt>
                <c:pt idx="180">
                  <c:v>11</c:v>
                </c:pt>
                <c:pt idx="181">
                  <c:v>10.85</c:v>
                </c:pt>
                <c:pt idx="182">
                  <c:v>11.425000000000001</c:v>
                </c:pt>
                <c:pt idx="183">
                  <c:v>11.425000000000001</c:v>
                </c:pt>
                <c:pt idx="184">
                  <c:v>11.6</c:v>
                </c:pt>
                <c:pt idx="185">
                  <c:v>11.38</c:v>
                </c:pt>
                <c:pt idx="186">
                  <c:v>11.5</c:v>
                </c:pt>
                <c:pt idx="187">
                  <c:v>12.36</c:v>
                </c:pt>
                <c:pt idx="188">
                  <c:v>12.1</c:v>
                </c:pt>
                <c:pt idx="189">
                  <c:v>12.675000000000001</c:v>
                </c:pt>
                <c:pt idx="190">
                  <c:v>12.1</c:v>
                </c:pt>
                <c:pt idx="191">
                  <c:v>12.25</c:v>
                </c:pt>
                <c:pt idx="192">
                  <c:v>13.025</c:v>
                </c:pt>
                <c:pt idx="193">
                  <c:v>12.9</c:v>
                </c:pt>
                <c:pt idx="194">
                  <c:v>13.53</c:v>
                </c:pt>
                <c:pt idx="195">
                  <c:v>13.6</c:v>
                </c:pt>
                <c:pt idx="196">
                  <c:v>13.9</c:v>
                </c:pt>
                <c:pt idx="197">
                  <c:v>13.85</c:v>
                </c:pt>
                <c:pt idx="198">
                  <c:v>13.25</c:v>
                </c:pt>
                <c:pt idx="199">
                  <c:v>13.9</c:v>
                </c:pt>
                <c:pt idx="200">
                  <c:v>14.225</c:v>
                </c:pt>
                <c:pt idx="201">
                  <c:v>14.78</c:v>
                </c:pt>
                <c:pt idx="202">
                  <c:v>14.95</c:v>
                </c:pt>
                <c:pt idx="203">
                  <c:v>14.7</c:v>
                </c:pt>
                <c:pt idx="204">
                  <c:v>14.93</c:v>
                </c:pt>
                <c:pt idx="205">
                  <c:v>15.225</c:v>
                </c:pt>
                <c:pt idx="206">
                  <c:v>15.33</c:v>
                </c:pt>
                <c:pt idx="207">
                  <c:v>14.85</c:v>
                </c:pt>
                <c:pt idx="208">
                  <c:v>14.85</c:v>
                </c:pt>
                <c:pt idx="209">
                  <c:v>14.4</c:v>
                </c:pt>
                <c:pt idx="210">
                  <c:v>13.9</c:v>
                </c:pt>
                <c:pt idx="211">
                  <c:v>13.45</c:v>
                </c:pt>
                <c:pt idx="212">
                  <c:v>13.175000000000001</c:v>
                </c:pt>
                <c:pt idx="213">
                  <c:v>13.7</c:v>
                </c:pt>
                <c:pt idx="214">
                  <c:v>13.775</c:v>
                </c:pt>
                <c:pt idx="215">
                  <c:v>14.275</c:v>
                </c:pt>
                <c:pt idx="216">
                  <c:v>13.4</c:v>
                </c:pt>
                <c:pt idx="217">
                  <c:v>14.05</c:v>
                </c:pt>
                <c:pt idx="218">
                  <c:v>14.1</c:v>
                </c:pt>
                <c:pt idx="219">
                  <c:v>14.1</c:v>
                </c:pt>
                <c:pt idx="220">
                  <c:v>13.85</c:v>
                </c:pt>
                <c:pt idx="221">
                  <c:v>13.875</c:v>
                </c:pt>
                <c:pt idx="222">
                  <c:v>14.074999999999999</c:v>
                </c:pt>
                <c:pt idx="223">
                  <c:v>13.45</c:v>
                </c:pt>
                <c:pt idx="224">
                  <c:v>13</c:v>
                </c:pt>
                <c:pt idx="225">
                  <c:v>13</c:v>
                </c:pt>
                <c:pt idx="226">
                  <c:v>12.65</c:v>
                </c:pt>
                <c:pt idx="227">
                  <c:v>13.625</c:v>
                </c:pt>
                <c:pt idx="228">
                  <c:v>13.9</c:v>
                </c:pt>
                <c:pt idx="229">
                  <c:v>14</c:v>
                </c:pt>
                <c:pt idx="230">
                  <c:v>14.125</c:v>
                </c:pt>
                <c:pt idx="231">
                  <c:v>14.6</c:v>
                </c:pt>
                <c:pt idx="232">
                  <c:v>15.2</c:v>
                </c:pt>
                <c:pt idx="233">
                  <c:v>15</c:v>
                </c:pt>
                <c:pt idx="234">
                  <c:v>14.875</c:v>
                </c:pt>
                <c:pt idx="235">
                  <c:v>13.9</c:v>
                </c:pt>
                <c:pt idx="236">
                  <c:v>14.625</c:v>
                </c:pt>
                <c:pt idx="237">
                  <c:v>14.15</c:v>
                </c:pt>
                <c:pt idx="238">
                  <c:v>14.425000000000001</c:v>
                </c:pt>
                <c:pt idx="239">
                  <c:v>14.75</c:v>
                </c:pt>
                <c:pt idx="240">
                  <c:v>15.58</c:v>
                </c:pt>
                <c:pt idx="241">
                  <c:v>15.95</c:v>
                </c:pt>
                <c:pt idx="242">
                  <c:v>16.68</c:v>
                </c:pt>
                <c:pt idx="243">
                  <c:v>17.28</c:v>
                </c:pt>
                <c:pt idx="244">
                  <c:v>16.149999999999999</c:v>
                </c:pt>
                <c:pt idx="245">
                  <c:v>15.824999999999999</c:v>
                </c:pt>
                <c:pt idx="246">
                  <c:v>15.675000000000001</c:v>
                </c:pt>
                <c:pt idx="247">
                  <c:v>16.899999999999999</c:v>
                </c:pt>
                <c:pt idx="248">
                  <c:v>17.425000000000001</c:v>
                </c:pt>
                <c:pt idx="249">
                  <c:v>17.100000000000001</c:v>
                </c:pt>
                <c:pt idx="250">
                  <c:v>17.63</c:v>
                </c:pt>
                <c:pt idx="251">
                  <c:v>17.63</c:v>
                </c:pt>
                <c:pt idx="252">
                  <c:v>19.05</c:v>
                </c:pt>
                <c:pt idx="253">
                  <c:v>19</c:v>
                </c:pt>
                <c:pt idx="254">
                  <c:v>18.8</c:v>
                </c:pt>
                <c:pt idx="255">
                  <c:v>19.899999999999999</c:v>
                </c:pt>
                <c:pt idx="256">
                  <c:v>18.05</c:v>
                </c:pt>
                <c:pt idx="257">
                  <c:v>17.649999999999999</c:v>
                </c:pt>
                <c:pt idx="258">
                  <c:v>19.5</c:v>
                </c:pt>
                <c:pt idx="259">
                  <c:v>20.399999999999999</c:v>
                </c:pt>
                <c:pt idx="260">
                  <c:v>22.25</c:v>
                </c:pt>
                <c:pt idx="261">
                  <c:v>26.2</c:v>
                </c:pt>
                <c:pt idx="262">
                  <c:v>23.13</c:v>
                </c:pt>
                <c:pt idx="263">
                  <c:v>21.25</c:v>
                </c:pt>
                <c:pt idx="264">
                  <c:v>20.375</c:v>
                </c:pt>
                <c:pt idx="265">
                  <c:v>19.05</c:v>
                </c:pt>
                <c:pt idx="266">
                  <c:v>20.25</c:v>
                </c:pt>
                <c:pt idx="267">
                  <c:v>19.829999999999998</c:v>
                </c:pt>
                <c:pt idx="268">
                  <c:v>19.75</c:v>
                </c:pt>
                <c:pt idx="269">
                  <c:v>21.55</c:v>
                </c:pt>
                <c:pt idx="270">
                  <c:v>20.149999999999999</c:v>
                </c:pt>
                <c:pt idx="271">
                  <c:v>19.95</c:v>
                </c:pt>
                <c:pt idx="272">
                  <c:v>19.78</c:v>
                </c:pt>
                <c:pt idx="273">
                  <c:v>20.85</c:v>
                </c:pt>
                <c:pt idx="274">
                  <c:v>19.899999999999999</c:v>
                </c:pt>
                <c:pt idx="275">
                  <c:v>17.774999999999999</c:v>
                </c:pt>
                <c:pt idx="276">
                  <c:v>17.975000000000001</c:v>
                </c:pt>
                <c:pt idx="277">
                  <c:v>17.850000000000001</c:v>
                </c:pt>
                <c:pt idx="278">
                  <c:v>18</c:v>
                </c:pt>
                <c:pt idx="279">
                  <c:v>18.45</c:v>
                </c:pt>
                <c:pt idx="280">
                  <c:v>20.65</c:v>
                </c:pt>
                <c:pt idx="281">
                  <c:v>19.899999999999999</c:v>
                </c:pt>
                <c:pt idx="282">
                  <c:v>19.05</c:v>
                </c:pt>
                <c:pt idx="283">
                  <c:v>18.100000000000001</c:v>
                </c:pt>
                <c:pt idx="284">
                  <c:v>17.875</c:v>
                </c:pt>
                <c:pt idx="285">
                  <c:v>16.350000000000001</c:v>
                </c:pt>
                <c:pt idx="286">
                  <c:v>16.600000000000001</c:v>
                </c:pt>
                <c:pt idx="287">
                  <c:v>16.55</c:v>
                </c:pt>
                <c:pt idx="288">
                  <c:v>17.05</c:v>
                </c:pt>
                <c:pt idx="289">
                  <c:v>16.5</c:v>
                </c:pt>
                <c:pt idx="290">
                  <c:v>15.8</c:v>
                </c:pt>
                <c:pt idx="291">
                  <c:v>15.95</c:v>
                </c:pt>
                <c:pt idx="292">
                  <c:v>16.25</c:v>
                </c:pt>
                <c:pt idx="293">
                  <c:v>15.93</c:v>
                </c:pt>
                <c:pt idx="294">
                  <c:v>15.95</c:v>
                </c:pt>
                <c:pt idx="295">
                  <c:v>16.3</c:v>
                </c:pt>
                <c:pt idx="296">
                  <c:v>16.25</c:v>
                </c:pt>
                <c:pt idx="297">
                  <c:v>16.05</c:v>
                </c:pt>
                <c:pt idx="298">
                  <c:v>16.45</c:v>
                </c:pt>
                <c:pt idx="299">
                  <c:v>16.55</c:v>
                </c:pt>
                <c:pt idx="300">
                  <c:v>16.88</c:v>
                </c:pt>
                <c:pt idx="301">
                  <c:v>17.25</c:v>
                </c:pt>
                <c:pt idx="302">
                  <c:v>17.850000000000001</c:v>
                </c:pt>
                <c:pt idx="303">
                  <c:v>18.05</c:v>
                </c:pt>
                <c:pt idx="304">
                  <c:v>18.649999999999999</c:v>
                </c:pt>
                <c:pt idx="305">
                  <c:v>18.3</c:v>
                </c:pt>
                <c:pt idx="306">
                  <c:v>17.93</c:v>
                </c:pt>
                <c:pt idx="307">
                  <c:v>18.7</c:v>
                </c:pt>
                <c:pt idx="308">
                  <c:v>17.649999999999999</c:v>
                </c:pt>
                <c:pt idx="309">
                  <c:v>17.75</c:v>
                </c:pt>
                <c:pt idx="310">
                  <c:v>18.55</c:v>
                </c:pt>
                <c:pt idx="311">
                  <c:v>18.5</c:v>
                </c:pt>
                <c:pt idx="312">
                  <c:v>18.649999999999999</c:v>
                </c:pt>
                <c:pt idx="313">
                  <c:v>18.149999999999999</c:v>
                </c:pt>
                <c:pt idx="314">
                  <c:v>18.5</c:v>
                </c:pt>
                <c:pt idx="315">
                  <c:v>18.350000000000001</c:v>
                </c:pt>
                <c:pt idx="316">
                  <c:v>18.725000000000001</c:v>
                </c:pt>
                <c:pt idx="317">
                  <c:v>18.93</c:v>
                </c:pt>
                <c:pt idx="318">
                  <c:v>19.2</c:v>
                </c:pt>
                <c:pt idx="319">
                  <c:v>20.399999999999999</c:v>
                </c:pt>
                <c:pt idx="320">
                  <c:v>20.05</c:v>
                </c:pt>
                <c:pt idx="321">
                  <c:v>19.5</c:v>
                </c:pt>
                <c:pt idx="322">
                  <c:v>19.475000000000001</c:v>
                </c:pt>
                <c:pt idx="323">
                  <c:v>20.85</c:v>
                </c:pt>
                <c:pt idx="324">
                  <c:v>20.3</c:v>
                </c:pt>
                <c:pt idx="325">
                  <c:v>20.425000000000001</c:v>
                </c:pt>
                <c:pt idx="326">
                  <c:v>20.824999999999999</c:v>
                </c:pt>
                <c:pt idx="327">
                  <c:v>21.2</c:v>
                </c:pt>
                <c:pt idx="328">
                  <c:v>21.475000000000001</c:v>
                </c:pt>
                <c:pt idx="329">
                  <c:v>21.524999999999999</c:v>
                </c:pt>
                <c:pt idx="330">
                  <c:v>21.35</c:v>
                </c:pt>
                <c:pt idx="331">
                  <c:v>21.65</c:v>
                </c:pt>
                <c:pt idx="332">
                  <c:v>20.175000000000001</c:v>
                </c:pt>
                <c:pt idx="333">
                  <c:v>20.125</c:v>
                </c:pt>
                <c:pt idx="334">
                  <c:v>21.75</c:v>
                </c:pt>
                <c:pt idx="335">
                  <c:v>21.9</c:v>
                </c:pt>
                <c:pt idx="336">
                  <c:v>22.675000000000001</c:v>
                </c:pt>
                <c:pt idx="337">
                  <c:v>23.6</c:v>
                </c:pt>
                <c:pt idx="338">
                  <c:v>23.55</c:v>
                </c:pt>
                <c:pt idx="339">
                  <c:v>23.774999999999999</c:v>
                </c:pt>
                <c:pt idx="340">
                  <c:v>24.68</c:v>
                </c:pt>
                <c:pt idx="341">
                  <c:v>24.98</c:v>
                </c:pt>
                <c:pt idx="342">
                  <c:v>24.125</c:v>
                </c:pt>
                <c:pt idx="343">
                  <c:v>25.274999999999999</c:v>
                </c:pt>
                <c:pt idx="344">
                  <c:v>26.15</c:v>
                </c:pt>
                <c:pt idx="345">
                  <c:v>26.1</c:v>
                </c:pt>
                <c:pt idx="346">
                  <c:v>26.4</c:v>
                </c:pt>
                <c:pt idx="347">
                  <c:v>27.2</c:v>
                </c:pt>
                <c:pt idx="348">
                  <c:v>26.6</c:v>
                </c:pt>
                <c:pt idx="349">
                  <c:v>25.574999999999999</c:v>
                </c:pt>
                <c:pt idx="350">
                  <c:v>23</c:v>
                </c:pt>
                <c:pt idx="351">
                  <c:v>24.75</c:v>
                </c:pt>
                <c:pt idx="352">
                  <c:v>24.8</c:v>
                </c:pt>
                <c:pt idx="353">
                  <c:v>24.8</c:v>
                </c:pt>
                <c:pt idx="354">
                  <c:v>25.725000000000001</c:v>
                </c:pt>
                <c:pt idx="355">
                  <c:v>26.25</c:v>
                </c:pt>
                <c:pt idx="356">
                  <c:v>25.425000000000001</c:v>
                </c:pt>
                <c:pt idx="357">
                  <c:v>25.45</c:v>
                </c:pt>
                <c:pt idx="358">
                  <c:v>25.35</c:v>
                </c:pt>
                <c:pt idx="359">
                  <c:v>25.8</c:v>
                </c:pt>
                <c:pt idx="360">
                  <c:v>25.4</c:v>
                </c:pt>
                <c:pt idx="361">
                  <c:v>25.824999999999999</c:v>
                </c:pt>
                <c:pt idx="362">
                  <c:v>25.85</c:v>
                </c:pt>
                <c:pt idx="363">
                  <c:v>26.675000000000001</c:v>
                </c:pt>
                <c:pt idx="364">
                  <c:v>28.13</c:v>
                </c:pt>
                <c:pt idx="365">
                  <c:v>27.9</c:v>
                </c:pt>
                <c:pt idx="366">
                  <c:v>28.1</c:v>
                </c:pt>
                <c:pt idx="367">
                  <c:v>28</c:v>
                </c:pt>
                <c:pt idx="368">
                  <c:v>28.925000000000001</c:v>
                </c:pt>
                <c:pt idx="369">
                  <c:v>27.95</c:v>
                </c:pt>
                <c:pt idx="370">
                  <c:v>28.15</c:v>
                </c:pt>
                <c:pt idx="371">
                  <c:v>28.6</c:v>
                </c:pt>
                <c:pt idx="372">
                  <c:v>29.574999999999999</c:v>
                </c:pt>
                <c:pt idx="373">
                  <c:v>29.9</c:v>
                </c:pt>
                <c:pt idx="374">
                  <c:v>31.4</c:v>
                </c:pt>
                <c:pt idx="375">
                  <c:v>31.15</c:v>
                </c:pt>
                <c:pt idx="376">
                  <c:v>31.95</c:v>
                </c:pt>
                <c:pt idx="377">
                  <c:v>32.450000000000003</c:v>
                </c:pt>
                <c:pt idx="378">
                  <c:v>32.225000000000001</c:v>
                </c:pt>
                <c:pt idx="379">
                  <c:v>33.65</c:v>
                </c:pt>
                <c:pt idx="380">
                  <c:v>35.5</c:v>
                </c:pt>
                <c:pt idx="381">
                  <c:v>36.4</c:v>
                </c:pt>
                <c:pt idx="382">
                  <c:v>36.299999999999997</c:v>
                </c:pt>
                <c:pt idx="383">
                  <c:v>37.85</c:v>
                </c:pt>
                <c:pt idx="384">
                  <c:v>33.6</c:v>
                </c:pt>
                <c:pt idx="385">
                  <c:v>32.65</c:v>
                </c:pt>
                <c:pt idx="386">
                  <c:v>34</c:v>
                </c:pt>
                <c:pt idx="387">
                  <c:v>36.825000000000003</c:v>
                </c:pt>
                <c:pt idx="388">
                  <c:v>34.65</c:v>
                </c:pt>
                <c:pt idx="389">
                  <c:v>35.450000000000003</c:v>
                </c:pt>
                <c:pt idx="390">
                  <c:v>33.9</c:v>
                </c:pt>
                <c:pt idx="391">
                  <c:v>34</c:v>
                </c:pt>
                <c:pt idx="392">
                  <c:v>35.28</c:v>
                </c:pt>
                <c:pt idx="393">
                  <c:v>36.200000000000003</c:v>
                </c:pt>
                <c:pt idx="394">
                  <c:v>35.299999999999997</c:v>
                </c:pt>
                <c:pt idx="395">
                  <c:v>35.950000000000003</c:v>
                </c:pt>
                <c:pt idx="396">
                  <c:v>35.799999999999997</c:v>
                </c:pt>
                <c:pt idx="397">
                  <c:v>35.65</c:v>
                </c:pt>
                <c:pt idx="398">
                  <c:v>36.975000000000001</c:v>
                </c:pt>
                <c:pt idx="399">
                  <c:v>37.979999999999997</c:v>
                </c:pt>
                <c:pt idx="400">
                  <c:v>39.725000000000001</c:v>
                </c:pt>
                <c:pt idx="401">
                  <c:v>41.375</c:v>
                </c:pt>
                <c:pt idx="402">
                  <c:v>40.575000000000003</c:v>
                </c:pt>
                <c:pt idx="403">
                  <c:v>42.024999999999999</c:v>
                </c:pt>
                <c:pt idx="404">
                  <c:v>41.15</c:v>
                </c:pt>
                <c:pt idx="405">
                  <c:v>41.8</c:v>
                </c:pt>
                <c:pt idx="406">
                  <c:v>42.575000000000003</c:v>
                </c:pt>
                <c:pt idx="407">
                  <c:v>43.424999999999997</c:v>
                </c:pt>
                <c:pt idx="408">
                  <c:v>42.7</c:v>
                </c:pt>
                <c:pt idx="409">
                  <c:v>44.445</c:v>
                </c:pt>
                <c:pt idx="410">
                  <c:v>46.2</c:v>
                </c:pt>
                <c:pt idx="411">
                  <c:v>45.6</c:v>
                </c:pt>
                <c:pt idx="412">
                  <c:v>44.3</c:v>
                </c:pt>
                <c:pt idx="413">
                  <c:v>47.674999999999997</c:v>
                </c:pt>
                <c:pt idx="414">
                  <c:v>46.25</c:v>
                </c:pt>
                <c:pt idx="415">
                  <c:v>45</c:v>
                </c:pt>
                <c:pt idx="416">
                  <c:v>40.380000000000003</c:v>
                </c:pt>
                <c:pt idx="417">
                  <c:v>41.55</c:v>
                </c:pt>
                <c:pt idx="418">
                  <c:v>42.4</c:v>
                </c:pt>
                <c:pt idx="419">
                  <c:v>45.2</c:v>
                </c:pt>
                <c:pt idx="420">
                  <c:v>44.7</c:v>
                </c:pt>
                <c:pt idx="421">
                  <c:v>45.325000000000003</c:v>
                </c:pt>
                <c:pt idx="422">
                  <c:v>47.7</c:v>
                </c:pt>
                <c:pt idx="423">
                  <c:v>46.9</c:v>
                </c:pt>
                <c:pt idx="424">
                  <c:v>50.174999999999997</c:v>
                </c:pt>
                <c:pt idx="425">
                  <c:v>49.5</c:v>
                </c:pt>
                <c:pt idx="426">
                  <c:v>51</c:v>
                </c:pt>
                <c:pt idx="427">
                  <c:v>51.2</c:v>
                </c:pt>
                <c:pt idx="428">
                  <c:v>52.125</c:v>
                </c:pt>
                <c:pt idx="429">
                  <c:v>53.6</c:v>
                </c:pt>
                <c:pt idx="430">
                  <c:v>54.75</c:v>
                </c:pt>
                <c:pt idx="431">
                  <c:v>56.4</c:v>
                </c:pt>
                <c:pt idx="432">
                  <c:v>56.85</c:v>
                </c:pt>
                <c:pt idx="433">
                  <c:v>61.65</c:v>
                </c:pt>
                <c:pt idx="434">
                  <c:v>66.05</c:v>
                </c:pt>
                <c:pt idx="435">
                  <c:v>65.5</c:v>
                </c:pt>
                <c:pt idx="436">
                  <c:v>60.85</c:v>
                </c:pt>
                <c:pt idx="437">
                  <c:v>63.85</c:v>
                </c:pt>
                <c:pt idx="438">
                  <c:v>73.45</c:v>
                </c:pt>
                <c:pt idx="439">
                  <c:v>72</c:v>
                </c:pt>
                <c:pt idx="440">
                  <c:v>68.605000000000004</c:v>
                </c:pt>
                <c:pt idx="441">
                  <c:v>67.025000000000006</c:v>
                </c:pt>
                <c:pt idx="442">
                  <c:v>67.95</c:v>
                </c:pt>
                <c:pt idx="443">
                  <c:v>75.98</c:v>
                </c:pt>
                <c:pt idx="444">
                  <c:v>76.7</c:v>
                </c:pt>
                <c:pt idx="445">
                  <c:v>80.8</c:v>
                </c:pt>
                <c:pt idx="446">
                  <c:v>84.75</c:v>
                </c:pt>
                <c:pt idx="447">
                  <c:v>85</c:v>
                </c:pt>
                <c:pt idx="448">
                  <c:v>89.4</c:v>
                </c:pt>
                <c:pt idx="449">
                  <c:v>115.8</c:v>
                </c:pt>
                <c:pt idx="450">
                  <c:v>100.25</c:v>
                </c:pt>
                <c:pt idx="451">
                  <c:v>91.9</c:v>
                </c:pt>
                <c:pt idx="452">
                  <c:v>82.5</c:v>
                </c:pt>
                <c:pt idx="453">
                  <c:v>83</c:v>
                </c:pt>
                <c:pt idx="454">
                  <c:v>85.13</c:v>
                </c:pt>
                <c:pt idx="455">
                  <c:v>91.325000000000003</c:v>
                </c:pt>
                <c:pt idx="456">
                  <c:v>99.45</c:v>
                </c:pt>
                <c:pt idx="457">
                  <c:v>87</c:v>
                </c:pt>
                <c:pt idx="458">
                  <c:v>85.2</c:v>
                </c:pt>
                <c:pt idx="459">
                  <c:v>84.7</c:v>
                </c:pt>
                <c:pt idx="460">
                  <c:v>90.5</c:v>
                </c:pt>
                <c:pt idx="461">
                  <c:v>86.2</c:v>
                </c:pt>
                <c:pt idx="462">
                  <c:v>87.05</c:v>
                </c:pt>
                <c:pt idx="463">
                  <c:v>88.7</c:v>
                </c:pt>
                <c:pt idx="464">
                  <c:v>87.83</c:v>
                </c:pt>
                <c:pt idx="465">
                  <c:v>84.95</c:v>
                </c:pt>
                <c:pt idx="466">
                  <c:v>74</c:v>
                </c:pt>
                <c:pt idx="467">
                  <c:v>60.6</c:v>
                </c:pt>
                <c:pt idx="468">
                  <c:v>63.75</c:v>
                </c:pt>
                <c:pt idx="469">
                  <c:v>67.974999999999994</c:v>
                </c:pt>
                <c:pt idx="470">
                  <c:v>78</c:v>
                </c:pt>
                <c:pt idx="471">
                  <c:v>72.400000000000006</c:v>
                </c:pt>
                <c:pt idx="472">
                  <c:v>73</c:v>
                </c:pt>
                <c:pt idx="473">
                  <c:v>77</c:v>
                </c:pt>
                <c:pt idx="474">
                  <c:v>72.45</c:v>
                </c:pt>
                <c:pt idx="475">
                  <c:v>70.150000000000006</c:v>
                </c:pt>
                <c:pt idx="476">
                  <c:v>73.900000000000006</c:v>
                </c:pt>
                <c:pt idx="477">
                  <c:v>74.099999999999994</c:v>
                </c:pt>
                <c:pt idx="478">
                  <c:v>79.5</c:v>
                </c:pt>
                <c:pt idx="479">
                  <c:v>93.8</c:v>
                </c:pt>
                <c:pt idx="480">
                  <c:v>93.8</c:v>
                </c:pt>
                <c:pt idx="481">
                  <c:v>90.8</c:v>
                </c:pt>
                <c:pt idx="482">
                  <c:v>86.1</c:v>
                </c:pt>
                <c:pt idx="483">
                  <c:v>84.35</c:v>
                </c:pt>
                <c:pt idx="484">
                  <c:v>91.15</c:v>
                </c:pt>
                <c:pt idx="485">
                  <c:v>93.6</c:v>
                </c:pt>
                <c:pt idx="486">
                  <c:v>92.25</c:v>
                </c:pt>
                <c:pt idx="487">
                  <c:v>88.3</c:v>
                </c:pt>
                <c:pt idx="488">
                  <c:v>93.88</c:v>
                </c:pt>
                <c:pt idx="489">
                  <c:v>91.35</c:v>
                </c:pt>
                <c:pt idx="490">
                  <c:v>97.5</c:v>
                </c:pt>
                <c:pt idx="491">
                  <c:v>91.85</c:v>
                </c:pt>
                <c:pt idx="492">
                  <c:v>89.2</c:v>
                </c:pt>
                <c:pt idx="493">
                  <c:v>89.4</c:v>
                </c:pt>
                <c:pt idx="494">
                  <c:v>96.7</c:v>
                </c:pt>
                <c:pt idx="495">
                  <c:v>103.45</c:v>
                </c:pt>
                <c:pt idx="496">
                  <c:v>101.25</c:v>
                </c:pt>
                <c:pt idx="497">
                  <c:v>103.6</c:v>
                </c:pt>
                <c:pt idx="498">
                  <c:v>115.9</c:v>
                </c:pt>
                <c:pt idx="499">
                  <c:v>127.2</c:v>
                </c:pt>
                <c:pt idx="500">
                  <c:v>127.97499999999999</c:v>
                </c:pt>
                <c:pt idx="501">
                  <c:v>139.5</c:v>
                </c:pt>
                <c:pt idx="502">
                  <c:v>136</c:v>
                </c:pt>
                <c:pt idx="503">
                  <c:v>148.6</c:v>
                </c:pt>
                <c:pt idx="504">
                  <c:v>182.3</c:v>
                </c:pt>
                <c:pt idx="505">
                  <c:v>166.75</c:v>
                </c:pt>
                <c:pt idx="506">
                  <c:v>139.30000000000001</c:v>
                </c:pt>
                <c:pt idx="507">
                  <c:v>102</c:v>
                </c:pt>
                <c:pt idx="508">
                  <c:v>105</c:v>
                </c:pt>
                <c:pt idx="509">
                  <c:v>102.97499999999999</c:v>
                </c:pt>
                <c:pt idx="510">
                  <c:v>83.4</c:v>
                </c:pt>
                <c:pt idx="511">
                  <c:v>66.5</c:v>
                </c:pt>
                <c:pt idx="512">
                  <c:v>70</c:v>
                </c:pt>
                <c:pt idx="513">
                  <c:v>92.13</c:v>
                </c:pt>
                <c:pt idx="514">
                  <c:v>87.6</c:v>
                </c:pt>
                <c:pt idx="515">
                  <c:v>96.5</c:v>
                </c:pt>
                <c:pt idx="516">
                  <c:v>84.4</c:v>
                </c:pt>
                <c:pt idx="517">
                  <c:v>84.5</c:v>
                </c:pt>
                <c:pt idx="518">
                  <c:v>81</c:v>
                </c:pt>
                <c:pt idx="519">
                  <c:v>75.400000000000006</c:v>
                </c:pt>
                <c:pt idx="520">
                  <c:v>79.95</c:v>
                </c:pt>
                <c:pt idx="521">
                  <c:v>86.9</c:v>
                </c:pt>
                <c:pt idx="522">
                  <c:v>76.05</c:v>
                </c:pt>
                <c:pt idx="523">
                  <c:v>79.08</c:v>
                </c:pt>
                <c:pt idx="524">
                  <c:v>73.75</c:v>
                </c:pt>
                <c:pt idx="525">
                  <c:v>75</c:v>
                </c:pt>
                <c:pt idx="526">
                  <c:v>80.3</c:v>
                </c:pt>
                <c:pt idx="527">
                  <c:v>93</c:v>
                </c:pt>
                <c:pt idx="528">
                  <c:v>94.5</c:v>
                </c:pt>
                <c:pt idx="529">
                  <c:v>90.7</c:v>
                </c:pt>
                <c:pt idx="530">
                  <c:v>91.7</c:v>
                </c:pt>
                <c:pt idx="531">
                  <c:v>92.424999999999997</c:v>
                </c:pt>
                <c:pt idx="532">
                  <c:v>84.6</c:v>
                </c:pt>
                <c:pt idx="533">
                  <c:v>75.180000000000007</c:v>
                </c:pt>
                <c:pt idx="534">
                  <c:v>76.5</c:v>
                </c:pt>
                <c:pt idx="535">
                  <c:v>79.2</c:v>
                </c:pt>
                <c:pt idx="536">
                  <c:v>80.2</c:v>
                </c:pt>
                <c:pt idx="537">
                  <c:v>77.295000000000002</c:v>
                </c:pt>
              </c:numCache>
            </c:numRef>
          </c:yVal>
          <c:smooth val="0"/>
          <c:extLst>
            <c:ext xmlns:c16="http://schemas.microsoft.com/office/drawing/2014/chart" uri="{C3380CC4-5D6E-409C-BE32-E72D297353CC}">
              <c16:uniqueId val="{00000000-7CF6-473C-BA8C-76BAC0AD1AB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axId val="1254010303"/>
        <c:axId val="1"/>
      </c:scatterChart>
      <c:valAx>
        <c:axId val="1254010303"/>
        <c:scaling>
          <c:orientation val="minMax"/>
          <c:max val="19030"/>
          <c:min val="18262"/>
        </c:scaling>
        <c:delete val="0"/>
        <c:axPos val="b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crossBetween val="midCat"/>
      </c:valAx>
      <c:valAx>
        <c:axId val="1"/>
        <c:scaling>
          <c:orientation val="minMax"/>
          <c:max val="190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#,##0;&quot;-&quot;#,##0" sourceLinked="0"/>
        <c:majorTickMark val="out"/>
        <c:minorTickMark val="none"/>
        <c:tickLblPos val="nextTo"/>
        <c:spPr>
          <a:ln w="9525" algn="ctr">
            <a:solidFill>
              <a:schemeClr val="tx1"/>
            </a:solidFill>
            <a:prstDash val="solid"/>
          </a:ln>
        </c:spPr>
        <c:txPr>
          <a:bodyPr wrap="none"/>
          <a:lstStyle/>
          <a:p>
            <a:pPr>
              <a:defRPr sz="1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en-US"/>
          </a:p>
        </c:txPr>
        <c:crossAx val="1254010303"/>
        <c:crosses val="min"/>
        <c:crossBetween val="midCat"/>
        <c:majorUnit val="10"/>
      </c:valAx>
    </c:plotArea>
    <c:plotVisOnly val="0"/>
    <c:dispBlanksAs val="gap"/>
    <c:showDLblsOverMax val="1"/>
  </c:chart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0360219263899765E-2"/>
          <c:y val="2.1061158363710003E-2"/>
          <c:w val="0.9592795614722005"/>
          <c:h val="0.95787768327257994"/>
        </c:manualLayout>
      </c:layout>
      <c:lineChart>
        <c:grouping val="standard"/>
        <c:varyColors val="0"/>
        <c:ser>
          <c:idx val="0"/>
          <c:order val="0"/>
          <c:spPr>
            <a:ln w="6350" algn="ctr">
              <a:solidFill>
                <a:srgbClr val="DFE5EF"/>
              </a:solidFill>
              <a:prstDash val="solid"/>
            </a:ln>
          </c:spPr>
          <c:marker>
            <c:symbol val="none"/>
          </c:marker>
          <c:val>
            <c:numRef>
              <c:f>Sheet1!$A$1:$L$1</c:f>
              <c:numCache>
                <c:formatCode>General</c:formatCode>
                <c:ptCount val="12"/>
                <c:pt idx="0">
                  <c:v>3737.9078469204069</c:v>
                </c:pt>
                <c:pt idx="1">
                  <c:v>3660.6378469204083</c:v>
                </c:pt>
                <c:pt idx="2">
                  <c:v>4332.4278469204073</c:v>
                </c:pt>
                <c:pt idx="3">
                  <c:v>3246.9178469204071</c:v>
                </c:pt>
                <c:pt idx="4">
                  <c:v>4149.9678469204082</c:v>
                </c:pt>
                <c:pt idx="5">
                  <c:v>3947.8478469204074</c:v>
                </c:pt>
                <c:pt idx="6">
                  <c:v>3284.3078469204074</c:v>
                </c:pt>
                <c:pt idx="7">
                  <c:v>4045.6178469204078</c:v>
                </c:pt>
                <c:pt idx="8">
                  <c:v>4446.9378469204075</c:v>
                </c:pt>
                <c:pt idx="9">
                  <c:v>4299.7178469204073</c:v>
                </c:pt>
                <c:pt idx="10">
                  <c:v>4784.8178469204086</c:v>
                </c:pt>
                <c:pt idx="11">
                  <c:v>5295.6878469204075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0A36-4BF0-B274-7369D3E2C5BC}"/>
            </c:ext>
          </c:extLst>
        </c:ser>
        <c:ser>
          <c:idx val="1"/>
          <c:order val="1"/>
          <c:spPr>
            <a:ln w="6350" algn="ctr">
              <a:solidFill>
                <a:srgbClr val="DFE5EF"/>
              </a:solidFill>
              <a:prstDash val="solid"/>
            </a:ln>
          </c:spPr>
          <c:marker>
            <c:symbol val="none"/>
          </c:marker>
          <c:val>
            <c:numRef>
              <c:f>Sheet1!$A$2:$L$2</c:f>
              <c:numCache>
                <c:formatCode>General</c:formatCode>
                <c:ptCount val="12"/>
                <c:pt idx="0">
                  <c:v>6596.6778469204073</c:v>
                </c:pt>
                <c:pt idx="1">
                  <c:v>5310.997846920407</c:v>
                </c:pt>
                <c:pt idx="2">
                  <c:v>5746.6478469204076</c:v>
                </c:pt>
                <c:pt idx="3">
                  <c:v>5933.1178469204078</c:v>
                </c:pt>
                <c:pt idx="4">
                  <c:v>6052.1778469204073</c:v>
                </c:pt>
                <c:pt idx="5">
                  <c:v>5283.747846920407</c:v>
                </c:pt>
                <c:pt idx="6">
                  <c:v>6141.2178469204064</c:v>
                </c:pt>
                <c:pt idx="7">
                  <c:v>6443.587846920409</c:v>
                </c:pt>
                <c:pt idx="8">
                  <c:v>6083.0078469204072</c:v>
                </c:pt>
                <c:pt idx="9">
                  <c:v>5960.2178469204064</c:v>
                </c:pt>
                <c:pt idx="10">
                  <c:v>6169.377846920408</c:v>
                </c:pt>
                <c:pt idx="11">
                  <c:v>6102.8878469204083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0A36-4BF0-B274-7369D3E2C5BC}"/>
            </c:ext>
          </c:extLst>
        </c:ser>
        <c:ser>
          <c:idx val="2"/>
          <c:order val="2"/>
          <c:spPr>
            <a:ln w="9525" algn="ctr">
              <a:solidFill>
                <a:srgbClr val="969696"/>
              </a:solidFill>
              <a:prstDash val="lgDash"/>
            </a:ln>
          </c:spPr>
          <c:marker>
            <c:symbol val="none"/>
          </c:marker>
          <c:val>
            <c:numRef>
              <c:f>Sheet1!$A$3:$L$3</c:f>
              <c:numCache>
                <c:formatCode>General</c:formatCode>
                <c:ptCount val="12"/>
                <c:pt idx="0">
                  <c:v>4938.8128469204075</c:v>
                </c:pt>
                <c:pt idx="1">
                  <c:v>4173.9128469204079</c:v>
                </c:pt>
                <c:pt idx="2">
                  <c:v>4848.4903469204073</c:v>
                </c:pt>
                <c:pt idx="3">
                  <c:v>4874.6878469204075</c:v>
                </c:pt>
                <c:pt idx="4">
                  <c:v>5119.5953469204069</c:v>
                </c:pt>
                <c:pt idx="5">
                  <c:v>4874.4303469204078</c:v>
                </c:pt>
                <c:pt idx="6">
                  <c:v>5099.8003469204068</c:v>
                </c:pt>
                <c:pt idx="7">
                  <c:v>5017.940346920408</c:v>
                </c:pt>
                <c:pt idx="8">
                  <c:v>4984.7578469204072</c:v>
                </c:pt>
                <c:pt idx="9">
                  <c:v>4904.6028469204066</c:v>
                </c:pt>
                <c:pt idx="10">
                  <c:v>5662.7853469204083</c:v>
                </c:pt>
                <c:pt idx="11">
                  <c:v>5701.9103469204074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2-0A36-4BF0-B274-7369D3E2C5BC}"/>
            </c:ext>
          </c:extLst>
        </c:ser>
        <c:ser>
          <c:idx val="3"/>
          <c:order val="3"/>
          <c:spPr>
            <a:ln w="28575" algn="ctr">
              <a:solidFill>
                <a:schemeClr val="accent6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triangle"/>
              <c:size val="6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0A36-4BF0-B274-7369D3E2C5BC}"/>
              </c:ext>
            </c:extLst>
          </c:dPt>
          <c:dPt>
            <c:idx val="1"/>
            <c:marker>
              <c:symbol val="triangle"/>
              <c:size val="6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0A36-4BF0-B274-7369D3E2C5BC}"/>
              </c:ext>
            </c:extLst>
          </c:dPt>
          <c:dPt>
            <c:idx val="2"/>
            <c:marker>
              <c:symbol val="triangle"/>
              <c:size val="6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0A36-4BF0-B274-7369D3E2C5BC}"/>
              </c:ext>
            </c:extLst>
          </c:dPt>
          <c:dPt>
            <c:idx val="3"/>
            <c:marker>
              <c:symbol val="triangle"/>
              <c:size val="6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0A36-4BF0-B274-7369D3E2C5BC}"/>
              </c:ext>
            </c:extLst>
          </c:dPt>
          <c:dPt>
            <c:idx val="4"/>
            <c:marker>
              <c:symbol val="triangle"/>
              <c:size val="6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0A36-4BF0-B274-7369D3E2C5BC}"/>
              </c:ext>
            </c:extLst>
          </c:dPt>
          <c:dPt>
            <c:idx val="5"/>
            <c:marker>
              <c:symbol val="triangle"/>
              <c:size val="6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0A36-4BF0-B274-7369D3E2C5BC}"/>
              </c:ext>
            </c:extLst>
          </c:dPt>
          <c:dPt>
            <c:idx val="6"/>
            <c:marker>
              <c:symbol val="triangle"/>
              <c:size val="6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0A36-4BF0-B274-7369D3E2C5BC}"/>
              </c:ext>
            </c:extLst>
          </c:dPt>
          <c:dPt>
            <c:idx val="7"/>
            <c:marker>
              <c:symbol val="triangle"/>
              <c:size val="6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0A36-4BF0-B274-7369D3E2C5BC}"/>
              </c:ext>
            </c:extLst>
          </c:dPt>
          <c:dPt>
            <c:idx val="8"/>
            <c:marker>
              <c:symbol val="triangle"/>
              <c:size val="6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0A36-4BF0-B274-7369D3E2C5BC}"/>
              </c:ext>
            </c:extLst>
          </c:dPt>
          <c:dPt>
            <c:idx val="9"/>
            <c:marker>
              <c:symbol val="triangle"/>
              <c:size val="6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0A36-4BF0-B274-7369D3E2C5BC}"/>
              </c:ext>
            </c:extLst>
          </c:dPt>
          <c:dPt>
            <c:idx val="10"/>
            <c:marker>
              <c:symbol val="triangle"/>
              <c:size val="6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0A36-4BF0-B274-7369D3E2C5BC}"/>
              </c:ext>
            </c:extLst>
          </c:dPt>
          <c:dPt>
            <c:idx val="11"/>
            <c:marker>
              <c:symbol val="triangle"/>
              <c:size val="6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0A36-4BF0-B274-7369D3E2C5BC}"/>
              </c:ext>
            </c:extLst>
          </c:dPt>
          <c:val>
            <c:numRef>
              <c:f>Sheet1!$A$4:$L$4</c:f>
              <c:numCache>
                <c:formatCode>General</c:formatCode>
                <c:ptCount val="12"/>
                <c:pt idx="0">
                  <c:v>231.73784692040772</c:v>
                </c:pt>
                <c:pt idx="1">
                  <c:v>1612.4378469204075</c:v>
                </c:pt>
                <c:pt idx="2">
                  <c:v>2317.6378469204074</c:v>
                </c:pt>
                <c:pt idx="3">
                  <c:v>2114.4378469204075</c:v>
                </c:pt>
                <c:pt idx="4">
                  <c:v>2301.1378469204074</c:v>
                </c:pt>
                <c:pt idx="5">
                  <c:v>2391.5378469204079</c:v>
                </c:pt>
                <c:pt idx="6">
                  <c:v>2635.4378469204075</c:v>
                </c:pt>
                <c:pt idx="7">
                  <c:v>2620.1378469204074</c:v>
                </c:pt>
                <c:pt idx="8">
                  <c:v>2368.4378469204075</c:v>
                </c:pt>
                <c:pt idx="9">
                  <c:v>3187.4378469204075</c:v>
                </c:pt>
                <c:pt idx="10">
                  <c:v>2959.1378469204074</c:v>
                </c:pt>
                <c:pt idx="11">
                  <c:v>3345.8378469204072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F-0A36-4BF0-B274-7369D3E2C5BC}"/>
            </c:ext>
          </c:extLst>
        </c:ser>
        <c:ser>
          <c:idx val="4"/>
          <c:order val="4"/>
          <c:spPr>
            <a:ln w="28575" algn="ctr">
              <a:solidFill>
                <a:srgbClr val="00A2DF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00A2D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0A36-4BF0-B274-7369D3E2C5BC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00A2D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0A36-4BF0-B274-7369D3E2C5BC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00A2D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0A36-4BF0-B274-7369D3E2C5BC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00A2D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3-0A36-4BF0-B274-7369D3E2C5BC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00A2D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4-0A36-4BF0-B274-7369D3E2C5BC}"/>
              </c:ext>
            </c:extLst>
          </c:dPt>
          <c:dPt>
            <c:idx val="5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00A2D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5-0A36-4BF0-B274-7369D3E2C5BC}"/>
              </c:ext>
            </c:extLst>
          </c:dPt>
          <c:dPt>
            <c:idx val="6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00A2D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6-0A36-4BF0-B274-7369D3E2C5BC}"/>
              </c:ext>
            </c:extLst>
          </c:dPt>
          <c:dPt>
            <c:idx val="7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00A2D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7-0A36-4BF0-B274-7369D3E2C5BC}"/>
              </c:ext>
            </c:extLst>
          </c:dPt>
          <c:dPt>
            <c:idx val="8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00A2D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8-0A36-4BF0-B274-7369D3E2C5BC}"/>
              </c:ext>
            </c:extLst>
          </c:dPt>
          <c:dPt>
            <c:idx val="9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00A2D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9-0A36-4BF0-B274-7369D3E2C5BC}"/>
              </c:ext>
            </c:extLst>
          </c:dPt>
          <c:dPt>
            <c:idx val="10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00A2D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A-0A36-4BF0-B274-7369D3E2C5BC}"/>
              </c:ext>
            </c:extLst>
          </c:dPt>
          <c:dPt>
            <c:idx val="11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00A2D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B-0A36-4BF0-B274-7369D3E2C5BC}"/>
              </c:ext>
            </c:extLst>
          </c:dPt>
          <c:val>
            <c:numRef>
              <c:f>Sheet1!$A$5:$L$5</c:f>
              <c:numCache>
                <c:formatCode>General</c:formatCode>
                <c:ptCount val="12"/>
                <c:pt idx="0">
                  <c:v>1546.6378469204074</c:v>
                </c:pt>
                <c:pt idx="1">
                  <c:v>590.33784692040717</c:v>
                </c:pt>
                <c:pt idx="2">
                  <c:v>1377.4378469204075</c:v>
                </c:pt>
                <c:pt idx="3">
                  <c:v>1401.1378469204074</c:v>
                </c:pt>
                <c:pt idx="4">
                  <c:v>1543.3378469204076</c:v>
                </c:pt>
                <c:pt idx="5">
                  <c:v>1406.2378469204077</c:v>
                </c:pt>
                <c:pt idx="6">
                  <c:v>1534.3378469204072</c:v>
                </c:pt>
                <c:pt idx="7">
                  <c:v>1532.3378469204072</c:v>
                </c:pt>
                <c:pt idx="8">
                  <c:v>946.53827292040751</c:v>
                </c:pt>
                <c:pt idx="9">
                  <c:v>320.50181392040713</c:v>
                </c:pt>
                <c:pt idx="10">
                  <c:v>732.63784692040736</c:v>
                </c:pt>
                <c:pt idx="11">
                  <c:v>931.43784692040754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1C-0A36-4BF0-B274-7369D3E2C5B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1023048623"/>
        <c:axId val="1"/>
      </c:lineChart>
      <c:catAx>
        <c:axId val="102304862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6683.4378469204075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023048623"/>
        <c:crosses val="min"/>
        <c:crossBetween val="midCat"/>
        <c:majorUnit val="500"/>
      </c:valAx>
    </c:plotArea>
    <c:plotVisOnly val="0"/>
    <c:dispBlanksAs val="gap"/>
    <c:showDLblsOverMax val="1"/>
  </c:chart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6768558951965066E-2"/>
          <c:y val="3.7545126353790613E-2"/>
          <c:w val="0.88646288209606983"/>
          <c:h val="0.92490974729241882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C30C3E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C0C0C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42D8-4465-896D-B0EAEAA89C43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0762-4C1B-8C3A-DA5DB36F0CC4}"/>
              </c:ext>
            </c:extLst>
          </c:dPt>
          <c:dPt>
            <c:idx val="2"/>
            <c:invertIfNegative val="0"/>
            <c:bubble3D val="0"/>
            <c:spPr>
              <a:solidFill>
                <a:srgbClr val="00A2D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42D8-4465-896D-B0EAEAA89C43}"/>
              </c:ext>
            </c:extLst>
          </c:dPt>
          <c:val>
            <c:numRef>
              <c:f>Sheet1!$A$1:$C$1</c:f>
              <c:numCache>
                <c:formatCode>General</c:formatCode>
                <c:ptCount val="3"/>
                <c:pt idx="0">
                  <c:v>87998</c:v>
                </c:pt>
                <c:pt idx="1">
                  <c:v>55885.599999999999</c:v>
                </c:pt>
                <c:pt idx="2">
                  <c:v>41653.3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2D8-4465-896D-B0EAEAA89C43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755641903"/>
        <c:axId val="1"/>
      </c:barChart>
      <c:catAx>
        <c:axId val="75564190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7998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755641903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5.7268722466960353E-2"/>
          <c:y val="3.2078963602714373E-2"/>
          <c:w val="0.88546255506607929"/>
          <c:h val="0.93584207279457121"/>
        </c:manualLayout>
      </c:layout>
      <c:barChart>
        <c:barDir val="col"/>
        <c:grouping val="stacked"/>
        <c:varyColors val="0"/>
        <c:ser>
          <c:idx val="0"/>
          <c:order val="0"/>
          <c:spPr>
            <a:solidFill>
              <a:srgbClr val="C30C3E"/>
            </a:solidFill>
            <a:ln>
              <a:noFill/>
            </a:ln>
          </c:spPr>
          <c:invertIfNegative val="0"/>
          <c:dPt>
            <c:idx val="0"/>
            <c:invertIfNegative val="0"/>
            <c:bubble3D val="0"/>
            <c:spPr>
              <a:solidFill>
                <a:srgbClr val="C0C0C0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1-2A56-4BA0-9C57-6CA8AF26FE70}"/>
              </c:ext>
            </c:extLst>
          </c:dPt>
          <c:dPt>
            <c:idx val="1"/>
            <c:invertIfNegative val="0"/>
            <c:bubble3D val="0"/>
            <c:spPr>
              <a:solidFill>
                <a:schemeClr val="accent6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4-DBED-443C-85A9-847C5A08CAE9}"/>
              </c:ext>
            </c:extLst>
          </c:dPt>
          <c:dPt>
            <c:idx val="2"/>
            <c:invertIfNegative val="0"/>
            <c:bubble3D val="0"/>
            <c:spPr>
              <a:solidFill>
                <a:srgbClr val="00A2DF"/>
              </a:solidFill>
              <a:ln>
                <a:noFill/>
              </a:ln>
            </c:spPr>
            <c:extLst>
              <c:ext xmlns:c16="http://schemas.microsoft.com/office/drawing/2014/chart" uri="{C3380CC4-5D6E-409C-BE32-E72D297353CC}">
                <c16:uniqueId val="{00000003-2A56-4BA0-9C57-6CA8AF26FE70}"/>
              </c:ext>
            </c:extLst>
          </c:dPt>
          <c:val>
            <c:numRef>
              <c:f>Sheet1!$A$1:$C$1</c:f>
              <c:numCache>
                <c:formatCode>General</c:formatCode>
                <c:ptCount val="3"/>
                <c:pt idx="0">
                  <c:v>190098.98300000001</c:v>
                </c:pt>
                <c:pt idx="1">
                  <c:v>159425.70000000001</c:v>
                </c:pt>
                <c:pt idx="2">
                  <c:v>148389.2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A56-4BA0-9C57-6CA8AF26FE7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80"/>
        <c:overlap val="100"/>
        <c:axId val="474724255"/>
        <c:axId val="1"/>
      </c:barChart>
      <c:catAx>
        <c:axId val="474724255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190098.98300000001"/>
          <c:min val="0"/>
        </c:scaling>
        <c:delete val="1"/>
        <c:axPos val="l"/>
        <c:numFmt formatCode="General" sourceLinked="1"/>
        <c:majorTickMark val="out"/>
        <c:minorTickMark val="none"/>
        <c:tickLblPos val="nextTo"/>
        <c:crossAx val="474724255"/>
        <c:crosses val="min"/>
        <c:crossBetween val="between"/>
      </c:valAx>
    </c:plotArea>
    <c:plotVisOnly val="0"/>
    <c:dispBlanksAs val="gap"/>
    <c:showDLblsOverMax val="1"/>
  </c:chart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>
        <c:manualLayout>
          <c:layoutTarget val="inner"/>
          <c:xMode val="edge"/>
          <c:yMode val="edge"/>
          <c:x val="2.0360219263899765E-2"/>
          <c:y val="2.1061158363710003E-2"/>
          <c:w val="0.9592795614722005"/>
          <c:h val="0.95787768327257994"/>
        </c:manualLayout>
      </c:layout>
      <c:lineChart>
        <c:grouping val="standard"/>
        <c:varyColors val="0"/>
        <c:ser>
          <c:idx val="0"/>
          <c:order val="0"/>
          <c:spPr>
            <a:ln w="6350" algn="ctr">
              <a:solidFill>
                <a:srgbClr val="DFE5EF"/>
              </a:solidFill>
              <a:prstDash val="solid"/>
            </a:ln>
          </c:spPr>
          <c:marker>
            <c:symbol val="none"/>
          </c:marker>
          <c:val>
            <c:numRef>
              <c:f>Sheet1!$A$1:$L$1</c:f>
              <c:numCache>
                <c:formatCode>General</c:formatCode>
                <c:ptCount val="12"/>
                <c:pt idx="0">
                  <c:v>5425.4439759901979</c:v>
                </c:pt>
                <c:pt idx="1">
                  <c:v>4562.1439759901987</c:v>
                </c:pt>
                <c:pt idx="2">
                  <c:v>4597.4439759901979</c:v>
                </c:pt>
                <c:pt idx="3">
                  <c:v>4659.7439759901972</c:v>
                </c:pt>
                <c:pt idx="4">
                  <c:v>5204.5439759901983</c:v>
                </c:pt>
                <c:pt idx="5">
                  <c:v>4401.5439759901983</c:v>
                </c:pt>
                <c:pt idx="6">
                  <c:v>3167.0439759901983</c:v>
                </c:pt>
                <c:pt idx="7">
                  <c:v>3011.9439759901979</c:v>
                </c:pt>
                <c:pt idx="8">
                  <c:v>3981.9439759901979</c:v>
                </c:pt>
                <c:pt idx="9">
                  <c:v>5532.9439759901979</c:v>
                </c:pt>
                <c:pt idx="10">
                  <c:v>5790.5439759901983</c:v>
                </c:pt>
                <c:pt idx="11">
                  <c:v>6659.6439759901987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0-9D37-4F81-9690-DFCEF962FFBF}"/>
            </c:ext>
          </c:extLst>
        </c:ser>
        <c:ser>
          <c:idx val="1"/>
          <c:order val="1"/>
          <c:spPr>
            <a:ln w="6350" algn="ctr">
              <a:solidFill>
                <a:srgbClr val="DFE5EF"/>
              </a:solidFill>
              <a:prstDash val="solid"/>
            </a:ln>
          </c:spPr>
          <c:marker>
            <c:symbol val="none"/>
          </c:marker>
          <c:val>
            <c:numRef>
              <c:f>Sheet1!$A$2:$L$2</c:f>
              <c:numCache>
                <c:formatCode>General</c:formatCode>
                <c:ptCount val="12"/>
                <c:pt idx="0">
                  <c:v>8331.9439759901979</c:v>
                </c:pt>
                <c:pt idx="1">
                  <c:v>5211.9439759901979</c:v>
                </c:pt>
                <c:pt idx="2">
                  <c:v>7626.7439759901972</c:v>
                </c:pt>
                <c:pt idx="3">
                  <c:v>6361.8439759901994</c:v>
                </c:pt>
                <c:pt idx="4">
                  <c:v>7062.9439759901979</c:v>
                </c:pt>
                <c:pt idx="5">
                  <c:v>5794.7439759901972</c:v>
                </c:pt>
                <c:pt idx="6">
                  <c:v>4767.3439759901976</c:v>
                </c:pt>
                <c:pt idx="7">
                  <c:v>6299.2439759901972</c:v>
                </c:pt>
                <c:pt idx="8">
                  <c:v>6130.4439759901979</c:v>
                </c:pt>
                <c:pt idx="9">
                  <c:v>6273.5439759901965</c:v>
                </c:pt>
                <c:pt idx="10">
                  <c:v>6939.1439759901987</c:v>
                </c:pt>
                <c:pt idx="11">
                  <c:v>7150.3439759901994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1-9D37-4F81-9690-DFCEF962FFBF}"/>
            </c:ext>
          </c:extLst>
        </c:ser>
        <c:ser>
          <c:idx val="2"/>
          <c:order val="2"/>
          <c:spPr>
            <a:ln w="9525" algn="ctr">
              <a:solidFill>
                <a:srgbClr val="969696"/>
              </a:solidFill>
              <a:prstDash val="lgDash"/>
            </a:ln>
          </c:spPr>
          <c:marker>
            <c:symbol val="none"/>
          </c:marker>
          <c:val>
            <c:numRef>
              <c:f>Sheet1!$A$3:$L$3</c:f>
              <c:numCache>
                <c:formatCode>General</c:formatCode>
                <c:ptCount val="12"/>
                <c:pt idx="0">
                  <c:v>6945.8106459901974</c:v>
                </c:pt>
                <c:pt idx="1">
                  <c:v>4806.9439759901979</c:v>
                </c:pt>
                <c:pt idx="2">
                  <c:v>6167.0773059901985</c:v>
                </c:pt>
                <c:pt idx="3">
                  <c:v>5706.4773059901981</c:v>
                </c:pt>
                <c:pt idx="4">
                  <c:v>6032.0773059901985</c:v>
                </c:pt>
                <c:pt idx="5">
                  <c:v>5225.1106459901985</c:v>
                </c:pt>
                <c:pt idx="6">
                  <c:v>4151.4939759901972</c:v>
                </c:pt>
                <c:pt idx="7">
                  <c:v>4865.6939759901979</c:v>
                </c:pt>
                <c:pt idx="8">
                  <c:v>5002.9689759901976</c:v>
                </c:pt>
                <c:pt idx="9">
                  <c:v>5866.5189759901987</c:v>
                </c:pt>
                <c:pt idx="10">
                  <c:v>6468.6689759901965</c:v>
                </c:pt>
                <c:pt idx="11">
                  <c:v>6963.4689759901994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2-9D37-4F81-9690-DFCEF962FFBF}"/>
            </c:ext>
          </c:extLst>
        </c:ser>
        <c:ser>
          <c:idx val="3"/>
          <c:order val="3"/>
          <c:spPr>
            <a:ln w="28575" algn="ctr">
              <a:solidFill>
                <a:schemeClr val="accent6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triangle"/>
              <c:size val="6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3-9D37-4F81-9690-DFCEF962FFBF}"/>
              </c:ext>
            </c:extLst>
          </c:dPt>
          <c:dPt>
            <c:idx val="1"/>
            <c:marker>
              <c:symbol val="triangle"/>
              <c:size val="6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4-9D37-4F81-9690-DFCEF962FFBF}"/>
              </c:ext>
            </c:extLst>
          </c:dPt>
          <c:dPt>
            <c:idx val="2"/>
            <c:marker>
              <c:symbol val="triangle"/>
              <c:size val="6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5-9D37-4F81-9690-DFCEF962FFBF}"/>
              </c:ext>
            </c:extLst>
          </c:dPt>
          <c:dPt>
            <c:idx val="3"/>
            <c:marker>
              <c:symbol val="triangle"/>
              <c:size val="6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6-9D37-4F81-9690-DFCEF962FFBF}"/>
              </c:ext>
            </c:extLst>
          </c:dPt>
          <c:dPt>
            <c:idx val="4"/>
            <c:marker>
              <c:symbol val="triangle"/>
              <c:size val="6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7-9D37-4F81-9690-DFCEF962FFBF}"/>
              </c:ext>
            </c:extLst>
          </c:dPt>
          <c:dPt>
            <c:idx val="5"/>
            <c:marker>
              <c:symbol val="triangle"/>
              <c:size val="6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8-9D37-4F81-9690-DFCEF962FFBF}"/>
              </c:ext>
            </c:extLst>
          </c:dPt>
          <c:dPt>
            <c:idx val="6"/>
            <c:marker>
              <c:symbol val="triangle"/>
              <c:size val="6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9-9D37-4F81-9690-DFCEF962FFBF}"/>
              </c:ext>
            </c:extLst>
          </c:dPt>
          <c:dPt>
            <c:idx val="7"/>
            <c:marker>
              <c:symbol val="triangle"/>
              <c:size val="6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A-9D37-4F81-9690-DFCEF962FFBF}"/>
              </c:ext>
            </c:extLst>
          </c:dPt>
          <c:dPt>
            <c:idx val="8"/>
            <c:marker>
              <c:symbol val="triangle"/>
              <c:size val="6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B-9D37-4F81-9690-DFCEF962FFBF}"/>
              </c:ext>
            </c:extLst>
          </c:dPt>
          <c:dPt>
            <c:idx val="9"/>
            <c:marker>
              <c:symbol val="triangle"/>
              <c:size val="6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C-9D37-4F81-9690-DFCEF962FFBF}"/>
              </c:ext>
            </c:extLst>
          </c:dPt>
          <c:dPt>
            <c:idx val="10"/>
            <c:marker>
              <c:symbol val="triangle"/>
              <c:size val="6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D-9D37-4F81-9690-DFCEF962FFBF}"/>
              </c:ext>
            </c:extLst>
          </c:dPt>
          <c:dPt>
            <c:idx val="11"/>
            <c:marker>
              <c:symbol val="triangle"/>
              <c:size val="6"/>
              <c:spPr>
                <a:solidFill>
                  <a:schemeClr val="accent6"/>
                </a:solidFill>
                <a:ln w="9525" algn="ctr">
                  <a:solidFill>
                    <a:schemeClr val="accent6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0E-9D37-4F81-9690-DFCEF962FFBF}"/>
              </c:ext>
            </c:extLst>
          </c:dPt>
          <c:val>
            <c:numRef>
              <c:f>Sheet1!$A$4:$L$4</c:f>
              <c:numCache>
                <c:formatCode>General</c:formatCode>
                <c:ptCount val="12"/>
                <c:pt idx="0">
                  <c:v>1039.5439759901983</c:v>
                </c:pt>
                <c:pt idx="1">
                  <c:v>1734.5439759901983</c:v>
                </c:pt>
                <c:pt idx="2">
                  <c:v>2951.3439759901976</c:v>
                </c:pt>
                <c:pt idx="3">
                  <c:v>2562.5439759901983</c:v>
                </c:pt>
                <c:pt idx="4">
                  <c:v>2768.3439759901976</c:v>
                </c:pt>
                <c:pt idx="5">
                  <c:v>3205.0439759901983</c:v>
                </c:pt>
                <c:pt idx="6">
                  <c:v>1376.9439759901979</c:v>
                </c:pt>
                <c:pt idx="7">
                  <c:v>4296.5439759901983</c:v>
                </c:pt>
                <c:pt idx="8">
                  <c:v>3658.9439759901979</c:v>
                </c:pt>
                <c:pt idx="9">
                  <c:v>4593.5439759901983</c:v>
                </c:pt>
                <c:pt idx="10">
                  <c:v>4282.5439759901983</c:v>
                </c:pt>
                <c:pt idx="11">
                  <c:v>5059.1439759901987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0F-9D37-4F81-9690-DFCEF962FFBF}"/>
            </c:ext>
          </c:extLst>
        </c:ser>
        <c:ser>
          <c:idx val="4"/>
          <c:order val="4"/>
          <c:spPr>
            <a:ln w="28575" algn="ctr">
              <a:solidFill>
                <a:srgbClr val="00A2DF"/>
              </a:solidFill>
              <a:prstDash val="solid"/>
            </a:ln>
          </c:spPr>
          <c:marker>
            <c:symbol val="none"/>
          </c:marker>
          <c:dPt>
            <c:idx val="0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00A2D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0-9D37-4F81-9690-DFCEF962FFBF}"/>
              </c:ext>
            </c:extLst>
          </c:dPt>
          <c:dPt>
            <c:idx val="1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00A2D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1-9D37-4F81-9690-DFCEF962FFBF}"/>
              </c:ext>
            </c:extLst>
          </c:dPt>
          <c:dPt>
            <c:idx val="2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00A2D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2-9D37-4F81-9690-DFCEF962FFBF}"/>
              </c:ext>
            </c:extLst>
          </c:dPt>
          <c:dPt>
            <c:idx val="3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00A2D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3-9D37-4F81-9690-DFCEF962FFBF}"/>
              </c:ext>
            </c:extLst>
          </c:dPt>
          <c:dPt>
            <c:idx val="4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00A2D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4-9D37-4F81-9690-DFCEF962FFBF}"/>
              </c:ext>
            </c:extLst>
          </c:dPt>
          <c:dPt>
            <c:idx val="5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00A2D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5-9D37-4F81-9690-DFCEF962FFBF}"/>
              </c:ext>
            </c:extLst>
          </c:dPt>
          <c:dPt>
            <c:idx val="6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00A2D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6-9D37-4F81-9690-DFCEF962FFBF}"/>
              </c:ext>
            </c:extLst>
          </c:dPt>
          <c:dPt>
            <c:idx val="7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00A2D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7-9D37-4F81-9690-DFCEF962FFBF}"/>
              </c:ext>
            </c:extLst>
          </c:dPt>
          <c:dPt>
            <c:idx val="8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00A2D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8-9D37-4F81-9690-DFCEF962FFBF}"/>
              </c:ext>
            </c:extLst>
          </c:dPt>
          <c:dPt>
            <c:idx val="9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00A2D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9-9D37-4F81-9690-DFCEF962FFBF}"/>
              </c:ext>
            </c:extLst>
          </c:dPt>
          <c:dPt>
            <c:idx val="10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00A2D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A-9D37-4F81-9690-DFCEF962FFBF}"/>
              </c:ext>
            </c:extLst>
          </c:dPt>
          <c:dPt>
            <c:idx val="11"/>
            <c:marker>
              <c:symbol val="circle"/>
              <c:size val="7"/>
              <c:spPr>
                <a:solidFill>
                  <a:srgbClr val="FFFFFF"/>
                </a:solidFill>
                <a:ln w="9525" algn="ctr">
                  <a:solidFill>
                    <a:srgbClr val="00A2DF"/>
                  </a:solidFill>
                  <a:prstDash val="solid"/>
                </a:ln>
              </c:spPr>
            </c:marker>
            <c:bubble3D val="0"/>
            <c:extLst>
              <c:ext xmlns:c16="http://schemas.microsoft.com/office/drawing/2014/chart" uri="{C3380CC4-5D6E-409C-BE32-E72D297353CC}">
                <c16:uniqueId val="{0000001B-9D37-4F81-9690-DFCEF962FFBF}"/>
              </c:ext>
            </c:extLst>
          </c:dPt>
          <c:val>
            <c:numRef>
              <c:f>Sheet1!$A$5:$L$5</c:f>
              <c:numCache>
                <c:formatCode>General</c:formatCode>
                <c:ptCount val="12"/>
                <c:pt idx="0">
                  <c:v>3672.5439759901983</c:v>
                </c:pt>
                <c:pt idx="1">
                  <c:v>1547.9439759901979</c:v>
                </c:pt>
                <c:pt idx="2">
                  <c:v>3408.3439759901976</c:v>
                </c:pt>
                <c:pt idx="3">
                  <c:v>2970.5439759901983</c:v>
                </c:pt>
                <c:pt idx="4">
                  <c:v>3681.8439759901976</c:v>
                </c:pt>
                <c:pt idx="5">
                  <c:v>2929.0039759901974</c:v>
                </c:pt>
                <c:pt idx="6">
                  <c:v>1740.8439759901976</c:v>
                </c:pt>
                <c:pt idx="7">
                  <c:v>2524.4439759901979</c:v>
                </c:pt>
                <c:pt idx="8">
                  <c:v>2021.9439759901979</c:v>
                </c:pt>
                <c:pt idx="9">
                  <c:v>381.94397599019794</c:v>
                </c:pt>
                <c:pt idx="10">
                  <c:v>289.24397599019721</c:v>
                </c:pt>
                <c:pt idx="11">
                  <c:v>1323.9439759901979</c:v>
                </c:pt>
              </c:numCache>
            </c:numRef>
          </c:val>
          <c:smooth val="1"/>
          <c:extLst>
            <c:ext xmlns:c16="http://schemas.microsoft.com/office/drawing/2014/chart" uri="{C3380CC4-5D6E-409C-BE32-E72D297353CC}">
              <c16:uniqueId val="{0000001C-9D37-4F81-9690-DFCEF962FFB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smooth val="0"/>
        <c:axId val="464730143"/>
        <c:axId val="1"/>
      </c:lineChart>
      <c:catAx>
        <c:axId val="464730143"/>
        <c:scaling>
          <c:orientation val="minMax"/>
        </c:scaling>
        <c:delete val="0"/>
        <c:axPos val="b"/>
        <c:majorGridlines>
          <c:spPr>
            <a:ln>
              <a:noFill/>
            </a:ln>
          </c:spPr>
        </c:majorGridlines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1"/>
        <c:crosses val="min"/>
        <c:auto val="0"/>
        <c:lblAlgn val="ctr"/>
        <c:lblOffset val="100"/>
        <c:noMultiLvlLbl val="0"/>
      </c:catAx>
      <c:valAx>
        <c:axId val="1"/>
        <c:scaling>
          <c:orientation val="minMax"/>
          <c:max val="8341.9439759901979"/>
          <c:min val="0"/>
        </c:scaling>
        <c:delete val="0"/>
        <c:axPos val="l"/>
        <c:majorGridlines>
          <c:spPr>
            <a:ln>
              <a:noFill/>
            </a:ln>
          </c:spPr>
        </c:majorGridlines>
        <c:numFmt formatCode="General" sourceLinked="1"/>
        <c:majorTickMark val="none"/>
        <c:minorTickMark val="none"/>
        <c:tickLblPos val="none"/>
        <c:spPr>
          <a:ln w="9525" algn="ctr">
            <a:solidFill>
              <a:schemeClr val="tx1"/>
            </a:solidFill>
            <a:prstDash val="solid"/>
          </a:ln>
        </c:spPr>
        <c:crossAx val="464730143"/>
        <c:crosses val="min"/>
        <c:crossBetween val="midCat"/>
        <c:majorUnit val="500"/>
      </c:valAx>
    </c:plotArea>
    <c:plotVisOnly val="0"/>
    <c:dispBlanksAs val="gap"/>
    <c:showDLblsOverMax val="1"/>
  </c:chart>
  <c:externalData r:id="rId1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верхнього колонтитула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4033838" cy="3524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uk-UA" dirty="0"/>
          </a:p>
        </p:txBody>
      </p:sp>
      <p:sp>
        <p:nvSpPr>
          <p:cNvPr id="3" name="Місце для дати 2"/>
          <p:cNvSpPr>
            <a:spLocks noGrp="1"/>
          </p:cNvSpPr>
          <p:nvPr>
            <p:ph type="dt" sz="quarter" idx="1"/>
          </p:nvPr>
        </p:nvSpPr>
        <p:spPr>
          <a:xfrm>
            <a:off x="5273675" y="0"/>
            <a:ext cx="4033838" cy="35242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31AF2D2-1C53-4F41-8FE0-B541770A2E8E}" type="datetimeFigureOut">
              <a:rPr lang="uk-UA" smtClean="0"/>
              <a:t>+26</a:t>
            </a:fld>
            <a:endParaRPr lang="uk-UA" dirty="0"/>
          </a:p>
        </p:txBody>
      </p:sp>
      <p:sp>
        <p:nvSpPr>
          <p:cNvPr id="4" name="Місце для нижнього колонтитула 3"/>
          <p:cNvSpPr>
            <a:spLocks noGrp="1"/>
          </p:cNvSpPr>
          <p:nvPr>
            <p:ph type="ftr" sz="quarter" idx="2"/>
          </p:nvPr>
        </p:nvSpPr>
        <p:spPr>
          <a:xfrm>
            <a:off x="0" y="6670675"/>
            <a:ext cx="4033838" cy="3524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uk-UA" dirty="0"/>
          </a:p>
        </p:txBody>
      </p:sp>
      <p:sp>
        <p:nvSpPr>
          <p:cNvPr id="5" name="Місце для номера слайда 4"/>
          <p:cNvSpPr>
            <a:spLocks noGrp="1"/>
          </p:cNvSpPr>
          <p:nvPr>
            <p:ph type="sldNum" sz="quarter" idx="3"/>
          </p:nvPr>
        </p:nvSpPr>
        <p:spPr>
          <a:xfrm>
            <a:off x="5273675" y="6670675"/>
            <a:ext cx="4033838" cy="3524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0662B2B-7FF2-4D91-98AE-D4E550DF453A}" type="slidenum">
              <a:rPr lang="uk-UA" smtClean="0"/>
              <a:t>‹#›</a:t>
            </a:fld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3627368567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480526236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804649" rtl="0" eaLnBrk="1" latinLnBrk="0" hangingPunct="1">
      <a:defRPr sz="1056" kern="1200">
        <a:solidFill>
          <a:schemeClr val="tx1"/>
        </a:solidFill>
        <a:latin typeface="+mn-lt"/>
        <a:ea typeface="+mn-ea"/>
        <a:cs typeface="+mn-cs"/>
      </a:defRPr>
    </a:lvl1pPr>
    <a:lvl2pPr marL="402325" algn="l" defTabSz="804649" rtl="0" eaLnBrk="1" latinLnBrk="0" hangingPunct="1">
      <a:defRPr sz="1056" kern="1200">
        <a:solidFill>
          <a:schemeClr val="tx1"/>
        </a:solidFill>
        <a:latin typeface="+mn-lt"/>
        <a:ea typeface="+mn-ea"/>
        <a:cs typeface="+mn-cs"/>
      </a:defRPr>
    </a:lvl2pPr>
    <a:lvl3pPr marL="804649" algn="l" defTabSz="804649" rtl="0" eaLnBrk="1" latinLnBrk="0" hangingPunct="1">
      <a:defRPr sz="1056" kern="1200">
        <a:solidFill>
          <a:schemeClr val="tx1"/>
        </a:solidFill>
        <a:latin typeface="+mn-lt"/>
        <a:ea typeface="+mn-ea"/>
        <a:cs typeface="+mn-cs"/>
      </a:defRPr>
    </a:lvl3pPr>
    <a:lvl4pPr marL="1206974" algn="l" defTabSz="804649" rtl="0" eaLnBrk="1" latinLnBrk="0" hangingPunct="1">
      <a:defRPr sz="1056" kern="1200">
        <a:solidFill>
          <a:schemeClr val="tx1"/>
        </a:solidFill>
        <a:latin typeface="+mn-lt"/>
        <a:ea typeface="+mn-ea"/>
        <a:cs typeface="+mn-cs"/>
      </a:defRPr>
    </a:lvl4pPr>
    <a:lvl5pPr marL="1609298" algn="l" defTabSz="804649" rtl="0" eaLnBrk="1" latinLnBrk="0" hangingPunct="1">
      <a:defRPr sz="1056" kern="1200">
        <a:solidFill>
          <a:schemeClr val="tx1"/>
        </a:solidFill>
        <a:latin typeface="+mn-lt"/>
        <a:ea typeface="+mn-ea"/>
        <a:cs typeface="+mn-cs"/>
      </a:defRPr>
    </a:lvl5pPr>
    <a:lvl6pPr marL="2011623" algn="l" defTabSz="804649" rtl="0" eaLnBrk="1" latinLnBrk="0" hangingPunct="1">
      <a:defRPr sz="1056" kern="1200">
        <a:solidFill>
          <a:schemeClr val="tx1"/>
        </a:solidFill>
        <a:latin typeface="+mn-lt"/>
        <a:ea typeface="+mn-ea"/>
        <a:cs typeface="+mn-cs"/>
      </a:defRPr>
    </a:lvl6pPr>
    <a:lvl7pPr marL="2413947" algn="l" defTabSz="804649" rtl="0" eaLnBrk="1" latinLnBrk="0" hangingPunct="1">
      <a:defRPr sz="1056" kern="1200">
        <a:solidFill>
          <a:schemeClr val="tx1"/>
        </a:solidFill>
        <a:latin typeface="+mn-lt"/>
        <a:ea typeface="+mn-ea"/>
        <a:cs typeface="+mn-cs"/>
      </a:defRPr>
    </a:lvl7pPr>
    <a:lvl8pPr marL="2816272" algn="l" defTabSz="804649" rtl="0" eaLnBrk="1" latinLnBrk="0" hangingPunct="1">
      <a:defRPr sz="1056" kern="1200">
        <a:solidFill>
          <a:schemeClr val="tx1"/>
        </a:solidFill>
        <a:latin typeface="+mn-lt"/>
        <a:ea typeface="+mn-ea"/>
        <a:cs typeface="+mn-cs"/>
      </a:defRPr>
    </a:lvl8pPr>
    <a:lvl9pPr marL="3218597" algn="l" defTabSz="804649" rtl="0" eaLnBrk="1" latinLnBrk="0" hangingPunct="1">
      <a:defRPr sz="105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547938" y="877888"/>
            <a:ext cx="4213225" cy="23701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930275" y="3379788"/>
            <a:ext cx="7448550" cy="2765425"/>
          </a:xfrm>
          <a:prstGeom prst="rect">
            <a:avLst/>
          </a:prstGeom>
        </p:spPr>
        <p:txBody>
          <a:bodyPr/>
          <a:lstStyle/>
          <a:p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316789135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547938" y="877888"/>
            <a:ext cx="4213225" cy="23701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930275" y="3379788"/>
            <a:ext cx="7448550" cy="2765425"/>
          </a:xfrm>
          <a:prstGeom prst="rect">
            <a:avLst/>
          </a:prstGeom>
        </p:spPr>
        <p:txBody>
          <a:bodyPr/>
          <a:lstStyle/>
          <a:p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314699702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547938" y="877888"/>
            <a:ext cx="4213225" cy="23701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930275" y="3379788"/>
            <a:ext cx="7448550" cy="2765425"/>
          </a:xfrm>
          <a:prstGeom prst="rect">
            <a:avLst/>
          </a:prstGeom>
        </p:spPr>
        <p:txBody>
          <a:bodyPr/>
          <a:lstStyle/>
          <a:p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2523876567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547938" y="877888"/>
            <a:ext cx="4213225" cy="23701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930275" y="3379788"/>
            <a:ext cx="7448550" cy="2765425"/>
          </a:xfrm>
          <a:prstGeom prst="rect">
            <a:avLst/>
          </a:prstGeom>
        </p:spPr>
        <p:txBody>
          <a:bodyPr/>
          <a:lstStyle/>
          <a:p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79232065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547938" y="877888"/>
            <a:ext cx="4213225" cy="23701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930275" y="3379788"/>
            <a:ext cx="7448550" cy="2765425"/>
          </a:xfrm>
          <a:prstGeom prst="rect">
            <a:avLst/>
          </a:prstGeom>
        </p:spPr>
        <p:txBody>
          <a:bodyPr/>
          <a:lstStyle/>
          <a:p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52196812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2547938" y="877888"/>
            <a:ext cx="4213225" cy="237013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>
          <a:xfrm>
            <a:off x="930275" y="3379788"/>
            <a:ext cx="7448550" cy="2765425"/>
          </a:xfrm>
          <a:prstGeom prst="rect">
            <a:avLst/>
          </a:prstGeom>
        </p:spPr>
        <p:txBody>
          <a:bodyPr/>
          <a:lstStyle/>
          <a:p>
            <a:endParaRPr lang="x-none"/>
          </a:p>
        </p:txBody>
      </p:sp>
    </p:spTree>
    <p:extLst>
      <p:ext uri="{BB962C8B-B14F-4D97-AF65-F5344CB8AC3E}">
        <p14:creationId xmlns:p14="http://schemas.microsoft.com/office/powerpoint/2010/main" val="15882211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sv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_Title_Slide_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>
          <a:xfrm>
            <a:off x="11277603" y="6463728"/>
            <a:ext cx="788662" cy="241872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 b="0" i="0">
                <a:solidFill>
                  <a:srgbClr val="8A8A8A"/>
                </a:solidFill>
                <a:latin typeface="Calibri"/>
                <a:cs typeface="Calibri"/>
              </a:defRPr>
            </a:lvl1pPr>
          </a:lstStyle>
          <a:p>
            <a:pPr marL="19050"/>
            <a:fld id="{81D60167-4931-47E6-BA6A-407CBD079E47}" type="slidenum">
              <a:rPr lang="uk-UA" spc="-8" smtClean="0"/>
              <a:pPr marL="19050"/>
              <a:t>‹#›</a:t>
            </a:fld>
            <a:endParaRPr lang="uk-UA" spc="-8" dirty="0"/>
          </a:p>
        </p:txBody>
      </p:sp>
      <p:cxnSp>
        <p:nvCxnSpPr>
          <p:cNvPr id="11" name="Прямая соединительная линия 10"/>
          <p:cNvCxnSpPr/>
          <p:nvPr userDrawn="1"/>
        </p:nvCxnSpPr>
        <p:spPr>
          <a:xfrm>
            <a:off x="6502400" y="889000"/>
            <a:ext cx="0" cy="4978400"/>
          </a:xfrm>
          <a:prstGeom prst="line">
            <a:avLst/>
          </a:prstGeom>
          <a:ln w="22225">
            <a:solidFill>
              <a:srgbClr val="00A0E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515380" y="1905001"/>
            <a:ext cx="5580619" cy="19304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l">
              <a:defRPr sz="6000" b="1" cap="all" baseline="0">
                <a:solidFill>
                  <a:schemeClr val="bg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uk-UA" dirty="0"/>
              <a:t>заголовок презентації</a:t>
            </a:r>
            <a:endParaRPr lang="en-US" dirty="0"/>
          </a:p>
        </p:txBody>
      </p:sp>
      <p:sp>
        <p:nvSpPr>
          <p:cNvPr id="1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15380" y="4044637"/>
            <a:ext cx="5580620" cy="9144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l">
              <a:buNone/>
              <a:defRPr sz="3200">
                <a:solidFill>
                  <a:schemeClr val="tx1"/>
                </a:solidFill>
              </a:defRPr>
            </a:lvl1pPr>
            <a:lvl2pPr marL="342900" indent="0" algn="ctr">
              <a:buNone/>
              <a:defRPr sz="2100"/>
            </a:lvl2pPr>
            <a:lvl3pPr marL="685800" indent="0" algn="ctr">
              <a:buNone/>
              <a:defRPr sz="1800"/>
            </a:lvl3pPr>
            <a:lvl4pPr marL="1028700" indent="0" algn="ctr">
              <a:buNone/>
              <a:defRPr sz="1500"/>
            </a:lvl4pPr>
            <a:lvl5pPr marL="1371600" indent="0" algn="ctr">
              <a:buNone/>
              <a:defRPr sz="1500"/>
            </a:lvl5pPr>
            <a:lvl6pPr marL="1714500" indent="0" algn="ctr">
              <a:buNone/>
              <a:defRPr sz="1500"/>
            </a:lvl6pPr>
            <a:lvl7pPr marL="2057400" indent="0" algn="ctr">
              <a:buNone/>
              <a:defRPr sz="1500"/>
            </a:lvl7pPr>
            <a:lvl8pPr marL="2400300" indent="0" algn="ctr">
              <a:buNone/>
              <a:defRPr sz="1500"/>
            </a:lvl8pPr>
            <a:lvl9pPr marL="2743200" indent="0" algn="ctr">
              <a:buNone/>
              <a:defRPr sz="1500"/>
            </a:lvl9pPr>
          </a:lstStyle>
          <a:p>
            <a:r>
              <a:rPr lang="uk-UA" dirty="0"/>
              <a:t>Підзаголовок </a:t>
            </a:r>
          </a:p>
          <a:p>
            <a:r>
              <a:rPr lang="uk-UA" dirty="0"/>
              <a:t>презентації</a:t>
            </a:r>
            <a:endParaRPr lang="en-US" dirty="0"/>
          </a:p>
        </p:txBody>
      </p:sp>
      <p:pic>
        <p:nvPicPr>
          <p:cNvPr id="5" name="Графіка 4">
            <a:extLst>
              <a:ext uri="{FF2B5EF4-FFF2-40B4-BE49-F238E27FC236}">
                <a16:creationId xmlns:a16="http://schemas.microsoft.com/office/drawing/2014/main" id="{8171AE45-A579-487B-831D-5B0BB95867A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9516380" y="484336"/>
            <a:ext cx="2154479" cy="379310"/>
          </a:xfrm>
          <a:prstGeom prst="rect">
            <a:avLst/>
          </a:prstGeom>
        </p:spPr>
      </p:pic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3D0D0055-AF48-4DD6-ADBD-C54D0B4E9ABB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72164" y="-7002"/>
            <a:ext cx="4619831" cy="302285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06625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0_Title_Slide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1"/>
          <p:cNvSpPr>
            <a:spLocks noGrp="1"/>
          </p:cNvSpPr>
          <p:nvPr>
            <p:ph type="ctrTitle" hasCustomPrompt="1"/>
          </p:nvPr>
        </p:nvSpPr>
        <p:spPr>
          <a:xfrm>
            <a:off x="406400" y="1905001"/>
            <a:ext cx="5689600" cy="19304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r">
              <a:defRPr sz="6000" b="0" cap="all" baseline="0">
                <a:solidFill>
                  <a:schemeClr val="accent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uk-UA" dirty="0"/>
              <a:t>заголовок презентації</a:t>
            </a:r>
            <a:endParaRPr lang="en-US" dirty="0"/>
          </a:p>
        </p:txBody>
      </p:sp>
      <p:sp>
        <p:nvSpPr>
          <p:cNvPr id="9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06400" y="4044637"/>
            <a:ext cx="5689600" cy="91440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r">
              <a:buNone/>
              <a:defRPr sz="3200">
                <a:solidFill>
                  <a:schemeClr val="accent1"/>
                </a:solidFill>
              </a:defRPr>
            </a:lvl1pPr>
            <a:lvl2pPr marL="342900" indent="0" algn="ctr">
              <a:buNone/>
              <a:defRPr sz="2100"/>
            </a:lvl2pPr>
            <a:lvl3pPr marL="685800" indent="0" algn="ctr">
              <a:buNone/>
              <a:defRPr sz="1800"/>
            </a:lvl3pPr>
            <a:lvl4pPr marL="1028700" indent="0" algn="ctr">
              <a:buNone/>
              <a:defRPr sz="1500"/>
            </a:lvl4pPr>
            <a:lvl5pPr marL="1371600" indent="0" algn="ctr">
              <a:buNone/>
              <a:defRPr sz="1500"/>
            </a:lvl5pPr>
            <a:lvl6pPr marL="1714500" indent="0" algn="ctr">
              <a:buNone/>
              <a:defRPr sz="1500"/>
            </a:lvl6pPr>
            <a:lvl7pPr marL="2057400" indent="0" algn="ctr">
              <a:buNone/>
              <a:defRPr sz="1500"/>
            </a:lvl7pPr>
            <a:lvl8pPr marL="2400300" indent="0" algn="ctr">
              <a:buNone/>
              <a:defRPr sz="1500"/>
            </a:lvl8pPr>
            <a:lvl9pPr marL="2743200" indent="0" algn="ctr">
              <a:buNone/>
              <a:defRPr sz="1500"/>
            </a:lvl9pPr>
          </a:lstStyle>
          <a:p>
            <a:r>
              <a:rPr lang="uk-UA" dirty="0"/>
              <a:t>Підзаголовок </a:t>
            </a:r>
          </a:p>
          <a:p>
            <a:r>
              <a:rPr lang="uk-UA" dirty="0"/>
              <a:t>презентації</a:t>
            </a:r>
            <a:endParaRPr lang="en-US" dirty="0"/>
          </a:p>
        </p:txBody>
      </p:sp>
      <p:cxnSp>
        <p:nvCxnSpPr>
          <p:cNvPr id="14" name="Прямая соединительная линия 13"/>
          <p:cNvCxnSpPr/>
          <p:nvPr userDrawn="1"/>
        </p:nvCxnSpPr>
        <p:spPr>
          <a:xfrm>
            <a:off x="6502400" y="889000"/>
            <a:ext cx="0" cy="4978400"/>
          </a:xfrm>
          <a:prstGeom prst="line">
            <a:avLst/>
          </a:prstGeom>
          <a:ln w="222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Місце для тексту 3"/>
          <p:cNvSpPr>
            <a:spLocks noGrp="1"/>
          </p:cNvSpPr>
          <p:nvPr>
            <p:ph type="body" sz="quarter" idx="11" hasCustomPrompt="1"/>
          </p:nvPr>
        </p:nvSpPr>
        <p:spPr>
          <a:xfrm>
            <a:off x="4331805" y="5313418"/>
            <a:ext cx="1764195" cy="677108"/>
          </a:xfrm>
        </p:spPr>
        <p:txBody>
          <a:bodyPr anchor="ctr"/>
          <a:lstStyle>
            <a:lvl1pPr algn="r">
              <a:defRPr lang="uk-UA" sz="4400" b="1" kern="1200" smtClean="0">
                <a:solidFill>
                  <a:schemeClr val="accent1"/>
                </a:solidFill>
              </a:defRPr>
            </a:lvl1pPr>
            <a:lvl2pPr>
              <a:defRPr lang="uk-UA" sz="1584" kern="1200" smtClean="0">
                <a:solidFill>
                  <a:schemeClr val="tx1"/>
                </a:solidFill>
              </a:defRPr>
            </a:lvl2pPr>
            <a:lvl3pPr>
              <a:defRPr lang="uk-UA" sz="1584" kern="1200" smtClean="0">
                <a:solidFill>
                  <a:schemeClr val="tx1"/>
                </a:solidFill>
              </a:defRPr>
            </a:lvl3pPr>
            <a:lvl4pPr>
              <a:defRPr lang="uk-UA" sz="1584" kern="1200" smtClean="0">
                <a:solidFill>
                  <a:schemeClr val="tx1"/>
                </a:solidFill>
              </a:defRPr>
            </a:lvl4pPr>
            <a:lvl5pPr>
              <a:defRPr lang="uk-UA" sz="1584" kern="1200">
                <a:solidFill>
                  <a:schemeClr val="tx1"/>
                </a:solidFill>
              </a:defRPr>
            </a:lvl5pPr>
          </a:lstStyle>
          <a:p>
            <a:pPr lvl="0" algn="r" defTabSz="804649" rtl="0" eaLnBrk="1" latinLnBrk="0" hangingPunct="1"/>
            <a:r>
              <a:rPr lang="ru-RU" dirty="0"/>
              <a:t>Дата</a:t>
            </a:r>
            <a:endParaRPr lang="uk-UA" dirty="0"/>
          </a:p>
        </p:txBody>
      </p:sp>
      <p:sp>
        <p:nvSpPr>
          <p:cNvPr id="12" name="Прямокутник 11">
            <a:extLst>
              <a:ext uri="{FF2B5EF4-FFF2-40B4-BE49-F238E27FC236}">
                <a16:creationId xmlns:a16="http://schemas.microsoft.com/office/drawing/2014/main" id="{B5392B65-C2C6-48EB-8E3C-C663147A8350}"/>
              </a:ext>
            </a:extLst>
          </p:cNvPr>
          <p:cNvSpPr/>
          <p:nvPr userDrawn="1"/>
        </p:nvSpPr>
        <p:spPr>
          <a:xfrm>
            <a:off x="9804412" y="152401"/>
            <a:ext cx="2387588" cy="6993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EDCBED07-8D66-4E90-9ECE-88EA537D538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88188" y="1905001"/>
            <a:ext cx="3168351" cy="1805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598935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Last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Текст 15"/>
          <p:cNvSpPr>
            <a:spLocks noGrp="1"/>
          </p:cNvSpPr>
          <p:nvPr>
            <p:ph type="body" sz="quarter" idx="13" hasCustomPrompt="1"/>
          </p:nvPr>
        </p:nvSpPr>
        <p:spPr>
          <a:xfrm>
            <a:off x="2466429" y="3835400"/>
            <a:ext cx="3629572" cy="12192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indent="0" algn="r">
              <a:buNone/>
              <a:defRPr sz="1600">
                <a:solidFill>
                  <a:schemeClr val="accent1"/>
                </a:solidFill>
              </a:defRPr>
            </a:lvl1pPr>
          </a:lstStyle>
          <a:p>
            <a:r>
              <a:rPr lang="ru-RU" dirty="0"/>
              <a:t>+380 (44) 586-3330</a:t>
            </a:r>
          </a:p>
          <a:p>
            <a:r>
              <a:rPr lang="en-US" dirty="0"/>
              <a:t>ngu@naftogaz.com</a:t>
            </a:r>
          </a:p>
          <a:p>
            <a:r>
              <a:rPr lang="en-US" b="1" dirty="0"/>
              <a:t>naftogaz.com</a:t>
            </a:r>
            <a:endParaRPr lang="ru-RU" dirty="0"/>
          </a:p>
        </p:txBody>
      </p:sp>
      <p:cxnSp>
        <p:nvCxnSpPr>
          <p:cNvPr id="10" name="Прямая соединительная линия 9"/>
          <p:cNvCxnSpPr/>
          <p:nvPr userDrawn="1"/>
        </p:nvCxnSpPr>
        <p:spPr>
          <a:xfrm>
            <a:off x="6502400" y="889000"/>
            <a:ext cx="0" cy="4978400"/>
          </a:xfrm>
          <a:prstGeom prst="line">
            <a:avLst/>
          </a:prstGeom>
          <a:ln w="222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Title 1"/>
          <p:cNvSpPr>
            <a:spLocks noGrp="1"/>
          </p:cNvSpPr>
          <p:nvPr>
            <p:ph type="ctrTitle" hasCustomPrompt="1"/>
          </p:nvPr>
        </p:nvSpPr>
        <p:spPr>
          <a:xfrm>
            <a:off x="406400" y="1905000"/>
            <a:ext cx="5689600" cy="1930400"/>
          </a:xfrm>
          <a:prstGeom prst="rect">
            <a:avLst/>
          </a:prstGeom>
        </p:spPr>
        <p:txBody>
          <a:bodyPr anchor="ctr">
            <a:normAutofit/>
          </a:bodyPr>
          <a:lstStyle>
            <a:lvl1pPr algn="r">
              <a:defRPr sz="5400" b="0" cap="all" baseline="0">
                <a:solidFill>
                  <a:schemeClr val="accent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uk-UA" dirty="0"/>
              <a:t>Дякуємо </a:t>
            </a:r>
            <a:br>
              <a:rPr lang="uk-UA" dirty="0"/>
            </a:br>
            <a:r>
              <a:rPr lang="uk-UA" dirty="0"/>
              <a:t>за увагу!</a:t>
            </a:r>
            <a:endParaRPr lang="en-US" dirty="0"/>
          </a:p>
        </p:txBody>
      </p:sp>
      <p:sp>
        <p:nvSpPr>
          <p:cNvPr id="9" name="Прямокутник 8">
            <a:extLst>
              <a:ext uri="{FF2B5EF4-FFF2-40B4-BE49-F238E27FC236}">
                <a16:creationId xmlns:a16="http://schemas.microsoft.com/office/drawing/2014/main" id="{72ABCCA9-6781-4CDF-81DC-551BAF91B671}"/>
              </a:ext>
            </a:extLst>
          </p:cNvPr>
          <p:cNvSpPr/>
          <p:nvPr userDrawn="1"/>
        </p:nvSpPr>
        <p:spPr>
          <a:xfrm>
            <a:off x="9804412" y="152401"/>
            <a:ext cx="2387588" cy="69938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pic>
        <p:nvPicPr>
          <p:cNvPr id="11" name="Рисунок 10">
            <a:extLst>
              <a:ext uri="{FF2B5EF4-FFF2-40B4-BE49-F238E27FC236}">
                <a16:creationId xmlns:a16="http://schemas.microsoft.com/office/drawing/2014/main" id="{FED9EF09-48BB-4851-BC37-FBECBA13EEB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88188" y="1905001"/>
            <a:ext cx="3168351" cy="180596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71869549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ide_separator_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9" name="Прямая соединительная линия 8"/>
          <p:cNvCxnSpPr/>
          <p:nvPr userDrawn="1"/>
        </p:nvCxnSpPr>
        <p:spPr>
          <a:xfrm>
            <a:off x="406400" y="889000"/>
            <a:ext cx="0" cy="4978400"/>
          </a:xfrm>
          <a:prstGeom prst="line">
            <a:avLst/>
          </a:prstGeom>
          <a:ln w="222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" name="Title 1"/>
          <p:cNvSpPr>
            <a:spLocks noGrp="1"/>
          </p:cNvSpPr>
          <p:nvPr>
            <p:ph type="ctrTitle" hasCustomPrompt="1"/>
          </p:nvPr>
        </p:nvSpPr>
        <p:spPr>
          <a:xfrm>
            <a:off x="812800" y="2844800"/>
            <a:ext cx="5384800" cy="19304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algn="l">
              <a:defRPr sz="6000" b="0" cap="all" baseline="0">
                <a:solidFill>
                  <a:schemeClr val="accent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uk-UA" dirty="0"/>
              <a:t>назва    розділу</a:t>
            </a:r>
            <a:endParaRPr lang="en-US" dirty="0"/>
          </a:p>
        </p:txBody>
      </p:sp>
      <p:sp>
        <p:nvSpPr>
          <p:cNvPr id="21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12800" y="1930400"/>
            <a:ext cx="5384800" cy="9144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buNone/>
              <a:defRPr sz="3200">
                <a:solidFill>
                  <a:schemeClr val="accent1"/>
                </a:solidFill>
              </a:defRPr>
            </a:lvl1pPr>
            <a:lvl2pPr marL="342900" indent="0" algn="ctr">
              <a:buNone/>
              <a:defRPr sz="2100"/>
            </a:lvl2pPr>
            <a:lvl3pPr marL="685800" indent="0" algn="ctr">
              <a:buNone/>
              <a:defRPr sz="1800"/>
            </a:lvl3pPr>
            <a:lvl4pPr marL="1028700" indent="0" algn="ctr">
              <a:buNone/>
              <a:defRPr sz="1500"/>
            </a:lvl4pPr>
            <a:lvl5pPr marL="1371600" indent="0" algn="ctr">
              <a:buNone/>
              <a:defRPr sz="1500"/>
            </a:lvl5pPr>
            <a:lvl6pPr marL="1714500" indent="0" algn="ctr">
              <a:buNone/>
              <a:defRPr sz="1500"/>
            </a:lvl6pPr>
            <a:lvl7pPr marL="2057400" indent="0" algn="ctr">
              <a:buNone/>
              <a:defRPr sz="1500"/>
            </a:lvl7pPr>
            <a:lvl8pPr marL="2400300" indent="0" algn="ctr">
              <a:buNone/>
              <a:defRPr sz="1500"/>
            </a:lvl8pPr>
            <a:lvl9pPr marL="2743200" indent="0" algn="ctr">
              <a:buNone/>
              <a:defRPr sz="1500"/>
            </a:lvl9pPr>
          </a:lstStyle>
          <a:p>
            <a:r>
              <a:rPr lang="uk-UA" dirty="0"/>
              <a:t>Підзаголовок </a:t>
            </a:r>
          </a:p>
          <a:p>
            <a:r>
              <a:rPr lang="uk-UA" dirty="0"/>
              <a:t>розділу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1143620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lide_separator_white_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Місце для зображення 1"/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50833" r="2501"/>
          <a:stretch/>
        </p:blipFill>
        <p:spPr>
          <a:xfrm>
            <a:off x="6502400" y="0"/>
            <a:ext cx="5689600" cy="6858000"/>
          </a:xfrm>
          <a:prstGeom prst="rect">
            <a:avLst/>
          </a:prstGeom>
        </p:spPr>
      </p:pic>
      <p:cxnSp>
        <p:nvCxnSpPr>
          <p:cNvPr id="5" name="Прямая соединительная линия 4"/>
          <p:cNvCxnSpPr/>
          <p:nvPr userDrawn="1"/>
        </p:nvCxnSpPr>
        <p:spPr>
          <a:xfrm>
            <a:off x="406400" y="889000"/>
            <a:ext cx="0" cy="4978400"/>
          </a:xfrm>
          <a:prstGeom prst="line">
            <a:avLst/>
          </a:prstGeom>
          <a:ln w="22225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" name="Title 1"/>
          <p:cNvSpPr>
            <a:spLocks noGrp="1"/>
          </p:cNvSpPr>
          <p:nvPr>
            <p:ph type="ctrTitle" hasCustomPrompt="1"/>
          </p:nvPr>
        </p:nvSpPr>
        <p:spPr>
          <a:xfrm>
            <a:off x="812800" y="2844800"/>
            <a:ext cx="5384800" cy="1930400"/>
          </a:xfrm>
          <a:prstGeom prst="rect">
            <a:avLst/>
          </a:prstGeom>
        </p:spPr>
        <p:txBody>
          <a:bodyPr anchor="ctr">
            <a:normAutofit/>
          </a:bodyPr>
          <a:lstStyle>
            <a:lvl1pPr marL="0" algn="l">
              <a:defRPr sz="6000" b="0" cap="all" baseline="0">
                <a:solidFill>
                  <a:schemeClr val="accent1"/>
                </a:solidFill>
                <a:latin typeface="Calibri Light" panose="020F0302020204030204" pitchFamily="34" charset="0"/>
                <a:cs typeface="Calibri Light" panose="020F0302020204030204" pitchFamily="34" charset="0"/>
              </a:defRPr>
            </a:lvl1pPr>
          </a:lstStyle>
          <a:p>
            <a:r>
              <a:rPr lang="uk-UA" dirty="0"/>
              <a:t>назва    розділу</a:t>
            </a:r>
            <a:endParaRPr lang="en-US" dirty="0"/>
          </a:p>
        </p:txBody>
      </p:sp>
      <p:sp>
        <p:nvSpPr>
          <p:cNvPr id="7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812800" y="1930400"/>
            <a:ext cx="5384800" cy="914400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 algn="l">
              <a:buNone/>
              <a:defRPr sz="3200">
                <a:solidFill>
                  <a:schemeClr val="accent1"/>
                </a:solidFill>
              </a:defRPr>
            </a:lvl1pPr>
            <a:lvl2pPr marL="342900" indent="0" algn="ctr">
              <a:buNone/>
              <a:defRPr sz="2100"/>
            </a:lvl2pPr>
            <a:lvl3pPr marL="685800" indent="0" algn="ctr">
              <a:buNone/>
              <a:defRPr sz="1800"/>
            </a:lvl3pPr>
            <a:lvl4pPr marL="1028700" indent="0" algn="ctr">
              <a:buNone/>
              <a:defRPr sz="1500"/>
            </a:lvl4pPr>
            <a:lvl5pPr marL="1371600" indent="0" algn="ctr">
              <a:buNone/>
              <a:defRPr sz="1500"/>
            </a:lvl5pPr>
            <a:lvl6pPr marL="1714500" indent="0" algn="ctr">
              <a:buNone/>
              <a:defRPr sz="1500"/>
            </a:lvl6pPr>
            <a:lvl7pPr marL="2057400" indent="0" algn="ctr">
              <a:buNone/>
              <a:defRPr sz="1500"/>
            </a:lvl7pPr>
            <a:lvl8pPr marL="2400300" indent="0" algn="ctr">
              <a:buNone/>
              <a:defRPr sz="1500"/>
            </a:lvl8pPr>
            <a:lvl9pPr marL="2743200" indent="0" algn="ctr">
              <a:buNone/>
              <a:defRPr sz="1500"/>
            </a:lvl9pPr>
          </a:lstStyle>
          <a:p>
            <a:r>
              <a:rPr lang="uk-UA" dirty="0"/>
              <a:t>Підзаголовок </a:t>
            </a:r>
          </a:p>
          <a:p>
            <a:r>
              <a:rPr lang="uk-UA" dirty="0"/>
              <a:t>розділу</a:t>
            </a:r>
            <a:endParaRPr lang="en-US" dirty="0"/>
          </a:p>
        </p:txBody>
      </p:sp>
      <p:pic>
        <p:nvPicPr>
          <p:cNvPr id="10" name="Графіка 9">
            <a:extLst>
              <a:ext uri="{FF2B5EF4-FFF2-40B4-BE49-F238E27FC236}">
                <a16:creationId xmlns:a16="http://schemas.microsoft.com/office/drawing/2014/main" id="{724EABBE-1E61-4648-93DE-BCBB04C82E8F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9948428" y="401835"/>
            <a:ext cx="1797757" cy="3268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68416098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A1BB9ED7-14B7-4C55-A5E7-C19020275CD8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41" y="0"/>
            <a:ext cx="1562983" cy="1562983"/>
          </a:xfrm>
          <a:prstGeom prst="rect">
            <a:avLst/>
          </a:prstGeom>
        </p:spPr>
      </p:pic>
      <p:sp>
        <p:nvSpPr>
          <p:cNvPr id="11" name="Slide Number Placeholder 4"/>
          <p:cNvSpPr>
            <a:spLocks noGrp="1"/>
          </p:cNvSpPr>
          <p:nvPr>
            <p:ph type="sldNum" sz="quarter" idx="12"/>
          </p:nvPr>
        </p:nvSpPr>
        <p:spPr>
          <a:xfrm>
            <a:off x="11343051" y="6172200"/>
            <a:ext cx="609601" cy="508000"/>
          </a:xfrm>
          <a:prstGeom prst="rect">
            <a:avLst/>
          </a:prstGeom>
          <a:noFill/>
        </p:spPr>
        <p:txBody>
          <a:bodyPr anchor="ctr"/>
          <a:lstStyle>
            <a:lvl1pPr algn="ctr">
              <a:defRPr sz="1600">
                <a:solidFill>
                  <a:srgbClr val="00A0E0"/>
                </a:solidFill>
              </a:defRPr>
            </a:lvl1pPr>
          </a:lstStyle>
          <a:p>
            <a:pPr marL="25400"/>
            <a:fld id="{81D60167-4931-47E6-BA6A-407CBD079E47}" type="slidenum">
              <a:rPr lang="uk-UA" spc="-10" smtClean="0"/>
              <a:pPr marL="25400"/>
              <a:t>‹#›</a:t>
            </a:fld>
            <a:endParaRPr lang="uk-UA" spc="-10" dirty="0"/>
          </a:p>
        </p:txBody>
      </p:sp>
      <p:sp>
        <p:nvSpPr>
          <p:cNvPr id="8" name="Title 5"/>
          <p:cNvSpPr>
            <a:spLocks noGrp="1"/>
          </p:cNvSpPr>
          <p:nvPr>
            <p:ph type="title" hasCustomPrompt="1"/>
          </p:nvPr>
        </p:nvSpPr>
        <p:spPr>
          <a:xfrm>
            <a:off x="-2595" y="368660"/>
            <a:ext cx="8978846" cy="576064"/>
          </a:xfrm>
          <a:prstGeom prst="rect">
            <a:avLst/>
          </a:prstGeom>
          <a:noFill/>
        </p:spPr>
        <p:txBody>
          <a:bodyPr anchor="t"/>
          <a:lstStyle>
            <a:lvl1pPr marL="536575" indent="0">
              <a:defRPr sz="3200">
                <a:solidFill>
                  <a:schemeClr val="tx1"/>
                </a:solidFill>
              </a:defRPr>
            </a:lvl1pPr>
          </a:lstStyle>
          <a:p>
            <a:r>
              <a:rPr lang="uk-UA" dirty="0"/>
              <a:t>Заголовок слайда</a:t>
            </a:r>
            <a:endParaRPr lang="en-US" dirty="0"/>
          </a:p>
        </p:txBody>
      </p:sp>
      <p:sp>
        <p:nvSpPr>
          <p:cNvPr id="6" name="Текст 5"/>
          <p:cNvSpPr>
            <a:spLocks noGrp="1"/>
          </p:cNvSpPr>
          <p:nvPr>
            <p:ph type="body" sz="quarter" idx="13" hasCustomPrompt="1"/>
          </p:nvPr>
        </p:nvSpPr>
        <p:spPr>
          <a:xfrm>
            <a:off x="812802" y="6516054"/>
            <a:ext cx="7851366" cy="153888"/>
          </a:xfrm>
        </p:spPr>
        <p:txBody>
          <a:bodyPr/>
          <a:lstStyle>
            <a:lvl1pPr>
              <a:defRPr sz="10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ru-RU" dirty="0" err="1"/>
              <a:t>Примітка</a:t>
            </a:r>
            <a:endParaRPr lang="ru-RU" dirty="0"/>
          </a:p>
        </p:txBody>
      </p:sp>
      <p:sp>
        <p:nvSpPr>
          <p:cNvPr id="4" name="Місце для тексту 3"/>
          <p:cNvSpPr>
            <a:spLocks noGrp="1"/>
          </p:cNvSpPr>
          <p:nvPr>
            <p:ph type="body" sz="quarter" idx="15" hasCustomPrompt="1"/>
          </p:nvPr>
        </p:nvSpPr>
        <p:spPr>
          <a:xfrm>
            <a:off x="515381" y="1562983"/>
            <a:ext cx="8136494" cy="246221"/>
          </a:xfrm>
        </p:spPr>
        <p:txBody>
          <a:bodyPr/>
          <a:lstStyle>
            <a:lvl1pPr>
              <a:defRPr sz="1600"/>
            </a:lvl1pPr>
          </a:lstStyle>
          <a:p>
            <a:pPr lvl="0"/>
            <a:r>
              <a:rPr lang="uk-UA" dirty="0"/>
              <a:t>Текст слайда</a:t>
            </a:r>
          </a:p>
        </p:txBody>
      </p:sp>
      <p:pic>
        <p:nvPicPr>
          <p:cNvPr id="9" name="Рисунок 8">
            <a:extLst>
              <a:ext uri="{FF2B5EF4-FFF2-40B4-BE49-F238E27FC236}">
                <a16:creationId xmlns:a16="http://schemas.microsoft.com/office/drawing/2014/main" id="{BFD6D159-B73E-4FA1-9F7B-15488D81967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29686" y="468553"/>
            <a:ext cx="1608498" cy="3321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7805515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'єкт 2" hidden="1">
            <a:extLst>
              <a:ext uri="{FF2B5EF4-FFF2-40B4-BE49-F238E27FC236}">
                <a16:creationId xmlns:a16="http://schemas.microsoft.com/office/drawing/2014/main" id="{4CDE951E-2457-4318-BD83-9EAF6F190CC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8402195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5" name="think-cell Slide" r:id="rId10" imgW="425" imgH="424" progId="TCLayout.ActiveDocument.1">
                  <p:embed/>
                </p:oleObj>
              </mc:Choice>
              <mc:Fallback>
                <p:oleObj name="think-cell Slide" r:id="rId10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Slide Number Placeholder 4"/>
          <p:cNvSpPr>
            <a:spLocks noGrp="1"/>
          </p:cNvSpPr>
          <p:nvPr>
            <p:ph type="sldNum" sz="quarter" idx="4"/>
          </p:nvPr>
        </p:nvSpPr>
        <p:spPr>
          <a:xfrm>
            <a:off x="11328583" y="6172200"/>
            <a:ext cx="609601" cy="508000"/>
          </a:xfrm>
          <a:prstGeom prst="rect">
            <a:avLst/>
          </a:prstGeom>
          <a:noFill/>
        </p:spPr>
        <p:txBody>
          <a:bodyPr lIns="72000" rIns="72000" anchor="ctr"/>
          <a:lstStyle>
            <a:lvl1pPr algn="ctr">
              <a:defRPr sz="1200">
                <a:solidFill>
                  <a:srgbClr val="00A0E0"/>
                </a:solidFill>
              </a:defRPr>
            </a:lvl1pPr>
          </a:lstStyle>
          <a:p>
            <a:pPr marL="25400"/>
            <a:fld id="{81D60167-4931-47E6-BA6A-407CBD079E47}" type="slidenum">
              <a:rPr lang="uk-UA" spc="-10" smtClean="0"/>
              <a:pPr marL="25400"/>
              <a:t>‹#›</a:t>
            </a:fld>
            <a:endParaRPr lang="uk-UA" spc="-10" dirty="0"/>
          </a:p>
        </p:txBody>
      </p:sp>
      <p:sp>
        <p:nvSpPr>
          <p:cNvPr id="4" name="Holder 2"/>
          <p:cNvSpPr>
            <a:spLocks noGrp="1"/>
          </p:cNvSpPr>
          <p:nvPr>
            <p:ph type="title"/>
          </p:nvPr>
        </p:nvSpPr>
        <p:spPr>
          <a:xfrm>
            <a:off x="570896" y="398633"/>
            <a:ext cx="8128000" cy="430887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/>
          <a:p>
            <a:pPr marL="0" lvl="0" algn="l" defTabSz="914400" rtl="0" eaLnBrk="1" latinLnBrk="0" hangingPunct="1">
              <a:spcBef>
                <a:spcPct val="0"/>
              </a:spcBef>
              <a:buFontTx/>
              <a:buNone/>
            </a:pPr>
            <a:r>
              <a:rPr lang="uk-UA" dirty="0"/>
              <a:t>Заголовок слайду</a:t>
            </a:r>
            <a:endParaRPr dirty="0"/>
          </a:p>
        </p:txBody>
      </p:sp>
      <p:sp>
        <p:nvSpPr>
          <p:cNvPr id="8" name="Holder 3"/>
          <p:cNvSpPr>
            <a:spLocks noGrp="1"/>
          </p:cNvSpPr>
          <p:nvPr>
            <p:ph type="body" idx="1"/>
          </p:nvPr>
        </p:nvSpPr>
        <p:spPr>
          <a:xfrm>
            <a:off x="812799" y="1458214"/>
            <a:ext cx="7924801" cy="31460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09177362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7" r:id="rId1"/>
    <p:sldLayoutId id="2147483668" r:id="rId2"/>
    <p:sldLayoutId id="2147483673" r:id="rId3"/>
    <p:sldLayoutId id="2147483674" r:id="rId4"/>
    <p:sldLayoutId id="2147483669" r:id="rId5"/>
    <p:sldLayoutId id="2147483671" r:id="rId6"/>
  </p:sldLayoutIdLst>
  <p:hf hdr="0" ftr="0" dt="0"/>
  <p:txStyles>
    <p:titleStyle>
      <a:lvl1pPr>
        <a:defRPr sz="2800" b="1" kern="1200">
          <a:solidFill>
            <a:schemeClr val="tx2"/>
          </a:solidFill>
          <a:latin typeface="+mn-lt"/>
          <a:ea typeface="+mn-ea"/>
          <a:cs typeface="+mn-cs"/>
        </a:defRPr>
      </a:lvl1pPr>
    </p:titleStyle>
    <p:bodyStyle>
      <a:lvl1pPr marL="0">
        <a:defRPr sz="20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342900">
        <a:defRPr>
          <a:latin typeface="+mn-lt"/>
          <a:ea typeface="+mn-ea"/>
          <a:cs typeface="+mn-cs"/>
        </a:defRPr>
      </a:lvl2pPr>
      <a:lvl3pPr marL="685800">
        <a:defRPr>
          <a:latin typeface="+mn-lt"/>
          <a:ea typeface="+mn-ea"/>
          <a:cs typeface="+mn-cs"/>
        </a:defRPr>
      </a:lvl3pPr>
      <a:lvl4pPr marL="1028700">
        <a:defRPr>
          <a:latin typeface="+mn-lt"/>
          <a:ea typeface="+mn-ea"/>
          <a:cs typeface="+mn-cs"/>
        </a:defRPr>
      </a:lvl4pPr>
      <a:lvl5pPr marL="1371600">
        <a:defRPr>
          <a:latin typeface="+mn-lt"/>
          <a:ea typeface="+mn-ea"/>
          <a:cs typeface="+mn-cs"/>
        </a:defRPr>
      </a:lvl5pPr>
      <a:lvl6pPr marL="1714500">
        <a:defRPr>
          <a:latin typeface="+mn-lt"/>
          <a:ea typeface="+mn-ea"/>
          <a:cs typeface="+mn-cs"/>
        </a:defRPr>
      </a:lvl6pPr>
      <a:lvl7pPr marL="2057400">
        <a:defRPr>
          <a:latin typeface="+mn-lt"/>
          <a:ea typeface="+mn-ea"/>
          <a:cs typeface="+mn-cs"/>
        </a:defRPr>
      </a:lvl7pPr>
      <a:lvl8pPr marL="2400300">
        <a:defRPr>
          <a:latin typeface="+mn-lt"/>
          <a:ea typeface="+mn-ea"/>
          <a:cs typeface="+mn-cs"/>
        </a:defRPr>
      </a:lvl8pPr>
      <a:lvl9pPr marL="2743200">
        <a:defRPr>
          <a:latin typeface="+mn-lt"/>
          <a:ea typeface="+mn-ea"/>
          <a:cs typeface="+mn-cs"/>
        </a:defRPr>
      </a:lvl9pPr>
    </p:bodyStyle>
    <p:otherStyle>
      <a:lvl1pPr marL="0">
        <a:defRPr>
          <a:latin typeface="+mn-lt"/>
          <a:ea typeface="+mn-ea"/>
          <a:cs typeface="+mn-cs"/>
        </a:defRPr>
      </a:lvl1pPr>
      <a:lvl2pPr marL="342900">
        <a:defRPr>
          <a:latin typeface="+mn-lt"/>
          <a:ea typeface="+mn-ea"/>
          <a:cs typeface="+mn-cs"/>
        </a:defRPr>
      </a:lvl2pPr>
      <a:lvl3pPr marL="685800">
        <a:defRPr>
          <a:latin typeface="+mn-lt"/>
          <a:ea typeface="+mn-ea"/>
          <a:cs typeface="+mn-cs"/>
        </a:defRPr>
      </a:lvl3pPr>
      <a:lvl4pPr marL="1028700">
        <a:defRPr>
          <a:latin typeface="+mn-lt"/>
          <a:ea typeface="+mn-ea"/>
          <a:cs typeface="+mn-cs"/>
        </a:defRPr>
      </a:lvl4pPr>
      <a:lvl5pPr marL="1371600">
        <a:defRPr>
          <a:latin typeface="+mn-lt"/>
          <a:ea typeface="+mn-ea"/>
          <a:cs typeface="+mn-cs"/>
        </a:defRPr>
      </a:lvl5pPr>
      <a:lvl6pPr marL="1714500">
        <a:defRPr>
          <a:latin typeface="+mn-lt"/>
          <a:ea typeface="+mn-ea"/>
          <a:cs typeface="+mn-cs"/>
        </a:defRPr>
      </a:lvl6pPr>
      <a:lvl7pPr marL="2057400">
        <a:defRPr>
          <a:latin typeface="+mn-lt"/>
          <a:ea typeface="+mn-ea"/>
          <a:cs typeface="+mn-cs"/>
        </a:defRPr>
      </a:lvl7pPr>
      <a:lvl8pPr marL="2400300">
        <a:defRPr>
          <a:latin typeface="+mn-lt"/>
          <a:ea typeface="+mn-ea"/>
          <a:cs typeface="+mn-cs"/>
        </a:defRPr>
      </a:lvl8pPr>
      <a:lvl9pPr marL="2743200">
        <a:defRPr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512" userDrawn="1">
          <p15:clr>
            <a:srgbClr val="F26B43"/>
          </p15:clr>
        </p15:guide>
        <p15:guide id="3" orient="horz" pos="528" userDrawn="1">
          <p15:clr>
            <a:srgbClr val="F26B43"/>
          </p15:clr>
        </p15:guide>
        <p15:guide id="4" orient="horz" pos="240" userDrawn="1">
          <p15:clr>
            <a:srgbClr val="F26B43"/>
          </p15:clr>
        </p15:guide>
        <p15:guide id="5" pos="6448" userDrawn="1">
          <p15:clr>
            <a:srgbClr val="F26B43"/>
          </p15:clr>
        </p15:guide>
        <p15:guide id="6" pos="545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1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tags" Target="../tags/tag10.xml"/><Relationship Id="rId13" Type="http://schemas.openxmlformats.org/officeDocument/2006/relationships/tags" Target="../tags/tag15.xml"/><Relationship Id="rId18" Type="http://schemas.openxmlformats.org/officeDocument/2006/relationships/tags" Target="../tags/tag20.xml"/><Relationship Id="rId3" Type="http://schemas.openxmlformats.org/officeDocument/2006/relationships/tags" Target="../tags/tag5.xml"/><Relationship Id="rId21" Type="http://schemas.openxmlformats.org/officeDocument/2006/relationships/slideLayout" Target="../slideLayouts/slideLayout6.xml"/><Relationship Id="rId7" Type="http://schemas.openxmlformats.org/officeDocument/2006/relationships/tags" Target="../tags/tag9.xml"/><Relationship Id="rId12" Type="http://schemas.openxmlformats.org/officeDocument/2006/relationships/tags" Target="../tags/tag14.xml"/><Relationship Id="rId17" Type="http://schemas.openxmlformats.org/officeDocument/2006/relationships/tags" Target="../tags/tag19.xml"/><Relationship Id="rId25" Type="http://schemas.openxmlformats.org/officeDocument/2006/relationships/chart" Target="../charts/chart1.xml"/><Relationship Id="rId2" Type="http://schemas.openxmlformats.org/officeDocument/2006/relationships/tags" Target="../tags/tag4.xml"/><Relationship Id="rId16" Type="http://schemas.openxmlformats.org/officeDocument/2006/relationships/tags" Target="../tags/tag18.xml"/><Relationship Id="rId20" Type="http://schemas.openxmlformats.org/officeDocument/2006/relationships/tags" Target="../tags/tag22.xml"/><Relationship Id="rId1" Type="http://schemas.openxmlformats.org/officeDocument/2006/relationships/vmlDrawing" Target="../drawings/vmlDrawing3.vml"/><Relationship Id="rId6" Type="http://schemas.openxmlformats.org/officeDocument/2006/relationships/tags" Target="../tags/tag8.xml"/><Relationship Id="rId11" Type="http://schemas.openxmlformats.org/officeDocument/2006/relationships/tags" Target="../tags/tag13.xml"/><Relationship Id="rId24" Type="http://schemas.openxmlformats.org/officeDocument/2006/relationships/image" Target="../media/image11.emf"/><Relationship Id="rId5" Type="http://schemas.openxmlformats.org/officeDocument/2006/relationships/tags" Target="../tags/tag7.xml"/><Relationship Id="rId15" Type="http://schemas.openxmlformats.org/officeDocument/2006/relationships/tags" Target="../tags/tag17.xml"/><Relationship Id="rId23" Type="http://schemas.openxmlformats.org/officeDocument/2006/relationships/oleObject" Target="../embeddings/oleObject3.bin"/><Relationship Id="rId10" Type="http://schemas.openxmlformats.org/officeDocument/2006/relationships/tags" Target="../tags/tag12.xml"/><Relationship Id="rId19" Type="http://schemas.openxmlformats.org/officeDocument/2006/relationships/tags" Target="../tags/tag21.xml"/><Relationship Id="rId4" Type="http://schemas.openxmlformats.org/officeDocument/2006/relationships/tags" Target="../tags/tag6.xml"/><Relationship Id="rId9" Type="http://schemas.openxmlformats.org/officeDocument/2006/relationships/tags" Target="../tags/tag11.xml"/><Relationship Id="rId14" Type="http://schemas.openxmlformats.org/officeDocument/2006/relationships/tags" Target="../tags/tag16.xml"/><Relationship Id="rId22" Type="http://schemas.openxmlformats.org/officeDocument/2006/relationships/notesSlide" Target="../notesSlides/notesSlide2.xml"/></Relationships>
</file>

<file path=ppt/slides/_rels/slide3.xml.rels><?xml version="1.0" encoding="UTF-8" standalone="yes"?>
<Relationships xmlns="http://schemas.openxmlformats.org/package/2006/relationships"><Relationship Id="rId117" Type="http://schemas.openxmlformats.org/officeDocument/2006/relationships/tags" Target="../tags/tag138.xml"/><Relationship Id="rId21" Type="http://schemas.openxmlformats.org/officeDocument/2006/relationships/tags" Target="../tags/tag42.xml"/><Relationship Id="rId42" Type="http://schemas.openxmlformats.org/officeDocument/2006/relationships/tags" Target="../tags/tag63.xml"/><Relationship Id="rId63" Type="http://schemas.openxmlformats.org/officeDocument/2006/relationships/tags" Target="../tags/tag84.xml"/><Relationship Id="rId84" Type="http://schemas.openxmlformats.org/officeDocument/2006/relationships/tags" Target="../tags/tag105.xml"/><Relationship Id="rId138" Type="http://schemas.openxmlformats.org/officeDocument/2006/relationships/tags" Target="../tags/tag159.xml"/><Relationship Id="rId159" Type="http://schemas.openxmlformats.org/officeDocument/2006/relationships/tags" Target="../tags/tag180.xml"/><Relationship Id="rId170" Type="http://schemas.openxmlformats.org/officeDocument/2006/relationships/tags" Target="../tags/tag191.xml"/><Relationship Id="rId191" Type="http://schemas.openxmlformats.org/officeDocument/2006/relationships/tags" Target="../tags/tag212.xml"/><Relationship Id="rId107" Type="http://schemas.openxmlformats.org/officeDocument/2006/relationships/tags" Target="../tags/tag128.xml"/><Relationship Id="rId11" Type="http://schemas.openxmlformats.org/officeDocument/2006/relationships/tags" Target="../tags/tag32.xml"/><Relationship Id="rId32" Type="http://schemas.openxmlformats.org/officeDocument/2006/relationships/tags" Target="../tags/tag53.xml"/><Relationship Id="rId53" Type="http://schemas.openxmlformats.org/officeDocument/2006/relationships/tags" Target="../tags/tag74.xml"/><Relationship Id="rId74" Type="http://schemas.openxmlformats.org/officeDocument/2006/relationships/tags" Target="../tags/tag95.xml"/><Relationship Id="rId128" Type="http://schemas.openxmlformats.org/officeDocument/2006/relationships/tags" Target="../tags/tag149.xml"/><Relationship Id="rId149" Type="http://schemas.openxmlformats.org/officeDocument/2006/relationships/tags" Target="../tags/tag170.xml"/><Relationship Id="rId5" Type="http://schemas.openxmlformats.org/officeDocument/2006/relationships/tags" Target="../tags/tag26.xml"/><Relationship Id="rId95" Type="http://schemas.openxmlformats.org/officeDocument/2006/relationships/tags" Target="../tags/tag116.xml"/><Relationship Id="rId160" Type="http://schemas.openxmlformats.org/officeDocument/2006/relationships/tags" Target="../tags/tag181.xml"/><Relationship Id="rId181" Type="http://schemas.openxmlformats.org/officeDocument/2006/relationships/tags" Target="../tags/tag202.xml"/><Relationship Id="rId22" Type="http://schemas.openxmlformats.org/officeDocument/2006/relationships/tags" Target="../tags/tag43.xml"/><Relationship Id="rId43" Type="http://schemas.openxmlformats.org/officeDocument/2006/relationships/tags" Target="../tags/tag64.xml"/><Relationship Id="rId64" Type="http://schemas.openxmlformats.org/officeDocument/2006/relationships/tags" Target="../tags/tag85.xml"/><Relationship Id="rId118" Type="http://schemas.openxmlformats.org/officeDocument/2006/relationships/tags" Target="../tags/tag139.xml"/><Relationship Id="rId139" Type="http://schemas.openxmlformats.org/officeDocument/2006/relationships/tags" Target="../tags/tag160.xml"/><Relationship Id="rId85" Type="http://schemas.openxmlformats.org/officeDocument/2006/relationships/tags" Target="../tags/tag106.xml"/><Relationship Id="rId150" Type="http://schemas.openxmlformats.org/officeDocument/2006/relationships/tags" Target="../tags/tag171.xml"/><Relationship Id="rId171" Type="http://schemas.openxmlformats.org/officeDocument/2006/relationships/tags" Target="../tags/tag192.xml"/><Relationship Id="rId192" Type="http://schemas.openxmlformats.org/officeDocument/2006/relationships/tags" Target="../tags/tag213.xml"/><Relationship Id="rId12" Type="http://schemas.openxmlformats.org/officeDocument/2006/relationships/tags" Target="../tags/tag33.xml"/><Relationship Id="rId33" Type="http://schemas.openxmlformats.org/officeDocument/2006/relationships/tags" Target="../tags/tag54.xml"/><Relationship Id="rId108" Type="http://schemas.openxmlformats.org/officeDocument/2006/relationships/tags" Target="../tags/tag129.xml"/><Relationship Id="rId129" Type="http://schemas.openxmlformats.org/officeDocument/2006/relationships/tags" Target="../tags/tag150.xml"/><Relationship Id="rId54" Type="http://schemas.openxmlformats.org/officeDocument/2006/relationships/tags" Target="../tags/tag75.xml"/><Relationship Id="rId75" Type="http://schemas.openxmlformats.org/officeDocument/2006/relationships/tags" Target="../tags/tag96.xml"/><Relationship Id="rId96" Type="http://schemas.openxmlformats.org/officeDocument/2006/relationships/tags" Target="../tags/tag117.xml"/><Relationship Id="rId140" Type="http://schemas.openxmlformats.org/officeDocument/2006/relationships/tags" Target="../tags/tag161.xml"/><Relationship Id="rId161" Type="http://schemas.openxmlformats.org/officeDocument/2006/relationships/tags" Target="../tags/tag182.xml"/><Relationship Id="rId182" Type="http://schemas.openxmlformats.org/officeDocument/2006/relationships/tags" Target="../tags/tag203.xml"/><Relationship Id="rId6" Type="http://schemas.openxmlformats.org/officeDocument/2006/relationships/tags" Target="../tags/tag27.xml"/><Relationship Id="rId23" Type="http://schemas.openxmlformats.org/officeDocument/2006/relationships/tags" Target="../tags/tag44.xml"/><Relationship Id="rId119" Type="http://schemas.openxmlformats.org/officeDocument/2006/relationships/tags" Target="../tags/tag140.xml"/><Relationship Id="rId44" Type="http://schemas.openxmlformats.org/officeDocument/2006/relationships/tags" Target="../tags/tag65.xml"/><Relationship Id="rId65" Type="http://schemas.openxmlformats.org/officeDocument/2006/relationships/tags" Target="../tags/tag86.xml"/><Relationship Id="rId86" Type="http://schemas.openxmlformats.org/officeDocument/2006/relationships/tags" Target="../tags/tag107.xml"/><Relationship Id="rId130" Type="http://schemas.openxmlformats.org/officeDocument/2006/relationships/tags" Target="../tags/tag151.xml"/><Relationship Id="rId151" Type="http://schemas.openxmlformats.org/officeDocument/2006/relationships/tags" Target="../tags/tag172.xml"/><Relationship Id="rId172" Type="http://schemas.openxmlformats.org/officeDocument/2006/relationships/tags" Target="../tags/tag193.xml"/><Relationship Id="rId193" Type="http://schemas.openxmlformats.org/officeDocument/2006/relationships/tags" Target="../tags/tag214.xml"/><Relationship Id="rId13" Type="http://schemas.openxmlformats.org/officeDocument/2006/relationships/tags" Target="../tags/tag34.xml"/><Relationship Id="rId109" Type="http://schemas.openxmlformats.org/officeDocument/2006/relationships/tags" Target="../tags/tag130.xml"/><Relationship Id="rId34" Type="http://schemas.openxmlformats.org/officeDocument/2006/relationships/tags" Target="../tags/tag55.xml"/><Relationship Id="rId55" Type="http://schemas.openxmlformats.org/officeDocument/2006/relationships/tags" Target="../tags/tag76.xml"/><Relationship Id="rId76" Type="http://schemas.openxmlformats.org/officeDocument/2006/relationships/tags" Target="../tags/tag97.xml"/><Relationship Id="rId97" Type="http://schemas.openxmlformats.org/officeDocument/2006/relationships/tags" Target="../tags/tag118.xml"/><Relationship Id="rId120" Type="http://schemas.openxmlformats.org/officeDocument/2006/relationships/tags" Target="../tags/tag141.xml"/><Relationship Id="rId141" Type="http://schemas.openxmlformats.org/officeDocument/2006/relationships/tags" Target="../tags/tag162.xml"/><Relationship Id="rId7" Type="http://schemas.openxmlformats.org/officeDocument/2006/relationships/tags" Target="../tags/tag28.xml"/><Relationship Id="rId162" Type="http://schemas.openxmlformats.org/officeDocument/2006/relationships/tags" Target="../tags/tag183.xml"/><Relationship Id="rId183" Type="http://schemas.openxmlformats.org/officeDocument/2006/relationships/tags" Target="../tags/tag204.xml"/><Relationship Id="rId2" Type="http://schemas.openxmlformats.org/officeDocument/2006/relationships/tags" Target="../tags/tag23.xml"/><Relationship Id="rId29" Type="http://schemas.openxmlformats.org/officeDocument/2006/relationships/tags" Target="../tags/tag50.xml"/><Relationship Id="rId24" Type="http://schemas.openxmlformats.org/officeDocument/2006/relationships/tags" Target="../tags/tag45.xml"/><Relationship Id="rId40" Type="http://schemas.openxmlformats.org/officeDocument/2006/relationships/tags" Target="../tags/tag61.xml"/><Relationship Id="rId45" Type="http://schemas.openxmlformats.org/officeDocument/2006/relationships/tags" Target="../tags/tag66.xml"/><Relationship Id="rId66" Type="http://schemas.openxmlformats.org/officeDocument/2006/relationships/tags" Target="../tags/tag87.xml"/><Relationship Id="rId87" Type="http://schemas.openxmlformats.org/officeDocument/2006/relationships/tags" Target="../tags/tag108.xml"/><Relationship Id="rId110" Type="http://schemas.openxmlformats.org/officeDocument/2006/relationships/tags" Target="../tags/tag131.xml"/><Relationship Id="rId115" Type="http://schemas.openxmlformats.org/officeDocument/2006/relationships/tags" Target="../tags/tag136.xml"/><Relationship Id="rId131" Type="http://schemas.openxmlformats.org/officeDocument/2006/relationships/tags" Target="../tags/tag152.xml"/><Relationship Id="rId136" Type="http://schemas.openxmlformats.org/officeDocument/2006/relationships/tags" Target="../tags/tag157.xml"/><Relationship Id="rId157" Type="http://schemas.openxmlformats.org/officeDocument/2006/relationships/tags" Target="../tags/tag178.xml"/><Relationship Id="rId178" Type="http://schemas.openxmlformats.org/officeDocument/2006/relationships/tags" Target="../tags/tag199.xml"/><Relationship Id="rId61" Type="http://schemas.openxmlformats.org/officeDocument/2006/relationships/tags" Target="../tags/tag82.xml"/><Relationship Id="rId82" Type="http://schemas.openxmlformats.org/officeDocument/2006/relationships/tags" Target="../tags/tag103.xml"/><Relationship Id="rId152" Type="http://schemas.openxmlformats.org/officeDocument/2006/relationships/tags" Target="../tags/tag173.xml"/><Relationship Id="rId173" Type="http://schemas.openxmlformats.org/officeDocument/2006/relationships/tags" Target="../tags/tag194.xml"/><Relationship Id="rId194" Type="http://schemas.openxmlformats.org/officeDocument/2006/relationships/slideLayout" Target="../slideLayouts/slideLayout6.xml"/><Relationship Id="rId199" Type="http://schemas.openxmlformats.org/officeDocument/2006/relationships/chart" Target="../charts/chart3.xml"/><Relationship Id="rId19" Type="http://schemas.openxmlformats.org/officeDocument/2006/relationships/tags" Target="../tags/tag40.xml"/><Relationship Id="rId14" Type="http://schemas.openxmlformats.org/officeDocument/2006/relationships/tags" Target="../tags/tag35.xml"/><Relationship Id="rId30" Type="http://schemas.openxmlformats.org/officeDocument/2006/relationships/tags" Target="../tags/tag51.xml"/><Relationship Id="rId35" Type="http://schemas.openxmlformats.org/officeDocument/2006/relationships/tags" Target="../tags/tag56.xml"/><Relationship Id="rId56" Type="http://schemas.openxmlformats.org/officeDocument/2006/relationships/tags" Target="../tags/tag77.xml"/><Relationship Id="rId77" Type="http://schemas.openxmlformats.org/officeDocument/2006/relationships/tags" Target="../tags/tag98.xml"/><Relationship Id="rId100" Type="http://schemas.openxmlformats.org/officeDocument/2006/relationships/tags" Target="../tags/tag121.xml"/><Relationship Id="rId105" Type="http://schemas.openxmlformats.org/officeDocument/2006/relationships/tags" Target="../tags/tag126.xml"/><Relationship Id="rId126" Type="http://schemas.openxmlformats.org/officeDocument/2006/relationships/tags" Target="../tags/tag147.xml"/><Relationship Id="rId147" Type="http://schemas.openxmlformats.org/officeDocument/2006/relationships/tags" Target="../tags/tag168.xml"/><Relationship Id="rId168" Type="http://schemas.openxmlformats.org/officeDocument/2006/relationships/tags" Target="../tags/tag189.xml"/><Relationship Id="rId8" Type="http://schemas.openxmlformats.org/officeDocument/2006/relationships/tags" Target="../tags/tag29.xml"/><Relationship Id="rId51" Type="http://schemas.openxmlformats.org/officeDocument/2006/relationships/tags" Target="../tags/tag72.xml"/><Relationship Id="rId72" Type="http://schemas.openxmlformats.org/officeDocument/2006/relationships/tags" Target="../tags/tag93.xml"/><Relationship Id="rId93" Type="http://schemas.openxmlformats.org/officeDocument/2006/relationships/tags" Target="../tags/tag114.xml"/><Relationship Id="rId98" Type="http://schemas.openxmlformats.org/officeDocument/2006/relationships/tags" Target="../tags/tag119.xml"/><Relationship Id="rId121" Type="http://schemas.openxmlformats.org/officeDocument/2006/relationships/tags" Target="../tags/tag142.xml"/><Relationship Id="rId142" Type="http://schemas.openxmlformats.org/officeDocument/2006/relationships/tags" Target="../tags/tag163.xml"/><Relationship Id="rId163" Type="http://schemas.openxmlformats.org/officeDocument/2006/relationships/tags" Target="../tags/tag184.xml"/><Relationship Id="rId184" Type="http://schemas.openxmlformats.org/officeDocument/2006/relationships/tags" Target="../tags/tag205.xml"/><Relationship Id="rId189" Type="http://schemas.openxmlformats.org/officeDocument/2006/relationships/tags" Target="../tags/tag210.xml"/><Relationship Id="rId3" Type="http://schemas.openxmlformats.org/officeDocument/2006/relationships/tags" Target="../tags/tag24.xml"/><Relationship Id="rId25" Type="http://schemas.openxmlformats.org/officeDocument/2006/relationships/tags" Target="../tags/tag46.xml"/><Relationship Id="rId46" Type="http://schemas.openxmlformats.org/officeDocument/2006/relationships/tags" Target="../tags/tag67.xml"/><Relationship Id="rId67" Type="http://schemas.openxmlformats.org/officeDocument/2006/relationships/tags" Target="../tags/tag88.xml"/><Relationship Id="rId116" Type="http://schemas.openxmlformats.org/officeDocument/2006/relationships/tags" Target="../tags/tag137.xml"/><Relationship Id="rId137" Type="http://schemas.openxmlformats.org/officeDocument/2006/relationships/tags" Target="../tags/tag158.xml"/><Relationship Id="rId158" Type="http://schemas.openxmlformats.org/officeDocument/2006/relationships/tags" Target="../tags/tag179.xml"/><Relationship Id="rId20" Type="http://schemas.openxmlformats.org/officeDocument/2006/relationships/tags" Target="../tags/tag41.xml"/><Relationship Id="rId41" Type="http://schemas.openxmlformats.org/officeDocument/2006/relationships/tags" Target="../tags/tag62.xml"/><Relationship Id="rId62" Type="http://schemas.openxmlformats.org/officeDocument/2006/relationships/tags" Target="../tags/tag83.xml"/><Relationship Id="rId83" Type="http://schemas.openxmlformats.org/officeDocument/2006/relationships/tags" Target="../tags/tag104.xml"/><Relationship Id="rId88" Type="http://schemas.openxmlformats.org/officeDocument/2006/relationships/tags" Target="../tags/tag109.xml"/><Relationship Id="rId111" Type="http://schemas.openxmlformats.org/officeDocument/2006/relationships/tags" Target="../tags/tag132.xml"/><Relationship Id="rId132" Type="http://schemas.openxmlformats.org/officeDocument/2006/relationships/tags" Target="../tags/tag153.xml"/><Relationship Id="rId153" Type="http://schemas.openxmlformats.org/officeDocument/2006/relationships/tags" Target="../tags/tag174.xml"/><Relationship Id="rId174" Type="http://schemas.openxmlformats.org/officeDocument/2006/relationships/tags" Target="../tags/tag195.xml"/><Relationship Id="rId179" Type="http://schemas.openxmlformats.org/officeDocument/2006/relationships/tags" Target="../tags/tag200.xml"/><Relationship Id="rId195" Type="http://schemas.openxmlformats.org/officeDocument/2006/relationships/notesSlide" Target="../notesSlides/notesSlide3.xml"/><Relationship Id="rId190" Type="http://schemas.openxmlformats.org/officeDocument/2006/relationships/tags" Target="../tags/tag211.xml"/><Relationship Id="rId15" Type="http://schemas.openxmlformats.org/officeDocument/2006/relationships/tags" Target="../tags/tag36.xml"/><Relationship Id="rId36" Type="http://schemas.openxmlformats.org/officeDocument/2006/relationships/tags" Target="../tags/tag57.xml"/><Relationship Id="rId57" Type="http://schemas.openxmlformats.org/officeDocument/2006/relationships/tags" Target="../tags/tag78.xml"/><Relationship Id="rId106" Type="http://schemas.openxmlformats.org/officeDocument/2006/relationships/tags" Target="../tags/tag127.xml"/><Relationship Id="rId127" Type="http://schemas.openxmlformats.org/officeDocument/2006/relationships/tags" Target="../tags/tag148.xml"/><Relationship Id="rId10" Type="http://schemas.openxmlformats.org/officeDocument/2006/relationships/tags" Target="../tags/tag31.xml"/><Relationship Id="rId31" Type="http://schemas.openxmlformats.org/officeDocument/2006/relationships/tags" Target="../tags/tag52.xml"/><Relationship Id="rId52" Type="http://schemas.openxmlformats.org/officeDocument/2006/relationships/tags" Target="../tags/tag73.xml"/><Relationship Id="rId73" Type="http://schemas.openxmlformats.org/officeDocument/2006/relationships/tags" Target="../tags/tag94.xml"/><Relationship Id="rId78" Type="http://schemas.openxmlformats.org/officeDocument/2006/relationships/tags" Target="../tags/tag99.xml"/><Relationship Id="rId94" Type="http://schemas.openxmlformats.org/officeDocument/2006/relationships/tags" Target="../tags/tag115.xml"/><Relationship Id="rId99" Type="http://schemas.openxmlformats.org/officeDocument/2006/relationships/tags" Target="../tags/tag120.xml"/><Relationship Id="rId101" Type="http://schemas.openxmlformats.org/officeDocument/2006/relationships/tags" Target="../tags/tag122.xml"/><Relationship Id="rId122" Type="http://schemas.openxmlformats.org/officeDocument/2006/relationships/tags" Target="../tags/tag143.xml"/><Relationship Id="rId143" Type="http://schemas.openxmlformats.org/officeDocument/2006/relationships/tags" Target="../tags/tag164.xml"/><Relationship Id="rId148" Type="http://schemas.openxmlformats.org/officeDocument/2006/relationships/tags" Target="../tags/tag169.xml"/><Relationship Id="rId164" Type="http://schemas.openxmlformats.org/officeDocument/2006/relationships/tags" Target="../tags/tag185.xml"/><Relationship Id="rId169" Type="http://schemas.openxmlformats.org/officeDocument/2006/relationships/tags" Target="../tags/tag190.xml"/><Relationship Id="rId185" Type="http://schemas.openxmlformats.org/officeDocument/2006/relationships/tags" Target="../tags/tag206.xml"/><Relationship Id="rId4" Type="http://schemas.openxmlformats.org/officeDocument/2006/relationships/tags" Target="../tags/tag25.xml"/><Relationship Id="rId9" Type="http://schemas.openxmlformats.org/officeDocument/2006/relationships/tags" Target="../tags/tag30.xml"/><Relationship Id="rId180" Type="http://schemas.openxmlformats.org/officeDocument/2006/relationships/tags" Target="../tags/tag201.xml"/><Relationship Id="rId26" Type="http://schemas.openxmlformats.org/officeDocument/2006/relationships/tags" Target="../tags/tag47.xml"/><Relationship Id="rId47" Type="http://schemas.openxmlformats.org/officeDocument/2006/relationships/tags" Target="../tags/tag68.xml"/><Relationship Id="rId68" Type="http://schemas.openxmlformats.org/officeDocument/2006/relationships/tags" Target="../tags/tag89.xml"/><Relationship Id="rId89" Type="http://schemas.openxmlformats.org/officeDocument/2006/relationships/tags" Target="../tags/tag110.xml"/><Relationship Id="rId112" Type="http://schemas.openxmlformats.org/officeDocument/2006/relationships/tags" Target="../tags/tag133.xml"/><Relationship Id="rId133" Type="http://schemas.openxmlformats.org/officeDocument/2006/relationships/tags" Target="../tags/tag154.xml"/><Relationship Id="rId154" Type="http://schemas.openxmlformats.org/officeDocument/2006/relationships/tags" Target="../tags/tag175.xml"/><Relationship Id="rId175" Type="http://schemas.openxmlformats.org/officeDocument/2006/relationships/tags" Target="../tags/tag196.xml"/><Relationship Id="rId196" Type="http://schemas.openxmlformats.org/officeDocument/2006/relationships/oleObject" Target="../embeddings/oleObject3.bin"/><Relationship Id="rId200" Type="http://schemas.openxmlformats.org/officeDocument/2006/relationships/chart" Target="../charts/chart4.xml"/><Relationship Id="rId16" Type="http://schemas.openxmlformats.org/officeDocument/2006/relationships/tags" Target="../tags/tag37.xml"/><Relationship Id="rId37" Type="http://schemas.openxmlformats.org/officeDocument/2006/relationships/tags" Target="../tags/tag58.xml"/><Relationship Id="rId58" Type="http://schemas.openxmlformats.org/officeDocument/2006/relationships/tags" Target="../tags/tag79.xml"/><Relationship Id="rId79" Type="http://schemas.openxmlformats.org/officeDocument/2006/relationships/tags" Target="../tags/tag100.xml"/><Relationship Id="rId102" Type="http://schemas.openxmlformats.org/officeDocument/2006/relationships/tags" Target="../tags/tag123.xml"/><Relationship Id="rId123" Type="http://schemas.openxmlformats.org/officeDocument/2006/relationships/tags" Target="../tags/tag144.xml"/><Relationship Id="rId144" Type="http://schemas.openxmlformats.org/officeDocument/2006/relationships/tags" Target="../tags/tag165.xml"/><Relationship Id="rId90" Type="http://schemas.openxmlformats.org/officeDocument/2006/relationships/tags" Target="../tags/tag111.xml"/><Relationship Id="rId165" Type="http://schemas.openxmlformats.org/officeDocument/2006/relationships/tags" Target="../tags/tag186.xml"/><Relationship Id="rId186" Type="http://schemas.openxmlformats.org/officeDocument/2006/relationships/tags" Target="../tags/tag207.xml"/><Relationship Id="rId27" Type="http://schemas.openxmlformats.org/officeDocument/2006/relationships/tags" Target="../tags/tag48.xml"/><Relationship Id="rId48" Type="http://schemas.openxmlformats.org/officeDocument/2006/relationships/tags" Target="../tags/tag69.xml"/><Relationship Id="rId69" Type="http://schemas.openxmlformats.org/officeDocument/2006/relationships/tags" Target="../tags/tag90.xml"/><Relationship Id="rId113" Type="http://schemas.openxmlformats.org/officeDocument/2006/relationships/tags" Target="../tags/tag134.xml"/><Relationship Id="rId134" Type="http://schemas.openxmlformats.org/officeDocument/2006/relationships/tags" Target="../tags/tag155.xml"/><Relationship Id="rId80" Type="http://schemas.openxmlformats.org/officeDocument/2006/relationships/tags" Target="../tags/tag101.xml"/><Relationship Id="rId155" Type="http://schemas.openxmlformats.org/officeDocument/2006/relationships/tags" Target="../tags/tag176.xml"/><Relationship Id="rId176" Type="http://schemas.openxmlformats.org/officeDocument/2006/relationships/tags" Target="../tags/tag197.xml"/><Relationship Id="rId197" Type="http://schemas.openxmlformats.org/officeDocument/2006/relationships/image" Target="../media/image11.emf"/><Relationship Id="rId201" Type="http://schemas.openxmlformats.org/officeDocument/2006/relationships/chart" Target="../charts/chart5.xml"/><Relationship Id="rId17" Type="http://schemas.openxmlformats.org/officeDocument/2006/relationships/tags" Target="../tags/tag38.xml"/><Relationship Id="rId38" Type="http://schemas.openxmlformats.org/officeDocument/2006/relationships/tags" Target="../tags/tag59.xml"/><Relationship Id="rId59" Type="http://schemas.openxmlformats.org/officeDocument/2006/relationships/tags" Target="../tags/tag80.xml"/><Relationship Id="rId103" Type="http://schemas.openxmlformats.org/officeDocument/2006/relationships/tags" Target="../tags/tag124.xml"/><Relationship Id="rId124" Type="http://schemas.openxmlformats.org/officeDocument/2006/relationships/tags" Target="../tags/tag145.xml"/><Relationship Id="rId70" Type="http://schemas.openxmlformats.org/officeDocument/2006/relationships/tags" Target="../tags/tag91.xml"/><Relationship Id="rId91" Type="http://schemas.openxmlformats.org/officeDocument/2006/relationships/tags" Target="../tags/tag112.xml"/><Relationship Id="rId145" Type="http://schemas.openxmlformats.org/officeDocument/2006/relationships/tags" Target="../tags/tag166.xml"/><Relationship Id="rId166" Type="http://schemas.openxmlformats.org/officeDocument/2006/relationships/tags" Target="../tags/tag187.xml"/><Relationship Id="rId187" Type="http://schemas.openxmlformats.org/officeDocument/2006/relationships/tags" Target="../tags/tag208.xml"/><Relationship Id="rId1" Type="http://schemas.openxmlformats.org/officeDocument/2006/relationships/vmlDrawing" Target="../drawings/vmlDrawing4.vml"/><Relationship Id="rId28" Type="http://schemas.openxmlformats.org/officeDocument/2006/relationships/tags" Target="../tags/tag49.xml"/><Relationship Id="rId49" Type="http://schemas.openxmlformats.org/officeDocument/2006/relationships/tags" Target="../tags/tag70.xml"/><Relationship Id="rId114" Type="http://schemas.openxmlformats.org/officeDocument/2006/relationships/tags" Target="../tags/tag135.xml"/><Relationship Id="rId60" Type="http://schemas.openxmlformats.org/officeDocument/2006/relationships/tags" Target="../tags/tag81.xml"/><Relationship Id="rId81" Type="http://schemas.openxmlformats.org/officeDocument/2006/relationships/tags" Target="../tags/tag102.xml"/><Relationship Id="rId135" Type="http://schemas.openxmlformats.org/officeDocument/2006/relationships/tags" Target="../tags/tag156.xml"/><Relationship Id="rId156" Type="http://schemas.openxmlformats.org/officeDocument/2006/relationships/tags" Target="../tags/tag177.xml"/><Relationship Id="rId177" Type="http://schemas.openxmlformats.org/officeDocument/2006/relationships/tags" Target="../tags/tag198.xml"/><Relationship Id="rId198" Type="http://schemas.openxmlformats.org/officeDocument/2006/relationships/chart" Target="../charts/chart2.xml"/><Relationship Id="rId18" Type="http://schemas.openxmlformats.org/officeDocument/2006/relationships/tags" Target="../tags/tag39.xml"/><Relationship Id="rId39" Type="http://schemas.openxmlformats.org/officeDocument/2006/relationships/tags" Target="../tags/tag60.xml"/><Relationship Id="rId50" Type="http://schemas.openxmlformats.org/officeDocument/2006/relationships/tags" Target="../tags/tag71.xml"/><Relationship Id="rId104" Type="http://schemas.openxmlformats.org/officeDocument/2006/relationships/tags" Target="../tags/tag125.xml"/><Relationship Id="rId125" Type="http://schemas.openxmlformats.org/officeDocument/2006/relationships/tags" Target="../tags/tag146.xml"/><Relationship Id="rId146" Type="http://schemas.openxmlformats.org/officeDocument/2006/relationships/tags" Target="../tags/tag167.xml"/><Relationship Id="rId167" Type="http://schemas.openxmlformats.org/officeDocument/2006/relationships/tags" Target="../tags/tag188.xml"/><Relationship Id="rId188" Type="http://schemas.openxmlformats.org/officeDocument/2006/relationships/tags" Target="../tags/tag209.xml"/><Relationship Id="rId71" Type="http://schemas.openxmlformats.org/officeDocument/2006/relationships/tags" Target="../tags/tag92.xml"/><Relationship Id="rId92" Type="http://schemas.openxmlformats.org/officeDocument/2006/relationships/tags" Target="../tags/tag11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fif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15.jpeg"/><Relationship Id="rId5" Type="http://schemas.openxmlformats.org/officeDocument/2006/relationships/image" Target="../media/image14.jpg"/><Relationship Id="rId4" Type="http://schemas.openxmlformats.org/officeDocument/2006/relationships/image" Target="../media/image13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g"/><Relationship Id="rId2" Type="http://schemas.openxmlformats.org/officeDocument/2006/relationships/image" Target="../media/image17.jpg"/><Relationship Id="rId1" Type="http://schemas.openxmlformats.org/officeDocument/2006/relationships/slideLayout" Target="../slideLayouts/slideLayout6.xml"/><Relationship Id="rId5" Type="http://schemas.openxmlformats.org/officeDocument/2006/relationships/image" Target="../media/image20.png"/><Relationship Id="rId4" Type="http://schemas.openxmlformats.org/officeDocument/2006/relationships/image" Target="../media/image19.jpg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svg"/><Relationship Id="rId3" Type="http://schemas.openxmlformats.org/officeDocument/2006/relationships/image" Target="../media/image21.jpg"/><Relationship Id="rId7" Type="http://schemas.openxmlformats.org/officeDocument/2006/relationships/image" Target="../media/image22.png"/><Relationship Id="rId12" Type="http://schemas.openxmlformats.org/officeDocument/2006/relationships/image" Target="../media/image27.sv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.svg"/><Relationship Id="rId11" Type="http://schemas.openxmlformats.org/officeDocument/2006/relationships/image" Target="../media/image26.png"/><Relationship Id="rId5" Type="http://schemas.openxmlformats.org/officeDocument/2006/relationships/image" Target="../media/image2.png"/><Relationship Id="rId10" Type="http://schemas.openxmlformats.org/officeDocument/2006/relationships/image" Target="../media/image25.svg"/><Relationship Id="rId4" Type="http://schemas.openxmlformats.org/officeDocument/2006/relationships/image" Target="../media/image4.png"/><Relationship Id="rId9" Type="http://schemas.openxmlformats.org/officeDocument/2006/relationships/image" Target="../media/image24.png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Об'єкт 6" hidden="1">
            <a:extLst>
              <a:ext uri="{FF2B5EF4-FFF2-40B4-BE49-F238E27FC236}">
                <a16:creationId xmlns:a16="http://schemas.microsoft.com/office/drawing/2014/main" id="{3B7E6452-D44A-41BC-BFF7-F71A7C4EA3B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508747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9" name="think-cell Slide" r:id="rId5" imgW="425" imgH="424" progId="TCLayout.ActiveDocument.1">
                  <p:embed/>
                </p:oleObj>
              </mc:Choice>
              <mc:Fallback>
                <p:oleObj name="think-cell Slide" r:id="rId5" imgW="425" imgH="42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Заголовок 3"/>
          <p:cNvSpPr>
            <a:spLocks noGrp="1"/>
          </p:cNvSpPr>
          <p:nvPr>
            <p:ph type="ctrTitle"/>
          </p:nvPr>
        </p:nvSpPr>
        <p:spPr>
          <a:xfrm>
            <a:off x="406400" y="2178141"/>
            <a:ext cx="7021748" cy="1754915"/>
          </a:xfrm>
        </p:spPr>
        <p:txBody>
          <a:bodyPr vert="horz">
            <a:noAutofit/>
          </a:bodyPr>
          <a:lstStyle/>
          <a:p>
            <a:pPr algn="l"/>
            <a:r>
              <a:rPr lang="en-US" dirty="0">
                <a:solidFill>
                  <a:schemeClr val="bg1"/>
                </a:solidFill>
                <a:latin typeface="+mj-lt"/>
              </a:rPr>
              <a:t>Ukraine-France</a:t>
            </a:r>
            <a:br>
              <a:rPr lang="en-US" dirty="0">
                <a:solidFill>
                  <a:schemeClr val="bg1"/>
                </a:solidFill>
                <a:latin typeface="+mj-lt"/>
              </a:rPr>
            </a:br>
            <a:r>
              <a:rPr lang="en-US" dirty="0">
                <a:solidFill>
                  <a:schemeClr val="bg1"/>
                </a:solidFill>
                <a:latin typeface="+mj-lt"/>
              </a:rPr>
              <a:t>Forum</a:t>
            </a:r>
            <a:endParaRPr lang="uk-UA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5" name="Подзаголовок 4"/>
          <p:cNvSpPr>
            <a:spLocks noGrp="1"/>
          </p:cNvSpPr>
          <p:nvPr>
            <p:ph type="subTitle" idx="1"/>
          </p:nvPr>
        </p:nvSpPr>
        <p:spPr>
          <a:xfrm>
            <a:off x="479376" y="4257092"/>
            <a:ext cx="5689600" cy="864096"/>
          </a:xfrm>
        </p:spPr>
        <p:txBody>
          <a:bodyPr/>
          <a:lstStyle/>
          <a:p>
            <a:pPr algn="l"/>
            <a:r>
              <a:rPr lang="en-US" sz="2800" b="1" dirty="0" err="1">
                <a:solidFill>
                  <a:schemeClr val="tx1"/>
                </a:solidFill>
              </a:rPr>
              <a:t>Yuriy</a:t>
            </a:r>
            <a:r>
              <a:rPr lang="en-US" sz="2800" b="1" dirty="0">
                <a:solidFill>
                  <a:schemeClr val="tx1"/>
                </a:solidFill>
              </a:rPr>
              <a:t> </a:t>
            </a:r>
            <a:r>
              <a:rPr lang="en-US" sz="2800" b="1" dirty="0" err="1">
                <a:solidFill>
                  <a:schemeClr val="tx1"/>
                </a:solidFill>
              </a:rPr>
              <a:t>Vitrenko</a:t>
            </a:r>
            <a:endParaRPr lang="en-US" sz="2800" b="1" dirty="0">
              <a:solidFill>
                <a:schemeClr val="tx1"/>
              </a:solidFill>
            </a:endParaRPr>
          </a:p>
          <a:p>
            <a:pPr algn="l"/>
            <a:r>
              <a:rPr lang="en-US" sz="2800" dirty="0">
                <a:solidFill>
                  <a:schemeClr val="tx1"/>
                </a:solidFill>
              </a:rPr>
              <a:t>CEO of NAFTOGAZ</a:t>
            </a:r>
            <a:endParaRPr lang="uk-UA" sz="2800" dirty="0">
              <a:solidFill>
                <a:schemeClr val="tx1"/>
              </a:solidFill>
            </a:endParaRPr>
          </a:p>
        </p:txBody>
      </p:sp>
      <p:sp>
        <p:nvSpPr>
          <p:cNvPr id="2" name="Місце для тексту 1"/>
          <p:cNvSpPr>
            <a:spLocks noGrp="1"/>
          </p:cNvSpPr>
          <p:nvPr>
            <p:ph type="body" sz="quarter" idx="4294967295"/>
          </p:nvPr>
        </p:nvSpPr>
        <p:spPr>
          <a:xfrm>
            <a:off x="479376" y="5769260"/>
            <a:ext cx="3722494" cy="368300"/>
          </a:xfrm>
        </p:spPr>
        <p:txBody>
          <a:bodyPr/>
          <a:lstStyle/>
          <a:p>
            <a:r>
              <a:rPr lang="en-US" sz="2400" dirty="0">
                <a:solidFill>
                  <a:schemeClr val="bg1"/>
                </a:solidFill>
              </a:rPr>
              <a:t>10 February 2022</a:t>
            </a:r>
            <a:endParaRPr lang="uk-UA" sz="2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483700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90" name="Об'єкт 189" hidden="1">
            <a:extLst>
              <a:ext uri="{FF2B5EF4-FFF2-40B4-BE49-F238E27FC236}">
                <a16:creationId xmlns:a16="http://schemas.microsoft.com/office/drawing/2014/main" id="{BBB6FAD0-0873-4DFC-B805-33B8CAA8F312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33" name="think-cell Slide" r:id="rId23" imgW="383" imgH="384" progId="TCLayout.ActiveDocument.1">
                  <p:embed/>
                </p:oleObj>
              </mc:Choice>
              <mc:Fallback>
                <p:oleObj name="think-cell Slide" r:id="rId23" imgW="383" imgH="384" progId="TCLayout.ActiveDocument.1">
                  <p:embed/>
                  <p:pic>
                    <p:nvPicPr>
                      <p:cNvPr id="190" name="Об'єкт 189" hidden="1">
                        <a:extLst>
                          <a:ext uri="{FF2B5EF4-FFF2-40B4-BE49-F238E27FC236}">
                            <a16:creationId xmlns:a16="http://schemas.microsoft.com/office/drawing/2014/main" id="{BBB6FAD0-0873-4DFC-B805-33B8CAA8F3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Місце для номера слайда 1">
            <a:extLst>
              <a:ext uri="{FF2B5EF4-FFF2-40B4-BE49-F238E27FC236}">
                <a16:creationId xmlns:a16="http://schemas.microsoft.com/office/drawing/2014/main" id="{8BB4E8AA-C69E-4A70-85E7-C5C0E8EB4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74402" y="6338998"/>
            <a:ext cx="609601" cy="508000"/>
          </a:xfrm>
        </p:spPr>
        <p:txBody>
          <a:bodyPr/>
          <a:lstStyle/>
          <a:p>
            <a:pPr marL="25400"/>
            <a:fld id="{81D60167-4931-47E6-BA6A-407CBD079E47}" type="slidenum">
              <a:rPr lang="uk-UA" spc="-10" smtClean="0"/>
              <a:pPr marL="25400"/>
              <a:t>2</a:t>
            </a:fld>
            <a:endParaRPr lang="uk-UA" spc="-10" dirty="0"/>
          </a:p>
        </p:txBody>
      </p:sp>
      <p:graphicFrame>
        <p:nvGraphicFramePr>
          <p:cNvPr id="389" name="Chart 3">
            <a:extLst>
              <a:ext uri="{FF2B5EF4-FFF2-40B4-BE49-F238E27FC236}">
                <a16:creationId xmlns:a16="http://schemas.microsoft.com/office/drawing/2014/main" id="{F4F15D95-F332-4B8F-8D98-AA90746E5668}"/>
              </a:ext>
            </a:extLst>
          </p:cNvPr>
          <p:cNvGraphicFramePr/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63276553"/>
              </p:ext>
            </p:extLst>
          </p:nvPr>
        </p:nvGraphicFramePr>
        <p:xfrm>
          <a:off x="352628" y="1536928"/>
          <a:ext cx="9028112" cy="45529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5"/>
          </a:graphicData>
        </a:graphic>
      </p:graphicFrame>
      <p:sp>
        <p:nvSpPr>
          <p:cNvPr id="390" name="Місце для тексту 2">
            <a:extLst>
              <a:ext uri="{FF2B5EF4-FFF2-40B4-BE49-F238E27FC236}">
                <a16:creationId xmlns:a16="http://schemas.microsoft.com/office/drawing/2014/main" id="{02E610BC-0DBB-485B-84D2-773366D386CF}"/>
              </a:ext>
            </a:extLst>
          </p:cNvPr>
          <p:cNvSpPr>
            <a:spLocks noGrp="1"/>
          </p:cNvSpPr>
          <p:nvPr>
            <p:custDataLst>
              <p:tags r:id="rId4"/>
            </p:custDataLst>
          </p:nvPr>
        </p:nvSpPr>
        <p:spPr bwMode="gray">
          <a:xfrm>
            <a:off x="614565" y="6047015"/>
            <a:ext cx="3095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8B79494D-A231-4713-A599-183B4A3E9868}" type="datetime'''''''''0''''1''''''''''''''/2''''''''0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01/20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2" name="Місце для тексту 2">
            <a:extLst>
              <a:ext uri="{FF2B5EF4-FFF2-40B4-BE49-F238E27FC236}">
                <a16:creationId xmlns:a16="http://schemas.microsoft.com/office/drawing/2014/main" id="{D754EADF-100F-465F-9A9D-9CC394F74430}"/>
              </a:ext>
            </a:extLst>
          </p:cNvPr>
          <p:cNvSpPr>
            <a:spLocks noGrp="1"/>
          </p:cNvSpPr>
          <p:nvPr>
            <p:custDataLst>
              <p:tags r:id="rId5"/>
            </p:custDataLst>
          </p:nvPr>
        </p:nvSpPr>
        <p:spPr bwMode="gray">
          <a:xfrm>
            <a:off x="4002290" y="6047015"/>
            <a:ext cx="3095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89BC5F9-1875-4F75-8444-8823C633A357}" type="datetime'''''''''''''''''''''''''''''11''''''/2''''''0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1/20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4" name="Місце для тексту 2">
            <a:extLst>
              <a:ext uri="{FF2B5EF4-FFF2-40B4-BE49-F238E27FC236}">
                <a16:creationId xmlns:a16="http://schemas.microsoft.com/office/drawing/2014/main" id="{373FF67C-5236-4E42-A882-5520B67C96B5}"/>
              </a:ext>
            </a:extLst>
          </p:cNvPr>
          <p:cNvSpPr>
            <a:spLocks noGrp="1"/>
          </p:cNvSpPr>
          <p:nvPr>
            <p:custDataLst>
              <p:tags r:id="rId6"/>
            </p:custDataLst>
          </p:nvPr>
        </p:nvSpPr>
        <p:spPr bwMode="gray">
          <a:xfrm>
            <a:off x="1957590" y="6047015"/>
            <a:ext cx="3095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963699E1-DF40-4A96-AF38-7FE0EC5DAB52}" type="datetime'''''''''''0''''''5''''''''''''''''/''''''''''2''''''0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05/20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398" name="Місце для тексту 2">
            <a:extLst>
              <a:ext uri="{FF2B5EF4-FFF2-40B4-BE49-F238E27FC236}">
                <a16:creationId xmlns:a16="http://schemas.microsoft.com/office/drawing/2014/main" id="{F7674357-013A-4F00-99B0-F27598FBFA36}"/>
              </a:ext>
            </a:extLst>
          </p:cNvPr>
          <p:cNvSpPr>
            <a:spLocks noGrp="1"/>
          </p:cNvSpPr>
          <p:nvPr>
            <p:custDataLst>
              <p:tags r:id="rId7"/>
            </p:custDataLst>
          </p:nvPr>
        </p:nvSpPr>
        <p:spPr bwMode="gray">
          <a:xfrm>
            <a:off x="1281315" y="6047015"/>
            <a:ext cx="3095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83EF879A-21B7-4490-8379-F32BBC557F75}" type="datetime'''''''0''''''''''''''''''3/''''2''''''0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03/20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00" name="Holder 3">
            <a:extLst>
              <a:ext uri="{FF2B5EF4-FFF2-40B4-BE49-F238E27FC236}">
                <a16:creationId xmlns:a16="http://schemas.microsoft.com/office/drawing/2014/main" id="{62210A23-0F06-49A5-80D2-9C4C642774D0}"/>
              </a:ext>
            </a:extLst>
          </p:cNvPr>
          <p:cNvSpPr>
            <a:spLocks noGrp="1"/>
          </p:cNvSpPr>
          <p:nvPr>
            <p:custDataLst>
              <p:tags r:id="rId8"/>
            </p:custDataLst>
          </p:nvPr>
        </p:nvSpPr>
        <p:spPr bwMode="gray">
          <a:xfrm>
            <a:off x="4680153" y="6047015"/>
            <a:ext cx="3095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marL="0"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>
              <a:defRPr>
                <a:latin typeface="+mn-lt"/>
                <a:ea typeface="+mn-ea"/>
                <a:cs typeface="+mn-cs"/>
              </a:defRPr>
            </a:lvl2pPr>
            <a:lvl3pPr marL="685800">
              <a:defRPr>
                <a:latin typeface="+mn-lt"/>
                <a:ea typeface="+mn-ea"/>
                <a:cs typeface="+mn-cs"/>
              </a:defRPr>
            </a:lvl3pPr>
            <a:lvl4pPr marL="1028700">
              <a:defRPr>
                <a:latin typeface="+mn-lt"/>
                <a:ea typeface="+mn-ea"/>
                <a:cs typeface="+mn-cs"/>
              </a:defRPr>
            </a:lvl4pPr>
            <a:lvl5pPr marL="1371600">
              <a:defRPr>
                <a:latin typeface="+mn-lt"/>
                <a:ea typeface="+mn-ea"/>
                <a:cs typeface="+mn-cs"/>
              </a:defRPr>
            </a:lvl5pPr>
            <a:lvl6pPr marL="1714500">
              <a:defRPr>
                <a:latin typeface="+mn-lt"/>
                <a:ea typeface="+mn-ea"/>
                <a:cs typeface="+mn-cs"/>
              </a:defRPr>
            </a:lvl6pPr>
            <a:lvl7pPr marL="2057400">
              <a:defRPr>
                <a:latin typeface="+mn-lt"/>
                <a:ea typeface="+mn-ea"/>
                <a:cs typeface="+mn-cs"/>
              </a:defRPr>
            </a:lvl7pPr>
            <a:lvl8pPr marL="2400300">
              <a:defRPr>
                <a:latin typeface="+mn-lt"/>
                <a:ea typeface="+mn-ea"/>
                <a:cs typeface="+mn-cs"/>
              </a:defRPr>
            </a:lvl8pPr>
            <a:lvl9pPr marL="2743200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3F4AA523-CC4B-4DAC-8C1E-5F447295CFE5}" type="datetime'0''''''''''''''''''''''''''''''''1''''''''/''''2''''''''''''1'">
              <a:rPr kumimoji="0" lang="en-US" altLang="en-US" sz="10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01/21</a:t>
            </a:fld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02" name="Місце для тексту 2">
            <a:extLst>
              <a:ext uri="{FF2B5EF4-FFF2-40B4-BE49-F238E27FC236}">
                <a16:creationId xmlns:a16="http://schemas.microsoft.com/office/drawing/2014/main" id="{F1543231-9CD4-43D2-B6A7-CE08A887DD5C}"/>
              </a:ext>
            </a:extLst>
          </p:cNvPr>
          <p:cNvSpPr>
            <a:spLocks noGrp="1"/>
          </p:cNvSpPr>
          <p:nvPr>
            <p:custDataLst>
              <p:tags r:id="rId9"/>
            </p:custDataLst>
          </p:nvPr>
        </p:nvSpPr>
        <p:spPr bwMode="gray">
          <a:xfrm>
            <a:off x="2635453" y="6047015"/>
            <a:ext cx="3095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9C42D579-91E0-4F15-8236-C33F76309E4B}" type="datetime'''0''''7''''''''''/''''''''''''''''2''0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07/20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04" name="Місце для тексту 2">
            <a:extLst>
              <a:ext uri="{FF2B5EF4-FFF2-40B4-BE49-F238E27FC236}">
                <a16:creationId xmlns:a16="http://schemas.microsoft.com/office/drawing/2014/main" id="{E7430E67-E020-47E8-85BC-2DFE73A79C59}"/>
              </a:ext>
            </a:extLst>
          </p:cNvPr>
          <p:cNvSpPr>
            <a:spLocks noGrp="1"/>
          </p:cNvSpPr>
          <p:nvPr>
            <p:custDataLst>
              <p:tags r:id="rId10"/>
            </p:custDataLst>
          </p:nvPr>
        </p:nvSpPr>
        <p:spPr bwMode="gray">
          <a:xfrm>
            <a:off x="5334203" y="6047015"/>
            <a:ext cx="3095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DFB415CB-18D6-4AB8-B7AD-DB0EF558CAA4}" type="datetime'0''3''''''''''''''''''''''''/2''''''''''''''1''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03/21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05" name="Місце для тексту 2">
            <a:extLst>
              <a:ext uri="{FF2B5EF4-FFF2-40B4-BE49-F238E27FC236}">
                <a16:creationId xmlns:a16="http://schemas.microsoft.com/office/drawing/2014/main" id="{E47463D7-800B-4735-B7F5-163D82730176}"/>
              </a:ext>
            </a:extLst>
          </p:cNvPr>
          <p:cNvSpPr>
            <a:spLocks noGrp="1"/>
          </p:cNvSpPr>
          <p:nvPr>
            <p:custDataLst>
              <p:tags r:id="rId11"/>
            </p:custDataLst>
          </p:nvPr>
        </p:nvSpPr>
        <p:spPr bwMode="gray">
          <a:xfrm>
            <a:off x="3324428" y="6047015"/>
            <a:ext cx="3095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26EBFF8-959E-47D4-81FB-7FE380B542F2}" type="datetime'0''''9''''''/''''''''2''0''''''''''''''''''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09/20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08" name="Місце для тексту 2">
            <a:extLst>
              <a:ext uri="{FF2B5EF4-FFF2-40B4-BE49-F238E27FC236}">
                <a16:creationId xmlns:a16="http://schemas.microsoft.com/office/drawing/2014/main" id="{61D733AD-52BB-4FA3-B7F0-08C709E1416A}"/>
              </a:ext>
            </a:extLst>
          </p:cNvPr>
          <p:cNvSpPr>
            <a:spLocks noGrp="1"/>
          </p:cNvSpPr>
          <p:nvPr>
            <p:custDataLst>
              <p:tags r:id="rId12"/>
            </p:custDataLst>
          </p:nvPr>
        </p:nvSpPr>
        <p:spPr bwMode="gray">
          <a:xfrm>
            <a:off x="6012065" y="6047015"/>
            <a:ext cx="3095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07FF138-A628-42B4-9802-CAFDC81CF287}" type="datetime'''0''''5''''''''''''/''''''2''''''''''''1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05/21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0" name="Holder 3">
            <a:extLst>
              <a:ext uri="{FF2B5EF4-FFF2-40B4-BE49-F238E27FC236}">
                <a16:creationId xmlns:a16="http://schemas.microsoft.com/office/drawing/2014/main" id="{F3F3A49F-AF64-4D76-A6CF-A3623BC1B2DD}"/>
              </a:ext>
            </a:extLst>
          </p:cNvPr>
          <p:cNvSpPr>
            <a:spLocks noGrp="1"/>
          </p:cNvSpPr>
          <p:nvPr>
            <p:custDataLst>
              <p:tags r:id="rId13"/>
            </p:custDataLst>
          </p:nvPr>
        </p:nvSpPr>
        <p:spPr bwMode="gray">
          <a:xfrm>
            <a:off x="6689928" y="6047015"/>
            <a:ext cx="3095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t" anchorCtr="0">
            <a:noAutofit/>
          </a:bodyPr>
          <a:lstStyle>
            <a:lvl1pPr marL="0"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>
              <a:defRPr>
                <a:latin typeface="+mn-lt"/>
                <a:ea typeface="+mn-ea"/>
                <a:cs typeface="+mn-cs"/>
              </a:defRPr>
            </a:lvl2pPr>
            <a:lvl3pPr marL="685800">
              <a:defRPr>
                <a:latin typeface="+mn-lt"/>
                <a:ea typeface="+mn-ea"/>
                <a:cs typeface="+mn-cs"/>
              </a:defRPr>
            </a:lvl3pPr>
            <a:lvl4pPr marL="1028700">
              <a:defRPr>
                <a:latin typeface="+mn-lt"/>
                <a:ea typeface="+mn-ea"/>
                <a:cs typeface="+mn-cs"/>
              </a:defRPr>
            </a:lvl4pPr>
            <a:lvl5pPr marL="1371600">
              <a:defRPr>
                <a:latin typeface="+mn-lt"/>
                <a:ea typeface="+mn-ea"/>
                <a:cs typeface="+mn-cs"/>
              </a:defRPr>
            </a:lvl5pPr>
            <a:lvl6pPr marL="1714500">
              <a:defRPr>
                <a:latin typeface="+mn-lt"/>
                <a:ea typeface="+mn-ea"/>
                <a:cs typeface="+mn-cs"/>
              </a:defRPr>
            </a:lvl6pPr>
            <a:lvl7pPr marL="2057400">
              <a:defRPr>
                <a:latin typeface="+mn-lt"/>
                <a:ea typeface="+mn-ea"/>
                <a:cs typeface="+mn-cs"/>
              </a:defRPr>
            </a:lvl7pPr>
            <a:lvl8pPr marL="2400300">
              <a:defRPr>
                <a:latin typeface="+mn-lt"/>
                <a:ea typeface="+mn-ea"/>
                <a:cs typeface="+mn-cs"/>
              </a:defRPr>
            </a:lvl8pPr>
            <a:lvl9pPr marL="2743200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04B83A82-8963-4F81-BF9A-94A51C96C655}" type="datetime'''''''''0''''''''''''7''''/''2''''''''1'''">
              <a:rPr kumimoji="0" lang="en-US" altLang="en-US" sz="10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07/21</a:t>
            </a:fld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1" name="Місце для тексту 2">
            <a:extLst>
              <a:ext uri="{FF2B5EF4-FFF2-40B4-BE49-F238E27FC236}">
                <a16:creationId xmlns:a16="http://schemas.microsoft.com/office/drawing/2014/main" id="{650D3FB8-73A3-44C7-9DC7-2DA5C5C8B587}"/>
              </a:ext>
            </a:extLst>
          </p:cNvPr>
          <p:cNvSpPr>
            <a:spLocks noGrp="1"/>
          </p:cNvSpPr>
          <p:nvPr>
            <p:custDataLst>
              <p:tags r:id="rId14"/>
            </p:custDataLst>
          </p:nvPr>
        </p:nvSpPr>
        <p:spPr bwMode="gray">
          <a:xfrm>
            <a:off x="7378903" y="6047015"/>
            <a:ext cx="3095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830963F3-5D78-4270-B815-47CE60309942}" type="datetime'0''9''''/''''2''''''''''''''''''''1''''''''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09/21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2" name="Місце для тексту 2">
            <a:extLst>
              <a:ext uri="{FF2B5EF4-FFF2-40B4-BE49-F238E27FC236}">
                <a16:creationId xmlns:a16="http://schemas.microsoft.com/office/drawing/2014/main" id="{05150397-C3EE-47BA-97E5-2FF0BD962AD2}"/>
              </a:ext>
            </a:extLst>
          </p:cNvPr>
          <p:cNvSpPr>
            <a:spLocks noGrp="1"/>
          </p:cNvSpPr>
          <p:nvPr>
            <p:custDataLst>
              <p:tags r:id="rId15"/>
            </p:custDataLst>
          </p:nvPr>
        </p:nvSpPr>
        <p:spPr bwMode="gray">
          <a:xfrm>
            <a:off x="8055178" y="6047015"/>
            <a:ext cx="3095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B1AA3C79-1DA3-4386-8FCB-4C3E0599C1D8}" type="datetime'''''''1''''''''''''''''1''''''/''2''''''''''''''1''''''''''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11/21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3" name="Місце для тексту 2">
            <a:extLst>
              <a:ext uri="{FF2B5EF4-FFF2-40B4-BE49-F238E27FC236}">
                <a16:creationId xmlns:a16="http://schemas.microsoft.com/office/drawing/2014/main" id="{38F4D971-6259-45B8-9BCB-D255D89B485C}"/>
              </a:ext>
            </a:extLst>
          </p:cNvPr>
          <p:cNvSpPr>
            <a:spLocks noGrp="1"/>
          </p:cNvSpPr>
          <p:nvPr>
            <p:custDataLst>
              <p:tags r:id="rId16"/>
            </p:custDataLst>
          </p:nvPr>
        </p:nvSpPr>
        <p:spPr bwMode="gray">
          <a:xfrm>
            <a:off x="8733040" y="6047015"/>
            <a:ext cx="30956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EC83F9B3-EC28-4119-8E05-909243B940DF}" type="datetime'''''0''''''''''''''''1''''/2''''''''''2'''">
              <a:rPr kumimoji="0" lang="en-US" altLang="en-US" sz="10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01/22</a:t>
            </a:fld>
            <a:endParaRPr kumimoji="0" lang="en-US" sz="1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cxnSp>
        <p:nvCxnSpPr>
          <p:cNvPr id="414" name="Пряма сполучна лінія 39">
            <a:extLst>
              <a:ext uri="{FF2B5EF4-FFF2-40B4-BE49-F238E27FC236}">
                <a16:creationId xmlns:a16="http://schemas.microsoft.com/office/drawing/2014/main" id="{1E23D3EC-91AD-4B6B-AB32-FFEC1846A50B}"/>
              </a:ext>
            </a:extLst>
          </p:cNvPr>
          <p:cNvCxnSpPr>
            <a:cxnSpLocks/>
          </p:cNvCxnSpPr>
          <p:nvPr>
            <p:custDataLst>
              <p:tags r:id="rId17"/>
            </p:custDataLst>
          </p:nvPr>
        </p:nvCxnSpPr>
        <p:spPr bwMode="auto">
          <a:xfrm flipV="1">
            <a:off x="779665" y="4859849"/>
            <a:ext cx="6375557" cy="737905"/>
          </a:xfrm>
          <a:prstGeom prst="line">
            <a:avLst/>
          </a:prstGeom>
          <a:noFill/>
          <a:ln w="47625" cap="flat" cmpd="sng" algn="ctr">
            <a:solidFill>
              <a:srgbClr val="EF7D24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</p:cxnSp>
      <p:cxnSp>
        <p:nvCxnSpPr>
          <p:cNvPr id="415" name="Пряма сполучна лінія 49">
            <a:extLst>
              <a:ext uri="{FF2B5EF4-FFF2-40B4-BE49-F238E27FC236}">
                <a16:creationId xmlns:a16="http://schemas.microsoft.com/office/drawing/2014/main" id="{569BE451-0773-49BE-A2B0-6CB29FC2C279}"/>
              </a:ext>
            </a:extLst>
          </p:cNvPr>
          <p:cNvCxnSpPr>
            <a:cxnSpLocks/>
          </p:cNvCxnSpPr>
          <p:nvPr>
            <p:custDataLst>
              <p:tags r:id="rId18"/>
            </p:custDataLst>
          </p:nvPr>
        </p:nvCxnSpPr>
        <p:spPr bwMode="auto">
          <a:xfrm flipV="1">
            <a:off x="7206457" y="1412776"/>
            <a:ext cx="1546575" cy="3395994"/>
          </a:xfrm>
          <a:prstGeom prst="line">
            <a:avLst/>
          </a:prstGeom>
          <a:noFill/>
          <a:ln w="47625" cap="flat" cmpd="sng" algn="ctr">
            <a:solidFill>
              <a:srgbClr val="EF7D24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</p:cxnSp>
      <p:sp>
        <p:nvSpPr>
          <p:cNvPr id="416" name="Місце для тексту 2">
            <a:extLst>
              <a:ext uri="{FF2B5EF4-FFF2-40B4-BE49-F238E27FC236}">
                <a16:creationId xmlns:a16="http://schemas.microsoft.com/office/drawing/2014/main" id="{E8B85CD7-A5FF-4A63-AC52-5397267C1C36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auto">
          <a:xfrm>
            <a:off x="3662643" y="5034200"/>
            <a:ext cx="609600" cy="454434"/>
          </a:xfrm>
          <a:prstGeom prst="ellipse">
            <a:avLst/>
          </a:prstGeom>
          <a:solidFill>
            <a:sysClr val="window" lastClr="FFFFFF"/>
          </a:solidFill>
          <a:ln w="22225" algn="ctr">
            <a:solidFill>
              <a:srgbClr val="EF7D24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6C1897A1-BC3A-45F2-B72E-8B7C80446A9F}" type="datetime'''''''''''+''''''''''''''2''''''''''6'''''''''">
              <a:rPr kumimoji="0" lang="uk-UA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+26</a:t>
            </a:fld>
            <a:br>
              <a:rPr kumimoji="0" lang="uk-UA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uk-UA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fld id="{18EC9CA2-AAC3-428D-998D-C2C71BDF9C15}" type="datetime'''''+''''''''''''2''''2''''''1''''%'''''''''''''">
              <a:rPr kumimoji="0" lang="uk-UA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+221%</a:t>
            </a:fld>
            <a:r>
              <a:rPr kumimoji="0" lang="uk-UA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uk-UA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17" name="Місце для тексту 2">
            <a:extLst>
              <a:ext uri="{FF2B5EF4-FFF2-40B4-BE49-F238E27FC236}">
                <a16:creationId xmlns:a16="http://schemas.microsoft.com/office/drawing/2014/main" id="{40DE994B-BAC2-4522-A4C8-34B68A0786A7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auto">
          <a:xfrm>
            <a:off x="7655128" y="2791721"/>
            <a:ext cx="609600" cy="442244"/>
          </a:xfrm>
          <a:prstGeom prst="ellipse">
            <a:avLst/>
          </a:prstGeom>
          <a:solidFill>
            <a:sysClr val="window" lastClr="FFFFFF"/>
          </a:solidFill>
          <a:ln w="22225" algn="ctr">
            <a:solidFill>
              <a:srgbClr val="EF7D24"/>
            </a:solidFill>
          </a:ln>
          <a:effectLst/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fld id="{CC8D0FBE-D81C-4418-BDA4-943B4B2012AB}" type="datetime'+''''''1''''''4''''''1'''''''''''''''">
              <a:rPr kumimoji="0" lang="uk-UA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+141</a:t>
            </a:fld>
            <a:br>
              <a:rPr kumimoji="0" lang="uk-UA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br>
            <a:r>
              <a:rPr kumimoji="0" lang="uk-UA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(</a:t>
            </a:r>
            <a:fld id="{800D9CD7-79AF-4923-BF77-F847AA063382}" type="datetime'''''''''''''''''''''''''''+''3''4''''''1''''''''''''%'''''''''">
              <a:rPr kumimoji="0" lang="uk-UA" altLang="en-US" sz="1000" b="1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ctr" defTabSz="914400" rtl="0" eaLnBrk="1" fontAlgn="auto" latinLnBrk="0" hangingPunct="1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 typeface="Arial" panose="020B0604020202020204" pitchFamily="34" charset="0"/>
                <a:buNone/>
                <a:tabLst/>
                <a:defRPr/>
              </a:pPr>
              <a:t>+341%</a:t>
            </a:fld>
            <a:r>
              <a:rPr kumimoji="0" lang="uk-UA" altLang="en-US" sz="10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)</a:t>
            </a:r>
            <a:endParaRPr kumimoji="0" lang="uk-UA" sz="10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2" name="Прямокутник 421">
            <a:extLst>
              <a:ext uri="{FF2B5EF4-FFF2-40B4-BE49-F238E27FC236}">
                <a16:creationId xmlns:a16="http://schemas.microsoft.com/office/drawing/2014/main" id="{12E0E6F1-E8AA-41B1-80AD-ACF483E323E7}"/>
              </a:ext>
            </a:extLst>
          </p:cNvPr>
          <p:cNvSpPr/>
          <p:nvPr/>
        </p:nvSpPr>
        <p:spPr>
          <a:xfrm>
            <a:off x="674688" y="-1312468"/>
            <a:ext cx="9328944" cy="619750"/>
          </a:xfrm>
          <a:prstGeom prst="rect">
            <a:avLst/>
          </a:prstGeom>
          <a:solidFill>
            <a:srgbClr val="00A2D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24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Неринкові дії Газпрому мають вирішальний вплив на ринок</a:t>
            </a:r>
            <a:endParaRPr kumimoji="0" lang="uk-UA" sz="2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23" name="Прямокутник 422">
            <a:extLst>
              <a:ext uri="{FF2B5EF4-FFF2-40B4-BE49-F238E27FC236}">
                <a16:creationId xmlns:a16="http://schemas.microsoft.com/office/drawing/2014/main" id="{9343B16F-5CC8-462C-9AD0-F5F01FBAD3A9}"/>
              </a:ext>
            </a:extLst>
          </p:cNvPr>
          <p:cNvSpPr/>
          <p:nvPr/>
        </p:nvSpPr>
        <p:spPr>
          <a:xfrm>
            <a:off x="951199" y="1500033"/>
            <a:ext cx="4692567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</a:rPr>
              <a:t>Dynamics of the spot index TTF</a:t>
            </a:r>
            <a:r>
              <a:rPr kumimoji="0" lang="uk-UA" sz="1800" b="1" i="0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</a:rPr>
              <a:t>, </a:t>
            </a:r>
            <a:r>
              <a:rPr kumimoji="0" lang="en-US" sz="1800" b="1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</a:rPr>
              <a:t>euro</a:t>
            </a:r>
            <a:r>
              <a:rPr kumimoji="0" lang="uk-UA" sz="1800" b="1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</a:rPr>
              <a:t>/</a:t>
            </a:r>
            <a:r>
              <a:rPr kumimoji="0" lang="en-US" sz="1800" b="1" u="none" strike="noStrike" kern="0" cap="none" spc="0" normalizeH="0" baseline="0" noProof="0" dirty="0">
                <a:ln>
                  <a:noFill/>
                </a:ln>
                <a:solidFill>
                  <a:schemeClr val="accent1"/>
                </a:solidFill>
                <a:effectLst/>
                <a:uLnTx/>
                <a:uFillTx/>
              </a:rPr>
              <a:t>MWh</a:t>
            </a:r>
            <a:endParaRPr kumimoji="0" lang="uk-UA" sz="1800" b="1" u="none" strike="noStrike" kern="0" cap="none" spc="0" normalizeH="0" baseline="0" noProof="0" dirty="0">
              <a:ln>
                <a:noFill/>
              </a:ln>
              <a:solidFill>
                <a:schemeClr val="accent1"/>
              </a:solidFill>
              <a:effectLst/>
              <a:uLnTx/>
              <a:uFillTx/>
            </a:endParaRPr>
          </a:p>
        </p:txBody>
      </p:sp>
      <p:grpSp>
        <p:nvGrpSpPr>
          <p:cNvPr id="424" name="Групувати 423">
            <a:extLst>
              <a:ext uri="{FF2B5EF4-FFF2-40B4-BE49-F238E27FC236}">
                <a16:creationId xmlns:a16="http://schemas.microsoft.com/office/drawing/2014/main" id="{776D7960-68C7-46A4-B452-6B0C184026E4}"/>
              </a:ext>
            </a:extLst>
          </p:cNvPr>
          <p:cNvGrpSpPr/>
          <p:nvPr/>
        </p:nvGrpSpPr>
        <p:grpSpPr>
          <a:xfrm>
            <a:off x="9672243" y="1214691"/>
            <a:ext cx="2225771" cy="920890"/>
            <a:chOff x="8629403" y="966024"/>
            <a:chExt cx="2326629" cy="920890"/>
          </a:xfrm>
        </p:grpSpPr>
        <p:sp>
          <p:nvSpPr>
            <p:cNvPr id="425" name="Rectangle 27">
              <a:extLst>
                <a:ext uri="{FF2B5EF4-FFF2-40B4-BE49-F238E27FC236}">
                  <a16:creationId xmlns:a16="http://schemas.microsoft.com/office/drawing/2014/main" id="{95B83300-3B26-4E7C-9672-2CA4C563D8E5}"/>
                </a:ext>
              </a:extLst>
            </p:cNvPr>
            <p:cNvSpPr/>
            <p:nvPr/>
          </p:nvSpPr>
          <p:spPr>
            <a:xfrm>
              <a:off x="8760032" y="1089717"/>
              <a:ext cx="2196000" cy="797197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Gazprom's refusal to reserve additional capacity</a:t>
              </a:r>
              <a:endParaRPr kumimoji="0" lang="uk-UA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26" name="Овал 425">
              <a:extLst>
                <a:ext uri="{FF2B5EF4-FFF2-40B4-BE49-F238E27FC236}">
                  <a16:creationId xmlns:a16="http://schemas.microsoft.com/office/drawing/2014/main" id="{1C613CEA-6243-4314-A5E9-659795C72A6D}"/>
                </a:ext>
              </a:extLst>
            </p:cNvPr>
            <p:cNvSpPr/>
            <p:nvPr/>
          </p:nvSpPr>
          <p:spPr>
            <a:xfrm>
              <a:off x="8629403" y="966024"/>
              <a:ext cx="261257" cy="270644"/>
            </a:xfrm>
            <a:prstGeom prst="ellipse">
              <a:avLst/>
            </a:prstGeom>
            <a:solidFill>
              <a:schemeClr val="tx2"/>
            </a:solidFill>
            <a:ln w="1270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uk-UA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1</a:t>
              </a:r>
              <a:endParaRPr kumimoji="0" lang="en-US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cxnSp>
        <p:nvCxnSpPr>
          <p:cNvPr id="427" name="Пряма сполучна лінія 426">
            <a:extLst>
              <a:ext uri="{FF2B5EF4-FFF2-40B4-BE49-F238E27FC236}">
                <a16:creationId xmlns:a16="http://schemas.microsoft.com/office/drawing/2014/main" id="{96E23C25-E45B-4865-AF84-875E52A4D187}"/>
              </a:ext>
            </a:extLst>
          </p:cNvPr>
          <p:cNvCxnSpPr>
            <a:cxnSpLocks/>
          </p:cNvCxnSpPr>
          <p:nvPr/>
        </p:nvCxnSpPr>
        <p:spPr>
          <a:xfrm flipH="1">
            <a:off x="7157190" y="1628682"/>
            <a:ext cx="2473" cy="4358705"/>
          </a:xfrm>
          <a:prstGeom prst="line">
            <a:avLst/>
          </a:prstGeom>
          <a:noFill/>
          <a:ln w="6350" cap="flat" cmpd="sng" algn="ctr">
            <a:solidFill>
              <a:schemeClr val="accent1"/>
            </a:solidFill>
            <a:prstDash val="solid"/>
            <a:miter lim="800000"/>
          </a:ln>
          <a:effectLst/>
        </p:spPr>
      </p:cxnSp>
      <p:sp>
        <p:nvSpPr>
          <p:cNvPr id="428" name="TextBox 427">
            <a:extLst>
              <a:ext uri="{FF2B5EF4-FFF2-40B4-BE49-F238E27FC236}">
                <a16:creationId xmlns:a16="http://schemas.microsoft.com/office/drawing/2014/main" id="{5E3042AA-AD8D-4F92-BE0F-B1EEC544F764}"/>
              </a:ext>
            </a:extLst>
          </p:cNvPr>
          <p:cNvSpPr txBox="1"/>
          <p:nvPr/>
        </p:nvSpPr>
        <p:spPr>
          <a:xfrm>
            <a:off x="4513341" y="5648833"/>
            <a:ext cx="2486578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</a:rPr>
              <a:t>Fundamental reasons</a:t>
            </a:r>
          </a:p>
        </p:txBody>
      </p:sp>
      <p:sp>
        <p:nvSpPr>
          <p:cNvPr id="429" name="TextBox 428">
            <a:extLst>
              <a:ext uri="{FF2B5EF4-FFF2-40B4-BE49-F238E27FC236}">
                <a16:creationId xmlns:a16="http://schemas.microsoft.com/office/drawing/2014/main" id="{43F1C139-6DD7-4DC7-92DA-5B881713D4B7}"/>
              </a:ext>
            </a:extLst>
          </p:cNvPr>
          <p:cNvSpPr txBox="1"/>
          <p:nvPr/>
        </p:nvSpPr>
        <p:spPr>
          <a:xfrm>
            <a:off x="7206457" y="5648833"/>
            <a:ext cx="226155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400" b="0" i="1" u="none" strike="noStrike" kern="0" cap="none" spc="0" normalizeH="0" baseline="0" noProof="0" dirty="0">
                <a:ln>
                  <a:noFill/>
                </a:ln>
                <a:solidFill>
                  <a:srgbClr val="ED7D31"/>
                </a:solidFill>
                <a:effectLst/>
                <a:uLnTx/>
                <a:uFillTx/>
              </a:rPr>
              <a:t>Geopolitical reasons</a:t>
            </a:r>
          </a:p>
        </p:txBody>
      </p:sp>
      <p:sp>
        <p:nvSpPr>
          <p:cNvPr id="430" name="Місце для тексту 85">
            <a:extLst>
              <a:ext uri="{FF2B5EF4-FFF2-40B4-BE49-F238E27FC236}">
                <a16:creationId xmlns:a16="http://schemas.microsoft.com/office/drawing/2014/main" id="{A72FC16E-4F10-4893-BA62-E1002CEDC720}"/>
              </a:ext>
            </a:extLst>
          </p:cNvPr>
          <p:cNvSpPr txBox="1">
            <a:spLocks/>
          </p:cNvSpPr>
          <p:nvPr/>
        </p:nvSpPr>
        <p:spPr>
          <a:xfrm>
            <a:off x="9740477" y="6335368"/>
            <a:ext cx="2260179" cy="219126"/>
          </a:xfrm>
          <a:prstGeom prst="rect">
            <a:avLst/>
          </a:prstGeom>
        </p:spPr>
        <p:txBody>
          <a:bodyPr/>
          <a:lstStyle>
            <a:lvl1pPr marL="0"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>
              <a:defRPr>
                <a:latin typeface="+mn-lt"/>
                <a:ea typeface="+mn-ea"/>
                <a:cs typeface="+mn-cs"/>
              </a:defRPr>
            </a:lvl2pPr>
            <a:lvl3pPr marL="685800">
              <a:defRPr>
                <a:latin typeface="+mn-lt"/>
                <a:ea typeface="+mn-ea"/>
                <a:cs typeface="+mn-cs"/>
              </a:defRPr>
            </a:lvl3pPr>
            <a:lvl4pPr marL="1028700">
              <a:defRPr>
                <a:latin typeface="+mn-lt"/>
                <a:ea typeface="+mn-ea"/>
                <a:cs typeface="+mn-cs"/>
              </a:defRPr>
            </a:lvl4pPr>
            <a:lvl5pPr marL="1371600">
              <a:defRPr>
                <a:latin typeface="+mn-lt"/>
                <a:ea typeface="+mn-ea"/>
                <a:cs typeface="+mn-cs"/>
              </a:defRPr>
            </a:lvl5pPr>
            <a:lvl6pPr marL="1714500">
              <a:defRPr>
                <a:latin typeface="+mn-lt"/>
                <a:ea typeface="+mn-ea"/>
                <a:cs typeface="+mn-cs"/>
              </a:defRPr>
            </a:lvl6pPr>
            <a:lvl7pPr marL="2057400">
              <a:defRPr>
                <a:latin typeface="+mn-lt"/>
                <a:ea typeface="+mn-ea"/>
                <a:cs typeface="+mn-cs"/>
              </a:defRPr>
            </a:lvl7pPr>
            <a:lvl8pPr marL="2400300">
              <a:defRPr>
                <a:latin typeface="+mn-lt"/>
                <a:ea typeface="+mn-ea"/>
                <a:cs typeface="+mn-cs"/>
              </a:defRPr>
            </a:lvl8pPr>
            <a:lvl9pPr marL="2743200">
              <a:defRPr>
                <a:latin typeface="+mn-lt"/>
                <a:ea typeface="+mn-ea"/>
                <a:cs typeface="+mn-cs"/>
              </a:defRPr>
            </a:lvl9pPr>
          </a:lstStyle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1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ource</a:t>
            </a:r>
            <a:r>
              <a:rPr kumimoji="0" lang="uk-UA" sz="900" b="0" i="1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: </a:t>
            </a:r>
            <a:r>
              <a:rPr kumimoji="0" lang="en-US" sz="900" b="0" i="1" u="none" strike="noStrike" kern="0" cap="none" spc="0" normalizeH="0" baseline="0" noProof="0" dirty="0">
                <a:ln>
                  <a:noFill/>
                </a:ln>
                <a:solidFill>
                  <a:prstClr val="black">
                    <a:lumMod val="75000"/>
                    <a:lumOff val="25000"/>
                  </a:prstClr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rgus, Bloomberg</a:t>
            </a:r>
            <a:endParaRPr kumimoji="0" lang="uk-UA" sz="900" b="0" i="1" u="none" strike="noStrike" kern="0" cap="none" spc="0" normalizeH="0" baseline="0" noProof="0" dirty="0">
              <a:ln>
                <a:noFill/>
              </a:ln>
              <a:solidFill>
                <a:prstClr val="black">
                  <a:lumMod val="75000"/>
                  <a:lumOff val="25000"/>
                </a:prstClr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431" name="Групувати 430">
            <a:extLst>
              <a:ext uri="{FF2B5EF4-FFF2-40B4-BE49-F238E27FC236}">
                <a16:creationId xmlns:a16="http://schemas.microsoft.com/office/drawing/2014/main" id="{B6AB59E5-95F2-40A5-82FE-BCCD3DB93F9D}"/>
              </a:ext>
            </a:extLst>
          </p:cNvPr>
          <p:cNvGrpSpPr/>
          <p:nvPr/>
        </p:nvGrpSpPr>
        <p:grpSpPr>
          <a:xfrm>
            <a:off x="9688885" y="2212397"/>
            <a:ext cx="2207654" cy="924728"/>
            <a:chOff x="8651452" y="4799797"/>
            <a:chExt cx="2307691" cy="924728"/>
          </a:xfrm>
        </p:grpSpPr>
        <p:sp>
          <p:nvSpPr>
            <p:cNvPr id="432" name="Rectangle 27">
              <a:extLst>
                <a:ext uri="{FF2B5EF4-FFF2-40B4-BE49-F238E27FC236}">
                  <a16:creationId xmlns:a16="http://schemas.microsoft.com/office/drawing/2014/main" id="{CA996705-CE4D-49F9-8C99-8BFDD453416B}"/>
                </a:ext>
              </a:extLst>
            </p:cNvPr>
            <p:cNvSpPr/>
            <p:nvPr/>
          </p:nvSpPr>
          <p:spPr>
            <a:xfrm>
              <a:off x="8763143" y="4927328"/>
              <a:ext cx="2196000" cy="797197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Positive opinion of the Ministry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of Economy of Germany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on the certification of “NS-2"</a:t>
              </a:r>
              <a:endParaRPr kumimoji="0" lang="uk-UA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3" name="Овал 432">
              <a:extLst>
                <a:ext uri="{FF2B5EF4-FFF2-40B4-BE49-F238E27FC236}">
                  <a16:creationId xmlns:a16="http://schemas.microsoft.com/office/drawing/2014/main" id="{51A461A9-8C1B-4597-92A7-3AFB832631C0}"/>
                </a:ext>
              </a:extLst>
            </p:cNvPr>
            <p:cNvSpPr/>
            <p:nvPr/>
          </p:nvSpPr>
          <p:spPr>
            <a:xfrm>
              <a:off x="8651452" y="4799797"/>
              <a:ext cx="261257" cy="277452"/>
            </a:xfrm>
            <a:prstGeom prst="ellipse">
              <a:avLst/>
            </a:prstGeom>
            <a:solidFill>
              <a:schemeClr val="tx2"/>
            </a:solidFill>
            <a:ln w="1270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2</a:t>
              </a:r>
              <a:endParaRPr kumimoji="0" lang="uk-UA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grpSp>
        <p:nvGrpSpPr>
          <p:cNvPr id="434" name="Групувати 433">
            <a:extLst>
              <a:ext uri="{FF2B5EF4-FFF2-40B4-BE49-F238E27FC236}">
                <a16:creationId xmlns:a16="http://schemas.microsoft.com/office/drawing/2014/main" id="{B790DCDC-910F-4B5A-852C-ED6DB6D1270E}"/>
              </a:ext>
            </a:extLst>
          </p:cNvPr>
          <p:cNvGrpSpPr/>
          <p:nvPr/>
        </p:nvGrpSpPr>
        <p:grpSpPr>
          <a:xfrm>
            <a:off x="9672179" y="3214399"/>
            <a:ext cx="2224360" cy="929490"/>
            <a:chOff x="8633989" y="4795035"/>
            <a:chExt cx="2325154" cy="929490"/>
          </a:xfrm>
        </p:grpSpPr>
        <p:sp>
          <p:nvSpPr>
            <p:cNvPr id="435" name="Rectangle 27">
              <a:extLst>
                <a:ext uri="{FF2B5EF4-FFF2-40B4-BE49-F238E27FC236}">
                  <a16:creationId xmlns:a16="http://schemas.microsoft.com/office/drawing/2014/main" id="{56F6DC3A-0E40-45A8-AD12-6B0C51012C59}"/>
                </a:ext>
              </a:extLst>
            </p:cNvPr>
            <p:cNvSpPr/>
            <p:nvPr/>
          </p:nvSpPr>
          <p:spPr>
            <a:xfrm>
              <a:off x="8763143" y="4927328"/>
              <a:ext cx="2196000" cy="797197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Gazprom's refusal to reserve Yamal-Europe facilities</a:t>
              </a:r>
              <a:endParaRPr kumimoji="0" lang="uk-UA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36" name="Овал 435">
              <a:extLst>
                <a:ext uri="{FF2B5EF4-FFF2-40B4-BE49-F238E27FC236}">
                  <a16:creationId xmlns:a16="http://schemas.microsoft.com/office/drawing/2014/main" id="{F687AEF3-35D5-4DA2-BFDE-2962303FB158}"/>
                </a:ext>
              </a:extLst>
            </p:cNvPr>
            <p:cNvSpPr/>
            <p:nvPr/>
          </p:nvSpPr>
          <p:spPr>
            <a:xfrm>
              <a:off x="8633989" y="4795035"/>
              <a:ext cx="261257" cy="277452"/>
            </a:xfrm>
            <a:prstGeom prst="ellipse">
              <a:avLst/>
            </a:prstGeom>
            <a:solidFill>
              <a:schemeClr val="tx2"/>
            </a:solidFill>
            <a:ln w="1270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3</a:t>
              </a:r>
              <a:endParaRPr kumimoji="0" lang="uk-UA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</p:grpSp>
      <p:sp>
        <p:nvSpPr>
          <p:cNvPr id="437" name="Овал 436">
            <a:extLst>
              <a:ext uri="{FF2B5EF4-FFF2-40B4-BE49-F238E27FC236}">
                <a16:creationId xmlns:a16="http://schemas.microsoft.com/office/drawing/2014/main" id="{43632E07-6E6D-402D-8030-0CCC46BDD211}"/>
              </a:ext>
            </a:extLst>
          </p:cNvPr>
          <p:cNvSpPr/>
          <p:nvPr/>
        </p:nvSpPr>
        <p:spPr>
          <a:xfrm>
            <a:off x="7698670" y="4564471"/>
            <a:ext cx="261257" cy="277452"/>
          </a:xfrm>
          <a:prstGeom prst="ellipse">
            <a:avLst/>
          </a:prstGeom>
          <a:solidFill>
            <a:schemeClr val="accent1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38" name="Овал 437">
            <a:extLst>
              <a:ext uri="{FF2B5EF4-FFF2-40B4-BE49-F238E27FC236}">
                <a16:creationId xmlns:a16="http://schemas.microsoft.com/office/drawing/2014/main" id="{1D12FA86-02A3-4F41-8A32-7893DE9A7223}"/>
              </a:ext>
            </a:extLst>
          </p:cNvPr>
          <p:cNvSpPr/>
          <p:nvPr/>
        </p:nvSpPr>
        <p:spPr>
          <a:xfrm>
            <a:off x="7878316" y="4101462"/>
            <a:ext cx="261257" cy="277452"/>
          </a:xfrm>
          <a:prstGeom prst="ellipse">
            <a:avLst/>
          </a:prstGeom>
          <a:solidFill>
            <a:schemeClr val="accent1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1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39" name="Овал 438">
            <a:extLst>
              <a:ext uri="{FF2B5EF4-FFF2-40B4-BE49-F238E27FC236}">
                <a16:creationId xmlns:a16="http://schemas.microsoft.com/office/drawing/2014/main" id="{7C65E794-B99B-441A-B0EF-EA1AF1B7B7EB}"/>
              </a:ext>
            </a:extLst>
          </p:cNvPr>
          <p:cNvSpPr/>
          <p:nvPr/>
        </p:nvSpPr>
        <p:spPr>
          <a:xfrm>
            <a:off x="8177353" y="4517640"/>
            <a:ext cx="261257" cy="277452"/>
          </a:xfrm>
          <a:prstGeom prst="ellipse">
            <a:avLst/>
          </a:prstGeom>
          <a:solidFill>
            <a:schemeClr val="accent1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2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441" name="Овал 440">
            <a:extLst>
              <a:ext uri="{FF2B5EF4-FFF2-40B4-BE49-F238E27FC236}">
                <a16:creationId xmlns:a16="http://schemas.microsoft.com/office/drawing/2014/main" id="{F6B7BC1D-956E-4F27-BCF5-DBCA7EA7E038}"/>
              </a:ext>
            </a:extLst>
          </p:cNvPr>
          <p:cNvSpPr/>
          <p:nvPr/>
        </p:nvSpPr>
        <p:spPr>
          <a:xfrm>
            <a:off x="8415931" y="2791721"/>
            <a:ext cx="261257" cy="277452"/>
          </a:xfrm>
          <a:prstGeom prst="ellipse">
            <a:avLst/>
          </a:prstGeom>
          <a:solidFill>
            <a:schemeClr val="accent1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3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442" name="Групувати 441">
            <a:extLst>
              <a:ext uri="{FF2B5EF4-FFF2-40B4-BE49-F238E27FC236}">
                <a16:creationId xmlns:a16="http://schemas.microsoft.com/office/drawing/2014/main" id="{B6A5E932-A44B-47B9-92CE-BD8B6FF31C33}"/>
              </a:ext>
            </a:extLst>
          </p:cNvPr>
          <p:cNvGrpSpPr/>
          <p:nvPr/>
        </p:nvGrpSpPr>
        <p:grpSpPr>
          <a:xfrm>
            <a:off x="9660396" y="4240255"/>
            <a:ext cx="2230521" cy="930555"/>
            <a:chOff x="8627549" y="4793970"/>
            <a:chExt cx="2331594" cy="930555"/>
          </a:xfrm>
        </p:grpSpPr>
        <p:sp>
          <p:nvSpPr>
            <p:cNvPr id="443" name="Rectangle 27">
              <a:extLst>
                <a:ext uri="{FF2B5EF4-FFF2-40B4-BE49-F238E27FC236}">
                  <a16:creationId xmlns:a16="http://schemas.microsoft.com/office/drawing/2014/main" id="{2B82CB33-B410-40F6-A938-F8E5CF6EE81A}"/>
                </a:ext>
              </a:extLst>
            </p:cNvPr>
            <p:cNvSpPr/>
            <p:nvPr/>
          </p:nvSpPr>
          <p:spPr>
            <a:xfrm>
              <a:off x="8763143" y="4927328"/>
              <a:ext cx="2196000" cy="797197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Redirection of LNG tankers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to Europe</a:t>
              </a:r>
              <a:endParaRPr kumimoji="0" lang="uk-UA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4" name="Овал 443">
              <a:extLst>
                <a:ext uri="{FF2B5EF4-FFF2-40B4-BE49-F238E27FC236}">
                  <a16:creationId xmlns:a16="http://schemas.microsoft.com/office/drawing/2014/main" id="{DF23E398-84EF-46DC-AAE0-8917381F1A99}"/>
                </a:ext>
              </a:extLst>
            </p:cNvPr>
            <p:cNvSpPr/>
            <p:nvPr/>
          </p:nvSpPr>
          <p:spPr>
            <a:xfrm>
              <a:off x="8627549" y="4793970"/>
              <a:ext cx="261257" cy="277452"/>
            </a:xfrm>
            <a:prstGeom prst="ellipse">
              <a:avLst/>
            </a:prstGeom>
            <a:solidFill>
              <a:schemeClr val="tx2"/>
            </a:solidFill>
            <a:ln w="1270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uk-UA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4</a:t>
              </a:r>
            </a:p>
          </p:txBody>
        </p:sp>
      </p:grpSp>
      <p:sp>
        <p:nvSpPr>
          <p:cNvPr id="445" name="Овал 444">
            <a:extLst>
              <a:ext uri="{FF2B5EF4-FFF2-40B4-BE49-F238E27FC236}">
                <a16:creationId xmlns:a16="http://schemas.microsoft.com/office/drawing/2014/main" id="{6340785B-B0D1-4E08-82DE-775C24EF6715}"/>
              </a:ext>
            </a:extLst>
          </p:cNvPr>
          <p:cNvSpPr/>
          <p:nvPr/>
        </p:nvSpPr>
        <p:spPr>
          <a:xfrm>
            <a:off x="8847644" y="2443428"/>
            <a:ext cx="261257" cy="277452"/>
          </a:xfrm>
          <a:prstGeom prst="ellipse">
            <a:avLst/>
          </a:prstGeom>
          <a:solidFill>
            <a:schemeClr val="accent1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4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grpSp>
        <p:nvGrpSpPr>
          <p:cNvPr id="446" name="Групувати 445">
            <a:extLst>
              <a:ext uri="{FF2B5EF4-FFF2-40B4-BE49-F238E27FC236}">
                <a16:creationId xmlns:a16="http://schemas.microsoft.com/office/drawing/2014/main" id="{EA73E99C-7C3F-4C2E-A8B9-0B4F21DE0ACC}"/>
              </a:ext>
            </a:extLst>
          </p:cNvPr>
          <p:cNvGrpSpPr/>
          <p:nvPr/>
        </p:nvGrpSpPr>
        <p:grpSpPr>
          <a:xfrm>
            <a:off x="9670524" y="5258168"/>
            <a:ext cx="2220394" cy="914644"/>
            <a:chOff x="8638135" y="4809881"/>
            <a:chExt cx="2321008" cy="914644"/>
          </a:xfrm>
        </p:grpSpPr>
        <p:sp>
          <p:nvSpPr>
            <p:cNvPr id="447" name="Rectangle 27">
              <a:extLst>
                <a:ext uri="{FF2B5EF4-FFF2-40B4-BE49-F238E27FC236}">
                  <a16:creationId xmlns:a16="http://schemas.microsoft.com/office/drawing/2014/main" id="{7A21EC40-688B-4142-86BD-DDE2DF06AB91}"/>
                </a:ext>
              </a:extLst>
            </p:cNvPr>
            <p:cNvSpPr/>
            <p:nvPr/>
          </p:nvSpPr>
          <p:spPr>
            <a:xfrm>
              <a:off x="8763143" y="4927328"/>
              <a:ext cx="2196000" cy="797197"/>
            </a:xfrm>
            <a:prstGeom prst="rect">
              <a:avLst/>
            </a:prstGeom>
            <a:solidFill>
              <a:schemeClr val="accent1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Growth of transit 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US" sz="11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through Ukraine</a:t>
              </a:r>
              <a:endParaRPr kumimoji="0" lang="uk-UA" sz="11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endParaRPr>
            </a:p>
          </p:txBody>
        </p:sp>
        <p:sp>
          <p:nvSpPr>
            <p:cNvPr id="448" name="Овал 447">
              <a:extLst>
                <a:ext uri="{FF2B5EF4-FFF2-40B4-BE49-F238E27FC236}">
                  <a16:creationId xmlns:a16="http://schemas.microsoft.com/office/drawing/2014/main" id="{260587B7-4068-4ED6-BC3D-23205BF56E93}"/>
                </a:ext>
              </a:extLst>
            </p:cNvPr>
            <p:cNvSpPr/>
            <p:nvPr/>
          </p:nvSpPr>
          <p:spPr>
            <a:xfrm>
              <a:off x="8638135" y="4809881"/>
              <a:ext cx="261257" cy="277452"/>
            </a:xfrm>
            <a:prstGeom prst="ellipse">
              <a:avLst/>
            </a:prstGeom>
            <a:solidFill>
              <a:schemeClr val="tx2"/>
            </a:solidFill>
            <a:ln w="12700" cap="flat" cmpd="sng" algn="ctr">
              <a:solidFill>
                <a:sysClr val="window" lastClr="FFFFFF"/>
              </a:solidFill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uk-UA" sz="1600" b="1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rPr>
                <a:t>5</a:t>
              </a:r>
            </a:p>
          </p:txBody>
        </p:sp>
      </p:grpSp>
      <p:sp>
        <p:nvSpPr>
          <p:cNvPr id="449" name="Овал 448">
            <a:extLst>
              <a:ext uri="{FF2B5EF4-FFF2-40B4-BE49-F238E27FC236}">
                <a16:creationId xmlns:a16="http://schemas.microsoft.com/office/drawing/2014/main" id="{D452BEDC-5BE9-4552-AF4B-B985262D4145}"/>
              </a:ext>
            </a:extLst>
          </p:cNvPr>
          <p:cNvSpPr/>
          <p:nvPr/>
        </p:nvSpPr>
        <p:spPr>
          <a:xfrm>
            <a:off x="9219119" y="3795978"/>
            <a:ext cx="261257" cy="277452"/>
          </a:xfrm>
          <a:prstGeom prst="ellipse">
            <a:avLst/>
          </a:prstGeom>
          <a:solidFill>
            <a:schemeClr val="accent1"/>
          </a:solidFill>
          <a:ln w="12700" cap="flat" cmpd="sng" algn="ctr">
            <a:solidFill>
              <a:sysClr val="window" lastClr="FFFFFF"/>
            </a:solidFill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uk-UA" sz="1600" b="1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5</a:t>
            </a:r>
            <a:endParaRPr kumimoji="0" lang="en-US" sz="1600" b="1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52" name="Заголовок 2">
            <a:extLst>
              <a:ext uri="{FF2B5EF4-FFF2-40B4-BE49-F238E27FC236}">
                <a16:creationId xmlns:a16="http://schemas.microsoft.com/office/drawing/2014/main" id="{7C678EB7-3745-4433-9C7B-3F87113D4FEB}"/>
              </a:ext>
            </a:extLst>
          </p:cNvPr>
          <p:cNvSpPr txBox="1">
            <a:spLocks/>
          </p:cNvSpPr>
          <p:nvPr/>
        </p:nvSpPr>
        <p:spPr>
          <a:xfrm>
            <a:off x="-2526" y="359337"/>
            <a:ext cx="9721201" cy="492443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lvl1pPr marL="536575" indent="0">
              <a:defRPr sz="3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534988" defTabSz="914400"/>
            <a:r>
              <a:rPr lang="en-US" dirty="0"/>
              <a:t>The energy crisis in Europe: </a:t>
            </a:r>
            <a:r>
              <a:rPr lang="en-US" dirty="0">
                <a:solidFill>
                  <a:srgbClr val="FF0000"/>
                </a:solidFill>
              </a:rPr>
              <a:t>prices up</a:t>
            </a:r>
            <a:r>
              <a:rPr lang="en-US" dirty="0"/>
              <a:t>,</a:t>
            </a:r>
            <a:r>
              <a:rPr lang="en-US" dirty="0">
                <a:solidFill>
                  <a:srgbClr val="FF0000"/>
                </a:solidFill>
              </a:rPr>
              <a:t> </a:t>
            </a:r>
            <a:r>
              <a:rPr lang="en-US" dirty="0"/>
              <a:t>supplies down</a:t>
            </a:r>
            <a:endParaRPr lang="uk-UA" dirty="0"/>
          </a:p>
        </p:txBody>
      </p:sp>
    </p:spTree>
    <p:extLst>
      <p:ext uri="{BB962C8B-B14F-4D97-AF65-F5344CB8AC3E}">
        <p14:creationId xmlns:p14="http://schemas.microsoft.com/office/powerpoint/2010/main" val="75359921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85" name="Пряма сполучна лінія 284">
            <a:extLst>
              <a:ext uri="{FF2B5EF4-FFF2-40B4-BE49-F238E27FC236}">
                <a16:creationId xmlns:a16="http://schemas.microsoft.com/office/drawing/2014/main" id="{EFC2E7FC-14AA-4D2F-A053-FD1F1532FE87}"/>
              </a:ext>
            </a:extLst>
          </p:cNvPr>
          <p:cNvCxnSpPr>
            <a:cxnSpLocks/>
          </p:cNvCxnSpPr>
          <p:nvPr>
            <p:custDataLst>
              <p:tags r:id="rId2"/>
            </p:custDataLst>
          </p:nvPr>
        </p:nvCxnSpPr>
        <p:spPr bwMode="auto">
          <a:xfrm flipV="1">
            <a:off x="5565207" y="2820016"/>
            <a:ext cx="0" cy="1011238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90" name="Об'єкт 189" hidden="1">
            <a:extLst>
              <a:ext uri="{FF2B5EF4-FFF2-40B4-BE49-F238E27FC236}">
                <a16:creationId xmlns:a16="http://schemas.microsoft.com/office/drawing/2014/main" id="{BBB6FAD0-0873-4DFC-B805-33B8CAA8F312}"/>
              </a:ext>
            </a:extLst>
          </p:cNvPr>
          <p:cNvGraphicFramePr>
            <a:graphicFrameLocks noChangeAspect="1"/>
          </p:cNvGraphicFramePr>
          <p:nvPr>
            <p:custDataLst>
              <p:tags r:id="rId3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7" name="think-cell Slide" r:id="rId196" imgW="383" imgH="384" progId="TCLayout.ActiveDocument.1">
                  <p:embed/>
                </p:oleObj>
              </mc:Choice>
              <mc:Fallback>
                <p:oleObj name="think-cell Slide" r:id="rId196" imgW="383" imgH="384" progId="TCLayout.ActiveDocument.1">
                  <p:embed/>
                  <p:pic>
                    <p:nvPicPr>
                      <p:cNvPr id="190" name="Об'єкт 189" hidden="1">
                        <a:extLst>
                          <a:ext uri="{FF2B5EF4-FFF2-40B4-BE49-F238E27FC236}">
                            <a16:creationId xmlns:a16="http://schemas.microsoft.com/office/drawing/2014/main" id="{BBB6FAD0-0873-4DFC-B805-33B8CAA8F3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Місце для номера слайда 1">
            <a:extLst>
              <a:ext uri="{FF2B5EF4-FFF2-40B4-BE49-F238E27FC236}">
                <a16:creationId xmlns:a16="http://schemas.microsoft.com/office/drawing/2014/main" id="{8BB4E8AA-C69E-4A70-85E7-C5C0E8EB412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74402" y="6338998"/>
            <a:ext cx="609601" cy="508000"/>
          </a:xfrm>
        </p:spPr>
        <p:txBody>
          <a:bodyPr/>
          <a:lstStyle/>
          <a:p>
            <a:pPr marL="25400"/>
            <a:fld id="{81D60167-4931-47E6-BA6A-407CBD079E47}" type="slidenum">
              <a:rPr lang="uk-UA" spc="-10" smtClean="0"/>
              <a:pPr marL="25400"/>
              <a:t>3</a:t>
            </a:fld>
            <a:endParaRPr lang="uk-UA" spc="-10" dirty="0"/>
          </a:p>
        </p:txBody>
      </p:sp>
      <p:sp>
        <p:nvSpPr>
          <p:cNvPr id="147" name="Полілінія: фігура 146">
            <a:extLst>
              <a:ext uri="{FF2B5EF4-FFF2-40B4-BE49-F238E27FC236}">
                <a16:creationId xmlns:a16="http://schemas.microsoft.com/office/drawing/2014/main" id="{A93F8406-B51D-4F3E-95A3-15988F76E125}"/>
              </a:ext>
            </a:extLst>
          </p:cNvPr>
          <p:cNvSpPr/>
          <p:nvPr/>
        </p:nvSpPr>
        <p:spPr>
          <a:xfrm>
            <a:off x="6755384" y="2003624"/>
            <a:ext cx="3915912" cy="2411091"/>
          </a:xfrm>
          <a:custGeom>
            <a:avLst/>
            <a:gdLst>
              <a:gd name="connsiteX0" fmla="*/ 6350 w 3898900"/>
              <a:gd name="connsiteY0" fmla="*/ 0 h 2254250"/>
              <a:gd name="connsiteX1" fmla="*/ 273050 w 3898900"/>
              <a:gd name="connsiteY1" fmla="*/ 1162050 h 2254250"/>
              <a:gd name="connsiteX2" fmla="*/ 323850 w 3898900"/>
              <a:gd name="connsiteY2" fmla="*/ 1308100 h 2254250"/>
              <a:gd name="connsiteX3" fmla="*/ 368300 w 3898900"/>
              <a:gd name="connsiteY3" fmla="*/ 1371600 h 2254250"/>
              <a:gd name="connsiteX4" fmla="*/ 419100 w 3898900"/>
              <a:gd name="connsiteY4" fmla="*/ 1314450 h 2254250"/>
              <a:gd name="connsiteX5" fmla="*/ 520700 w 3898900"/>
              <a:gd name="connsiteY5" fmla="*/ 996950 h 2254250"/>
              <a:gd name="connsiteX6" fmla="*/ 590550 w 3898900"/>
              <a:gd name="connsiteY6" fmla="*/ 641350 h 2254250"/>
              <a:gd name="connsiteX7" fmla="*/ 647700 w 3898900"/>
              <a:gd name="connsiteY7" fmla="*/ 444500 h 2254250"/>
              <a:gd name="connsiteX8" fmla="*/ 698500 w 3898900"/>
              <a:gd name="connsiteY8" fmla="*/ 330200 h 2254250"/>
              <a:gd name="connsiteX9" fmla="*/ 730250 w 3898900"/>
              <a:gd name="connsiteY9" fmla="*/ 279400 h 2254250"/>
              <a:gd name="connsiteX10" fmla="*/ 812800 w 3898900"/>
              <a:gd name="connsiteY10" fmla="*/ 298450 h 2254250"/>
              <a:gd name="connsiteX11" fmla="*/ 933450 w 3898900"/>
              <a:gd name="connsiteY11" fmla="*/ 495300 h 2254250"/>
              <a:gd name="connsiteX12" fmla="*/ 984250 w 3898900"/>
              <a:gd name="connsiteY12" fmla="*/ 622300 h 2254250"/>
              <a:gd name="connsiteX13" fmla="*/ 1066800 w 3898900"/>
              <a:gd name="connsiteY13" fmla="*/ 666750 h 2254250"/>
              <a:gd name="connsiteX14" fmla="*/ 1143000 w 3898900"/>
              <a:gd name="connsiteY14" fmla="*/ 622300 h 2254250"/>
              <a:gd name="connsiteX15" fmla="*/ 1231900 w 3898900"/>
              <a:gd name="connsiteY15" fmla="*/ 495300 h 2254250"/>
              <a:gd name="connsiteX16" fmla="*/ 1295400 w 3898900"/>
              <a:gd name="connsiteY16" fmla="*/ 355600 h 2254250"/>
              <a:gd name="connsiteX17" fmla="*/ 1358900 w 3898900"/>
              <a:gd name="connsiteY17" fmla="*/ 292100 h 2254250"/>
              <a:gd name="connsiteX18" fmla="*/ 1403350 w 3898900"/>
              <a:gd name="connsiteY18" fmla="*/ 254000 h 2254250"/>
              <a:gd name="connsiteX19" fmla="*/ 1492250 w 3898900"/>
              <a:gd name="connsiteY19" fmla="*/ 285750 h 2254250"/>
              <a:gd name="connsiteX20" fmla="*/ 1587500 w 3898900"/>
              <a:gd name="connsiteY20" fmla="*/ 438150 h 2254250"/>
              <a:gd name="connsiteX21" fmla="*/ 1676400 w 3898900"/>
              <a:gd name="connsiteY21" fmla="*/ 654050 h 2254250"/>
              <a:gd name="connsiteX22" fmla="*/ 1911350 w 3898900"/>
              <a:gd name="connsiteY22" fmla="*/ 1066800 h 2254250"/>
              <a:gd name="connsiteX23" fmla="*/ 2012950 w 3898900"/>
              <a:gd name="connsiteY23" fmla="*/ 1212850 h 2254250"/>
              <a:gd name="connsiteX24" fmla="*/ 2089150 w 3898900"/>
              <a:gd name="connsiteY24" fmla="*/ 1295400 h 2254250"/>
              <a:gd name="connsiteX25" fmla="*/ 2197100 w 3898900"/>
              <a:gd name="connsiteY25" fmla="*/ 1263650 h 2254250"/>
              <a:gd name="connsiteX26" fmla="*/ 2241550 w 3898900"/>
              <a:gd name="connsiteY26" fmla="*/ 1168400 h 2254250"/>
              <a:gd name="connsiteX27" fmla="*/ 2298700 w 3898900"/>
              <a:gd name="connsiteY27" fmla="*/ 1016000 h 2254250"/>
              <a:gd name="connsiteX28" fmla="*/ 2374900 w 3898900"/>
              <a:gd name="connsiteY28" fmla="*/ 876300 h 2254250"/>
              <a:gd name="connsiteX29" fmla="*/ 2432050 w 3898900"/>
              <a:gd name="connsiteY29" fmla="*/ 787400 h 2254250"/>
              <a:gd name="connsiteX30" fmla="*/ 2482850 w 3898900"/>
              <a:gd name="connsiteY30" fmla="*/ 749300 h 2254250"/>
              <a:gd name="connsiteX31" fmla="*/ 2552700 w 3898900"/>
              <a:gd name="connsiteY31" fmla="*/ 736600 h 2254250"/>
              <a:gd name="connsiteX32" fmla="*/ 2660650 w 3898900"/>
              <a:gd name="connsiteY32" fmla="*/ 781050 h 2254250"/>
              <a:gd name="connsiteX33" fmla="*/ 2762250 w 3898900"/>
              <a:gd name="connsiteY33" fmla="*/ 838200 h 2254250"/>
              <a:gd name="connsiteX34" fmla="*/ 2857500 w 3898900"/>
              <a:gd name="connsiteY34" fmla="*/ 901700 h 2254250"/>
              <a:gd name="connsiteX35" fmla="*/ 3003550 w 3898900"/>
              <a:gd name="connsiteY35" fmla="*/ 920750 h 2254250"/>
              <a:gd name="connsiteX36" fmla="*/ 3181350 w 3898900"/>
              <a:gd name="connsiteY36" fmla="*/ 895350 h 2254250"/>
              <a:gd name="connsiteX37" fmla="*/ 3302000 w 3898900"/>
              <a:gd name="connsiteY37" fmla="*/ 774700 h 2254250"/>
              <a:gd name="connsiteX38" fmla="*/ 3397250 w 3898900"/>
              <a:gd name="connsiteY38" fmla="*/ 628650 h 2254250"/>
              <a:gd name="connsiteX39" fmla="*/ 3492500 w 3898900"/>
              <a:gd name="connsiteY39" fmla="*/ 495300 h 2254250"/>
              <a:gd name="connsiteX40" fmla="*/ 3600450 w 3898900"/>
              <a:gd name="connsiteY40" fmla="*/ 412750 h 2254250"/>
              <a:gd name="connsiteX41" fmla="*/ 3721100 w 3898900"/>
              <a:gd name="connsiteY41" fmla="*/ 406400 h 2254250"/>
              <a:gd name="connsiteX42" fmla="*/ 3898900 w 3898900"/>
              <a:gd name="connsiteY42" fmla="*/ 412750 h 2254250"/>
              <a:gd name="connsiteX43" fmla="*/ 3898900 w 3898900"/>
              <a:gd name="connsiteY43" fmla="*/ 755650 h 2254250"/>
              <a:gd name="connsiteX44" fmla="*/ 3714750 w 3898900"/>
              <a:gd name="connsiteY44" fmla="*/ 958850 h 2254250"/>
              <a:gd name="connsiteX45" fmla="*/ 3575050 w 3898900"/>
              <a:gd name="connsiteY45" fmla="*/ 1098550 h 2254250"/>
              <a:gd name="connsiteX46" fmla="*/ 3505200 w 3898900"/>
              <a:gd name="connsiteY46" fmla="*/ 1155700 h 2254250"/>
              <a:gd name="connsiteX47" fmla="*/ 3346450 w 3898900"/>
              <a:gd name="connsiteY47" fmla="*/ 1155700 h 2254250"/>
              <a:gd name="connsiteX48" fmla="*/ 3225800 w 3898900"/>
              <a:gd name="connsiteY48" fmla="*/ 1181100 h 2254250"/>
              <a:gd name="connsiteX49" fmla="*/ 3117850 w 3898900"/>
              <a:gd name="connsiteY49" fmla="*/ 1295400 h 2254250"/>
              <a:gd name="connsiteX50" fmla="*/ 2959100 w 3898900"/>
              <a:gd name="connsiteY50" fmla="*/ 1587500 h 2254250"/>
              <a:gd name="connsiteX51" fmla="*/ 2819400 w 3898900"/>
              <a:gd name="connsiteY51" fmla="*/ 1847850 h 2254250"/>
              <a:gd name="connsiteX52" fmla="*/ 2635250 w 3898900"/>
              <a:gd name="connsiteY52" fmla="*/ 2127250 h 2254250"/>
              <a:gd name="connsiteX53" fmla="*/ 2470150 w 3898900"/>
              <a:gd name="connsiteY53" fmla="*/ 2228850 h 2254250"/>
              <a:gd name="connsiteX54" fmla="*/ 2362200 w 3898900"/>
              <a:gd name="connsiteY54" fmla="*/ 2254250 h 2254250"/>
              <a:gd name="connsiteX55" fmla="*/ 2063750 w 3898900"/>
              <a:gd name="connsiteY55" fmla="*/ 2178050 h 2254250"/>
              <a:gd name="connsiteX56" fmla="*/ 1828800 w 3898900"/>
              <a:gd name="connsiteY56" fmla="*/ 2070100 h 2254250"/>
              <a:gd name="connsiteX57" fmla="*/ 1657350 w 3898900"/>
              <a:gd name="connsiteY57" fmla="*/ 1917700 h 2254250"/>
              <a:gd name="connsiteX58" fmla="*/ 1581150 w 3898900"/>
              <a:gd name="connsiteY58" fmla="*/ 1797050 h 2254250"/>
              <a:gd name="connsiteX59" fmla="*/ 1498600 w 3898900"/>
              <a:gd name="connsiteY59" fmla="*/ 1720850 h 2254250"/>
              <a:gd name="connsiteX60" fmla="*/ 1428750 w 3898900"/>
              <a:gd name="connsiteY60" fmla="*/ 1720850 h 2254250"/>
              <a:gd name="connsiteX61" fmla="*/ 1358900 w 3898900"/>
              <a:gd name="connsiteY61" fmla="*/ 1778000 h 2254250"/>
              <a:gd name="connsiteX62" fmla="*/ 1308100 w 3898900"/>
              <a:gd name="connsiteY62" fmla="*/ 1873250 h 2254250"/>
              <a:gd name="connsiteX63" fmla="*/ 1219200 w 3898900"/>
              <a:gd name="connsiteY63" fmla="*/ 2019300 h 2254250"/>
              <a:gd name="connsiteX64" fmla="*/ 1155700 w 3898900"/>
              <a:gd name="connsiteY64" fmla="*/ 2159000 h 2254250"/>
              <a:gd name="connsiteX65" fmla="*/ 1079500 w 3898900"/>
              <a:gd name="connsiteY65" fmla="*/ 2209800 h 2254250"/>
              <a:gd name="connsiteX66" fmla="*/ 996950 w 3898900"/>
              <a:gd name="connsiteY66" fmla="*/ 2209800 h 2254250"/>
              <a:gd name="connsiteX67" fmla="*/ 920750 w 3898900"/>
              <a:gd name="connsiteY67" fmla="*/ 2076450 h 2254250"/>
              <a:gd name="connsiteX68" fmla="*/ 882650 w 3898900"/>
              <a:gd name="connsiteY68" fmla="*/ 1949450 h 2254250"/>
              <a:gd name="connsiteX69" fmla="*/ 819150 w 3898900"/>
              <a:gd name="connsiteY69" fmla="*/ 1822450 h 2254250"/>
              <a:gd name="connsiteX70" fmla="*/ 736600 w 3898900"/>
              <a:gd name="connsiteY70" fmla="*/ 1758950 h 2254250"/>
              <a:gd name="connsiteX71" fmla="*/ 654050 w 3898900"/>
              <a:gd name="connsiteY71" fmla="*/ 1758950 h 2254250"/>
              <a:gd name="connsiteX72" fmla="*/ 584200 w 3898900"/>
              <a:gd name="connsiteY72" fmla="*/ 1854200 h 2254250"/>
              <a:gd name="connsiteX73" fmla="*/ 508000 w 3898900"/>
              <a:gd name="connsiteY73" fmla="*/ 1993900 h 2254250"/>
              <a:gd name="connsiteX74" fmla="*/ 463550 w 3898900"/>
              <a:gd name="connsiteY74" fmla="*/ 2095500 h 2254250"/>
              <a:gd name="connsiteX75" fmla="*/ 368300 w 3898900"/>
              <a:gd name="connsiteY75" fmla="*/ 2165350 h 2254250"/>
              <a:gd name="connsiteX76" fmla="*/ 273050 w 3898900"/>
              <a:gd name="connsiteY76" fmla="*/ 2152650 h 2254250"/>
              <a:gd name="connsiteX77" fmla="*/ 184150 w 3898900"/>
              <a:gd name="connsiteY77" fmla="*/ 2044700 h 2254250"/>
              <a:gd name="connsiteX78" fmla="*/ 0 w 3898900"/>
              <a:gd name="connsiteY78" fmla="*/ 1854200 h 2254250"/>
              <a:gd name="connsiteX79" fmla="*/ 6350 w 3898900"/>
              <a:gd name="connsiteY79" fmla="*/ 0 h 2254250"/>
              <a:gd name="connsiteX0" fmla="*/ 6350 w 3898900"/>
              <a:gd name="connsiteY0" fmla="*/ 0 h 2254250"/>
              <a:gd name="connsiteX1" fmla="*/ 273050 w 3898900"/>
              <a:gd name="connsiteY1" fmla="*/ 1162050 h 2254250"/>
              <a:gd name="connsiteX2" fmla="*/ 323850 w 3898900"/>
              <a:gd name="connsiteY2" fmla="*/ 1308100 h 2254250"/>
              <a:gd name="connsiteX3" fmla="*/ 368300 w 3898900"/>
              <a:gd name="connsiteY3" fmla="*/ 1371600 h 2254250"/>
              <a:gd name="connsiteX4" fmla="*/ 419100 w 3898900"/>
              <a:gd name="connsiteY4" fmla="*/ 1314450 h 2254250"/>
              <a:gd name="connsiteX5" fmla="*/ 520700 w 3898900"/>
              <a:gd name="connsiteY5" fmla="*/ 996950 h 2254250"/>
              <a:gd name="connsiteX6" fmla="*/ 590550 w 3898900"/>
              <a:gd name="connsiteY6" fmla="*/ 641350 h 2254250"/>
              <a:gd name="connsiteX7" fmla="*/ 647700 w 3898900"/>
              <a:gd name="connsiteY7" fmla="*/ 444500 h 2254250"/>
              <a:gd name="connsiteX8" fmla="*/ 698500 w 3898900"/>
              <a:gd name="connsiteY8" fmla="*/ 330200 h 2254250"/>
              <a:gd name="connsiteX9" fmla="*/ 730250 w 3898900"/>
              <a:gd name="connsiteY9" fmla="*/ 279400 h 2254250"/>
              <a:gd name="connsiteX10" fmla="*/ 812800 w 3898900"/>
              <a:gd name="connsiteY10" fmla="*/ 298450 h 2254250"/>
              <a:gd name="connsiteX11" fmla="*/ 933450 w 3898900"/>
              <a:gd name="connsiteY11" fmla="*/ 495300 h 2254250"/>
              <a:gd name="connsiteX12" fmla="*/ 984250 w 3898900"/>
              <a:gd name="connsiteY12" fmla="*/ 622300 h 2254250"/>
              <a:gd name="connsiteX13" fmla="*/ 1066800 w 3898900"/>
              <a:gd name="connsiteY13" fmla="*/ 666750 h 2254250"/>
              <a:gd name="connsiteX14" fmla="*/ 1143000 w 3898900"/>
              <a:gd name="connsiteY14" fmla="*/ 622300 h 2254250"/>
              <a:gd name="connsiteX15" fmla="*/ 1231900 w 3898900"/>
              <a:gd name="connsiteY15" fmla="*/ 495300 h 2254250"/>
              <a:gd name="connsiteX16" fmla="*/ 1295400 w 3898900"/>
              <a:gd name="connsiteY16" fmla="*/ 355600 h 2254250"/>
              <a:gd name="connsiteX17" fmla="*/ 1358900 w 3898900"/>
              <a:gd name="connsiteY17" fmla="*/ 292100 h 2254250"/>
              <a:gd name="connsiteX18" fmla="*/ 1403350 w 3898900"/>
              <a:gd name="connsiteY18" fmla="*/ 254000 h 2254250"/>
              <a:gd name="connsiteX19" fmla="*/ 1492250 w 3898900"/>
              <a:gd name="connsiteY19" fmla="*/ 285750 h 2254250"/>
              <a:gd name="connsiteX20" fmla="*/ 1587500 w 3898900"/>
              <a:gd name="connsiteY20" fmla="*/ 438150 h 2254250"/>
              <a:gd name="connsiteX21" fmla="*/ 1676400 w 3898900"/>
              <a:gd name="connsiteY21" fmla="*/ 654050 h 2254250"/>
              <a:gd name="connsiteX22" fmla="*/ 1911350 w 3898900"/>
              <a:gd name="connsiteY22" fmla="*/ 1066800 h 2254250"/>
              <a:gd name="connsiteX23" fmla="*/ 2012950 w 3898900"/>
              <a:gd name="connsiteY23" fmla="*/ 1212850 h 2254250"/>
              <a:gd name="connsiteX24" fmla="*/ 2089150 w 3898900"/>
              <a:gd name="connsiteY24" fmla="*/ 1295400 h 2254250"/>
              <a:gd name="connsiteX25" fmla="*/ 2197100 w 3898900"/>
              <a:gd name="connsiteY25" fmla="*/ 1263650 h 2254250"/>
              <a:gd name="connsiteX26" fmla="*/ 2241550 w 3898900"/>
              <a:gd name="connsiteY26" fmla="*/ 1168400 h 2254250"/>
              <a:gd name="connsiteX27" fmla="*/ 2298700 w 3898900"/>
              <a:gd name="connsiteY27" fmla="*/ 1016000 h 2254250"/>
              <a:gd name="connsiteX28" fmla="*/ 2374900 w 3898900"/>
              <a:gd name="connsiteY28" fmla="*/ 876300 h 2254250"/>
              <a:gd name="connsiteX29" fmla="*/ 2432050 w 3898900"/>
              <a:gd name="connsiteY29" fmla="*/ 787400 h 2254250"/>
              <a:gd name="connsiteX30" fmla="*/ 2482850 w 3898900"/>
              <a:gd name="connsiteY30" fmla="*/ 749300 h 2254250"/>
              <a:gd name="connsiteX31" fmla="*/ 2552700 w 3898900"/>
              <a:gd name="connsiteY31" fmla="*/ 736600 h 2254250"/>
              <a:gd name="connsiteX32" fmla="*/ 2660650 w 3898900"/>
              <a:gd name="connsiteY32" fmla="*/ 781050 h 2254250"/>
              <a:gd name="connsiteX33" fmla="*/ 2762250 w 3898900"/>
              <a:gd name="connsiteY33" fmla="*/ 838200 h 2254250"/>
              <a:gd name="connsiteX34" fmla="*/ 2857500 w 3898900"/>
              <a:gd name="connsiteY34" fmla="*/ 901700 h 2254250"/>
              <a:gd name="connsiteX35" fmla="*/ 3003550 w 3898900"/>
              <a:gd name="connsiteY35" fmla="*/ 920750 h 2254250"/>
              <a:gd name="connsiteX36" fmla="*/ 3181350 w 3898900"/>
              <a:gd name="connsiteY36" fmla="*/ 895350 h 2254250"/>
              <a:gd name="connsiteX37" fmla="*/ 3302000 w 3898900"/>
              <a:gd name="connsiteY37" fmla="*/ 774700 h 2254250"/>
              <a:gd name="connsiteX38" fmla="*/ 3397250 w 3898900"/>
              <a:gd name="connsiteY38" fmla="*/ 628650 h 2254250"/>
              <a:gd name="connsiteX39" fmla="*/ 3492500 w 3898900"/>
              <a:gd name="connsiteY39" fmla="*/ 495300 h 2254250"/>
              <a:gd name="connsiteX40" fmla="*/ 3600450 w 3898900"/>
              <a:gd name="connsiteY40" fmla="*/ 412750 h 2254250"/>
              <a:gd name="connsiteX41" fmla="*/ 3721100 w 3898900"/>
              <a:gd name="connsiteY41" fmla="*/ 406400 h 2254250"/>
              <a:gd name="connsiteX42" fmla="*/ 3898900 w 3898900"/>
              <a:gd name="connsiteY42" fmla="*/ 412750 h 2254250"/>
              <a:gd name="connsiteX43" fmla="*/ 3898900 w 3898900"/>
              <a:gd name="connsiteY43" fmla="*/ 755650 h 2254250"/>
              <a:gd name="connsiteX44" fmla="*/ 3714750 w 3898900"/>
              <a:gd name="connsiteY44" fmla="*/ 958850 h 2254250"/>
              <a:gd name="connsiteX45" fmla="*/ 3575050 w 3898900"/>
              <a:gd name="connsiteY45" fmla="*/ 1098550 h 2254250"/>
              <a:gd name="connsiteX46" fmla="*/ 3505200 w 3898900"/>
              <a:gd name="connsiteY46" fmla="*/ 1155700 h 2254250"/>
              <a:gd name="connsiteX47" fmla="*/ 3346450 w 3898900"/>
              <a:gd name="connsiteY47" fmla="*/ 1155700 h 2254250"/>
              <a:gd name="connsiteX48" fmla="*/ 3225800 w 3898900"/>
              <a:gd name="connsiteY48" fmla="*/ 1181100 h 2254250"/>
              <a:gd name="connsiteX49" fmla="*/ 3117850 w 3898900"/>
              <a:gd name="connsiteY49" fmla="*/ 1295400 h 2254250"/>
              <a:gd name="connsiteX50" fmla="*/ 2959100 w 3898900"/>
              <a:gd name="connsiteY50" fmla="*/ 1587500 h 2254250"/>
              <a:gd name="connsiteX51" fmla="*/ 2819400 w 3898900"/>
              <a:gd name="connsiteY51" fmla="*/ 1847850 h 2254250"/>
              <a:gd name="connsiteX52" fmla="*/ 2635250 w 3898900"/>
              <a:gd name="connsiteY52" fmla="*/ 2127250 h 2254250"/>
              <a:gd name="connsiteX53" fmla="*/ 2470150 w 3898900"/>
              <a:gd name="connsiteY53" fmla="*/ 2228850 h 2254250"/>
              <a:gd name="connsiteX54" fmla="*/ 2362200 w 3898900"/>
              <a:gd name="connsiteY54" fmla="*/ 2254250 h 2254250"/>
              <a:gd name="connsiteX55" fmla="*/ 2063750 w 3898900"/>
              <a:gd name="connsiteY55" fmla="*/ 2178050 h 2254250"/>
              <a:gd name="connsiteX56" fmla="*/ 1828800 w 3898900"/>
              <a:gd name="connsiteY56" fmla="*/ 2070100 h 2254250"/>
              <a:gd name="connsiteX57" fmla="*/ 1657350 w 3898900"/>
              <a:gd name="connsiteY57" fmla="*/ 1917700 h 2254250"/>
              <a:gd name="connsiteX58" fmla="*/ 1581150 w 3898900"/>
              <a:gd name="connsiteY58" fmla="*/ 1797050 h 2254250"/>
              <a:gd name="connsiteX59" fmla="*/ 1498600 w 3898900"/>
              <a:gd name="connsiteY59" fmla="*/ 1720850 h 2254250"/>
              <a:gd name="connsiteX60" fmla="*/ 1428750 w 3898900"/>
              <a:gd name="connsiteY60" fmla="*/ 1720850 h 2254250"/>
              <a:gd name="connsiteX61" fmla="*/ 1358900 w 3898900"/>
              <a:gd name="connsiteY61" fmla="*/ 1778000 h 2254250"/>
              <a:gd name="connsiteX62" fmla="*/ 1308100 w 3898900"/>
              <a:gd name="connsiteY62" fmla="*/ 1873250 h 2254250"/>
              <a:gd name="connsiteX63" fmla="*/ 1219200 w 3898900"/>
              <a:gd name="connsiteY63" fmla="*/ 2019300 h 2254250"/>
              <a:gd name="connsiteX64" fmla="*/ 1155700 w 3898900"/>
              <a:gd name="connsiteY64" fmla="*/ 2159000 h 2254250"/>
              <a:gd name="connsiteX65" fmla="*/ 1079500 w 3898900"/>
              <a:gd name="connsiteY65" fmla="*/ 2209800 h 2254250"/>
              <a:gd name="connsiteX66" fmla="*/ 996950 w 3898900"/>
              <a:gd name="connsiteY66" fmla="*/ 2209800 h 2254250"/>
              <a:gd name="connsiteX67" fmla="*/ 920750 w 3898900"/>
              <a:gd name="connsiteY67" fmla="*/ 2076450 h 2254250"/>
              <a:gd name="connsiteX68" fmla="*/ 882650 w 3898900"/>
              <a:gd name="connsiteY68" fmla="*/ 1949450 h 2254250"/>
              <a:gd name="connsiteX69" fmla="*/ 819150 w 3898900"/>
              <a:gd name="connsiteY69" fmla="*/ 1822450 h 2254250"/>
              <a:gd name="connsiteX70" fmla="*/ 736600 w 3898900"/>
              <a:gd name="connsiteY70" fmla="*/ 1758950 h 2254250"/>
              <a:gd name="connsiteX71" fmla="*/ 654050 w 3898900"/>
              <a:gd name="connsiteY71" fmla="*/ 1758950 h 2254250"/>
              <a:gd name="connsiteX72" fmla="*/ 584200 w 3898900"/>
              <a:gd name="connsiteY72" fmla="*/ 1854200 h 2254250"/>
              <a:gd name="connsiteX73" fmla="*/ 508000 w 3898900"/>
              <a:gd name="connsiteY73" fmla="*/ 1993900 h 2254250"/>
              <a:gd name="connsiteX74" fmla="*/ 463550 w 3898900"/>
              <a:gd name="connsiteY74" fmla="*/ 2095500 h 2254250"/>
              <a:gd name="connsiteX75" fmla="*/ 368300 w 3898900"/>
              <a:gd name="connsiteY75" fmla="*/ 2165350 h 2254250"/>
              <a:gd name="connsiteX76" fmla="*/ 273050 w 3898900"/>
              <a:gd name="connsiteY76" fmla="*/ 2152650 h 2254250"/>
              <a:gd name="connsiteX77" fmla="*/ 184150 w 3898900"/>
              <a:gd name="connsiteY77" fmla="*/ 2044700 h 2254250"/>
              <a:gd name="connsiteX78" fmla="*/ 0 w 3898900"/>
              <a:gd name="connsiteY78" fmla="*/ 1492898 h 2254250"/>
              <a:gd name="connsiteX79" fmla="*/ 6350 w 3898900"/>
              <a:gd name="connsiteY79" fmla="*/ 0 h 2254250"/>
              <a:gd name="connsiteX0" fmla="*/ 6350 w 3898900"/>
              <a:gd name="connsiteY0" fmla="*/ 0 h 2254250"/>
              <a:gd name="connsiteX1" fmla="*/ 273050 w 3898900"/>
              <a:gd name="connsiteY1" fmla="*/ 1162050 h 2254250"/>
              <a:gd name="connsiteX2" fmla="*/ 323850 w 3898900"/>
              <a:gd name="connsiteY2" fmla="*/ 1308100 h 2254250"/>
              <a:gd name="connsiteX3" fmla="*/ 368300 w 3898900"/>
              <a:gd name="connsiteY3" fmla="*/ 1371600 h 2254250"/>
              <a:gd name="connsiteX4" fmla="*/ 419100 w 3898900"/>
              <a:gd name="connsiteY4" fmla="*/ 1314450 h 2254250"/>
              <a:gd name="connsiteX5" fmla="*/ 520700 w 3898900"/>
              <a:gd name="connsiteY5" fmla="*/ 996950 h 2254250"/>
              <a:gd name="connsiteX6" fmla="*/ 590550 w 3898900"/>
              <a:gd name="connsiteY6" fmla="*/ 641350 h 2254250"/>
              <a:gd name="connsiteX7" fmla="*/ 647700 w 3898900"/>
              <a:gd name="connsiteY7" fmla="*/ 444500 h 2254250"/>
              <a:gd name="connsiteX8" fmla="*/ 698500 w 3898900"/>
              <a:gd name="connsiteY8" fmla="*/ 330200 h 2254250"/>
              <a:gd name="connsiteX9" fmla="*/ 730250 w 3898900"/>
              <a:gd name="connsiteY9" fmla="*/ 279400 h 2254250"/>
              <a:gd name="connsiteX10" fmla="*/ 812800 w 3898900"/>
              <a:gd name="connsiteY10" fmla="*/ 298450 h 2254250"/>
              <a:gd name="connsiteX11" fmla="*/ 933450 w 3898900"/>
              <a:gd name="connsiteY11" fmla="*/ 495300 h 2254250"/>
              <a:gd name="connsiteX12" fmla="*/ 984250 w 3898900"/>
              <a:gd name="connsiteY12" fmla="*/ 622300 h 2254250"/>
              <a:gd name="connsiteX13" fmla="*/ 1066800 w 3898900"/>
              <a:gd name="connsiteY13" fmla="*/ 666750 h 2254250"/>
              <a:gd name="connsiteX14" fmla="*/ 1143000 w 3898900"/>
              <a:gd name="connsiteY14" fmla="*/ 622300 h 2254250"/>
              <a:gd name="connsiteX15" fmla="*/ 1231900 w 3898900"/>
              <a:gd name="connsiteY15" fmla="*/ 495300 h 2254250"/>
              <a:gd name="connsiteX16" fmla="*/ 1295400 w 3898900"/>
              <a:gd name="connsiteY16" fmla="*/ 355600 h 2254250"/>
              <a:gd name="connsiteX17" fmla="*/ 1358900 w 3898900"/>
              <a:gd name="connsiteY17" fmla="*/ 292100 h 2254250"/>
              <a:gd name="connsiteX18" fmla="*/ 1403350 w 3898900"/>
              <a:gd name="connsiteY18" fmla="*/ 254000 h 2254250"/>
              <a:gd name="connsiteX19" fmla="*/ 1492250 w 3898900"/>
              <a:gd name="connsiteY19" fmla="*/ 285750 h 2254250"/>
              <a:gd name="connsiteX20" fmla="*/ 1587500 w 3898900"/>
              <a:gd name="connsiteY20" fmla="*/ 438150 h 2254250"/>
              <a:gd name="connsiteX21" fmla="*/ 1676400 w 3898900"/>
              <a:gd name="connsiteY21" fmla="*/ 654050 h 2254250"/>
              <a:gd name="connsiteX22" fmla="*/ 1911350 w 3898900"/>
              <a:gd name="connsiteY22" fmla="*/ 1066800 h 2254250"/>
              <a:gd name="connsiteX23" fmla="*/ 2012950 w 3898900"/>
              <a:gd name="connsiteY23" fmla="*/ 1212850 h 2254250"/>
              <a:gd name="connsiteX24" fmla="*/ 2089150 w 3898900"/>
              <a:gd name="connsiteY24" fmla="*/ 1295400 h 2254250"/>
              <a:gd name="connsiteX25" fmla="*/ 2197100 w 3898900"/>
              <a:gd name="connsiteY25" fmla="*/ 1263650 h 2254250"/>
              <a:gd name="connsiteX26" fmla="*/ 2241550 w 3898900"/>
              <a:gd name="connsiteY26" fmla="*/ 1168400 h 2254250"/>
              <a:gd name="connsiteX27" fmla="*/ 2298700 w 3898900"/>
              <a:gd name="connsiteY27" fmla="*/ 1016000 h 2254250"/>
              <a:gd name="connsiteX28" fmla="*/ 2374900 w 3898900"/>
              <a:gd name="connsiteY28" fmla="*/ 876300 h 2254250"/>
              <a:gd name="connsiteX29" fmla="*/ 2432050 w 3898900"/>
              <a:gd name="connsiteY29" fmla="*/ 787400 h 2254250"/>
              <a:gd name="connsiteX30" fmla="*/ 2482850 w 3898900"/>
              <a:gd name="connsiteY30" fmla="*/ 749300 h 2254250"/>
              <a:gd name="connsiteX31" fmla="*/ 2552700 w 3898900"/>
              <a:gd name="connsiteY31" fmla="*/ 736600 h 2254250"/>
              <a:gd name="connsiteX32" fmla="*/ 2660650 w 3898900"/>
              <a:gd name="connsiteY32" fmla="*/ 781050 h 2254250"/>
              <a:gd name="connsiteX33" fmla="*/ 2762250 w 3898900"/>
              <a:gd name="connsiteY33" fmla="*/ 838200 h 2254250"/>
              <a:gd name="connsiteX34" fmla="*/ 2857500 w 3898900"/>
              <a:gd name="connsiteY34" fmla="*/ 901700 h 2254250"/>
              <a:gd name="connsiteX35" fmla="*/ 3003550 w 3898900"/>
              <a:gd name="connsiteY35" fmla="*/ 920750 h 2254250"/>
              <a:gd name="connsiteX36" fmla="*/ 3181350 w 3898900"/>
              <a:gd name="connsiteY36" fmla="*/ 895350 h 2254250"/>
              <a:gd name="connsiteX37" fmla="*/ 3302000 w 3898900"/>
              <a:gd name="connsiteY37" fmla="*/ 774700 h 2254250"/>
              <a:gd name="connsiteX38" fmla="*/ 3397250 w 3898900"/>
              <a:gd name="connsiteY38" fmla="*/ 628650 h 2254250"/>
              <a:gd name="connsiteX39" fmla="*/ 3492500 w 3898900"/>
              <a:gd name="connsiteY39" fmla="*/ 495300 h 2254250"/>
              <a:gd name="connsiteX40" fmla="*/ 3600450 w 3898900"/>
              <a:gd name="connsiteY40" fmla="*/ 412750 h 2254250"/>
              <a:gd name="connsiteX41" fmla="*/ 3721100 w 3898900"/>
              <a:gd name="connsiteY41" fmla="*/ 406400 h 2254250"/>
              <a:gd name="connsiteX42" fmla="*/ 3898900 w 3898900"/>
              <a:gd name="connsiteY42" fmla="*/ 412750 h 2254250"/>
              <a:gd name="connsiteX43" fmla="*/ 3898900 w 3898900"/>
              <a:gd name="connsiteY43" fmla="*/ 755650 h 2254250"/>
              <a:gd name="connsiteX44" fmla="*/ 3714750 w 3898900"/>
              <a:gd name="connsiteY44" fmla="*/ 958850 h 2254250"/>
              <a:gd name="connsiteX45" fmla="*/ 3575050 w 3898900"/>
              <a:gd name="connsiteY45" fmla="*/ 1098550 h 2254250"/>
              <a:gd name="connsiteX46" fmla="*/ 3505200 w 3898900"/>
              <a:gd name="connsiteY46" fmla="*/ 1155700 h 2254250"/>
              <a:gd name="connsiteX47" fmla="*/ 3346450 w 3898900"/>
              <a:gd name="connsiteY47" fmla="*/ 1155700 h 2254250"/>
              <a:gd name="connsiteX48" fmla="*/ 3225800 w 3898900"/>
              <a:gd name="connsiteY48" fmla="*/ 1181100 h 2254250"/>
              <a:gd name="connsiteX49" fmla="*/ 3117850 w 3898900"/>
              <a:gd name="connsiteY49" fmla="*/ 1295400 h 2254250"/>
              <a:gd name="connsiteX50" fmla="*/ 2959100 w 3898900"/>
              <a:gd name="connsiteY50" fmla="*/ 1587500 h 2254250"/>
              <a:gd name="connsiteX51" fmla="*/ 2819400 w 3898900"/>
              <a:gd name="connsiteY51" fmla="*/ 1847850 h 2254250"/>
              <a:gd name="connsiteX52" fmla="*/ 2635250 w 3898900"/>
              <a:gd name="connsiteY52" fmla="*/ 2127250 h 2254250"/>
              <a:gd name="connsiteX53" fmla="*/ 2470150 w 3898900"/>
              <a:gd name="connsiteY53" fmla="*/ 2228850 h 2254250"/>
              <a:gd name="connsiteX54" fmla="*/ 2362200 w 3898900"/>
              <a:gd name="connsiteY54" fmla="*/ 2254250 h 2254250"/>
              <a:gd name="connsiteX55" fmla="*/ 2063750 w 3898900"/>
              <a:gd name="connsiteY55" fmla="*/ 2178050 h 2254250"/>
              <a:gd name="connsiteX56" fmla="*/ 1828800 w 3898900"/>
              <a:gd name="connsiteY56" fmla="*/ 2070100 h 2254250"/>
              <a:gd name="connsiteX57" fmla="*/ 1657350 w 3898900"/>
              <a:gd name="connsiteY57" fmla="*/ 1917700 h 2254250"/>
              <a:gd name="connsiteX58" fmla="*/ 1581150 w 3898900"/>
              <a:gd name="connsiteY58" fmla="*/ 1797050 h 2254250"/>
              <a:gd name="connsiteX59" fmla="*/ 1498600 w 3898900"/>
              <a:gd name="connsiteY59" fmla="*/ 1720850 h 2254250"/>
              <a:gd name="connsiteX60" fmla="*/ 1428750 w 3898900"/>
              <a:gd name="connsiteY60" fmla="*/ 1720850 h 2254250"/>
              <a:gd name="connsiteX61" fmla="*/ 1358900 w 3898900"/>
              <a:gd name="connsiteY61" fmla="*/ 1778000 h 2254250"/>
              <a:gd name="connsiteX62" fmla="*/ 1308100 w 3898900"/>
              <a:gd name="connsiteY62" fmla="*/ 1873250 h 2254250"/>
              <a:gd name="connsiteX63" fmla="*/ 1219200 w 3898900"/>
              <a:gd name="connsiteY63" fmla="*/ 2019300 h 2254250"/>
              <a:gd name="connsiteX64" fmla="*/ 1155700 w 3898900"/>
              <a:gd name="connsiteY64" fmla="*/ 2159000 h 2254250"/>
              <a:gd name="connsiteX65" fmla="*/ 1079500 w 3898900"/>
              <a:gd name="connsiteY65" fmla="*/ 2209800 h 2254250"/>
              <a:gd name="connsiteX66" fmla="*/ 996950 w 3898900"/>
              <a:gd name="connsiteY66" fmla="*/ 2209800 h 2254250"/>
              <a:gd name="connsiteX67" fmla="*/ 920750 w 3898900"/>
              <a:gd name="connsiteY67" fmla="*/ 2076450 h 2254250"/>
              <a:gd name="connsiteX68" fmla="*/ 882650 w 3898900"/>
              <a:gd name="connsiteY68" fmla="*/ 1949450 h 2254250"/>
              <a:gd name="connsiteX69" fmla="*/ 819150 w 3898900"/>
              <a:gd name="connsiteY69" fmla="*/ 1822450 h 2254250"/>
              <a:gd name="connsiteX70" fmla="*/ 736600 w 3898900"/>
              <a:gd name="connsiteY70" fmla="*/ 1758950 h 2254250"/>
              <a:gd name="connsiteX71" fmla="*/ 654050 w 3898900"/>
              <a:gd name="connsiteY71" fmla="*/ 1758950 h 2254250"/>
              <a:gd name="connsiteX72" fmla="*/ 584200 w 3898900"/>
              <a:gd name="connsiteY72" fmla="*/ 1854200 h 2254250"/>
              <a:gd name="connsiteX73" fmla="*/ 508000 w 3898900"/>
              <a:gd name="connsiteY73" fmla="*/ 1993900 h 2254250"/>
              <a:gd name="connsiteX74" fmla="*/ 463550 w 3898900"/>
              <a:gd name="connsiteY74" fmla="*/ 2095500 h 2254250"/>
              <a:gd name="connsiteX75" fmla="*/ 368300 w 3898900"/>
              <a:gd name="connsiteY75" fmla="*/ 2165350 h 2254250"/>
              <a:gd name="connsiteX76" fmla="*/ 273050 w 3898900"/>
              <a:gd name="connsiteY76" fmla="*/ 2152650 h 2254250"/>
              <a:gd name="connsiteX77" fmla="*/ 450850 w 3898900"/>
              <a:gd name="connsiteY77" fmla="*/ 1570491 h 2254250"/>
              <a:gd name="connsiteX78" fmla="*/ 0 w 3898900"/>
              <a:gd name="connsiteY78" fmla="*/ 1492898 h 2254250"/>
              <a:gd name="connsiteX79" fmla="*/ 6350 w 3898900"/>
              <a:gd name="connsiteY79" fmla="*/ 0 h 2254250"/>
              <a:gd name="connsiteX0" fmla="*/ 6350 w 3898900"/>
              <a:gd name="connsiteY0" fmla="*/ 0 h 2254250"/>
              <a:gd name="connsiteX1" fmla="*/ 273050 w 3898900"/>
              <a:gd name="connsiteY1" fmla="*/ 1162050 h 2254250"/>
              <a:gd name="connsiteX2" fmla="*/ 323850 w 3898900"/>
              <a:gd name="connsiteY2" fmla="*/ 1308100 h 2254250"/>
              <a:gd name="connsiteX3" fmla="*/ 368300 w 3898900"/>
              <a:gd name="connsiteY3" fmla="*/ 1371600 h 2254250"/>
              <a:gd name="connsiteX4" fmla="*/ 419100 w 3898900"/>
              <a:gd name="connsiteY4" fmla="*/ 1314450 h 2254250"/>
              <a:gd name="connsiteX5" fmla="*/ 520700 w 3898900"/>
              <a:gd name="connsiteY5" fmla="*/ 996950 h 2254250"/>
              <a:gd name="connsiteX6" fmla="*/ 590550 w 3898900"/>
              <a:gd name="connsiteY6" fmla="*/ 641350 h 2254250"/>
              <a:gd name="connsiteX7" fmla="*/ 647700 w 3898900"/>
              <a:gd name="connsiteY7" fmla="*/ 444500 h 2254250"/>
              <a:gd name="connsiteX8" fmla="*/ 698500 w 3898900"/>
              <a:gd name="connsiteY8" fmla="*/ 330200 h 2254250"/>
              <a:gd name="connsiteX9" fmla="*/ 730250 w 3898900"/>
              <a:gd name="connsiteY9" fmla="*/ 279400 h 2254250"/>
              <a:gd name="connsiteX10" fmla="*/ 812800 w 3898900"/>
              <a:gd name="connsiteY10" fmla="*/ 298450 h 2254250"/>
              <a:gd name="connsiteX11" fmla="*/ 933450 w 3898900"/>
              <a:gd name="connsiteY11" fmla="*/ 495300 h 2254250"/>
              <a:gd name="connsiteX12" fmla="*/ 984250 w 3898900"/>
              <a:gd name="connsiteY12" fmla="*/ 622300 h 2254250"/>
              <a:gd name="connsiteX13" fmla="*/ 1066800 w 3898900"/>
              <a:gd name="connsiteY13" fmla="*/ 666750 h 2254250"/>
              <a:gd name="connsiteX14" fmla="*/ 1143000 w 3898900"/>
              <a:gd name="connsiteY14" fmla="*/ 622300 h 2254250"/>
              <a:gd name="connsiteX15" fmla="*/ 1231900 w 3898900"/>
              <a:gd name="connsiteY15" fmla="*/ 495300 h 2254250"/>
              <a:gd name="connsiteX16" fmla="*/ 1295400 w 3898900"/>
              <a:gd name="connsiteY16" fmla="*/ 355600 h 2254250"/>
              <a:gd name="connsiteX17" fmla="*/ 1358900 w 3898900"/>
              <a:gd name="connsiteY17" fmla="*/ 292100 h 2254250"/>
              <a:gd name="connsiteX18" fmla="*/ 1403350 w 3898900"/>
              <a:gd name="connsiteY18" fmla="*/ 254000 h 2254250"/>
              <a:gd name="connsiteX19" fmla="*/ 1492250 w 3898900"/>
              <a:gd name="connsiteY19" fmla="*/ 285750 h 2254250"/>
              <a:gd name="connsiteX20" fmla="*/ 1587500 w 3898900"/>
              <a:gd name="connsiteY20" fmla="*/ 438150 h 2254250"/>
              <a:gd name="connsiteX21" fmla="*/ 1676400 w 3898900"/>
              <a:gd name="connsiteY21" fmla="*/ 654050 h 2254250"/>
              <a:gd name="connsiteX22" fmla="*/ 1911350 w 3898900"/>
              <a:gd name="connsiteY22" fmla="*/ 1066800 h 2254250"/>
              <a:gd name="connsiteX23" fmla="*/ 2012950 w 3898900"/>
              <a:gd name="connsiteY23" fmla="*/ 1212850 h 2254250"/>
              <a:gd name="connsiteX24" fmla="*/ 2089150 w 3898900"/>
              <a:gd name="connsiteY24" fmla="*/ 1295400 h 2254250"/>
              <a:gd name="connsiteX25" fmla="*/ 2197100 w 3898900"/>
              <a:gd name="connsiteY25" fmla="*/ 1263650 h 2254250"/>
              <a:gd name="connsiteX26" fmla="*/ 2241550 w 3898900"/>
              <a:gd name="connsiteY26" fmla="*/ 1168400 h 2254250"/>
              <a:gd name="connsiteX27" fmla="*/ 2298700 w 3898900"/>
              <a:gd name="connsiteY27" fmla="*/ 1016000 h 2254250"/>
              <a:gd name="connsiteX28" fmla="*/ 2374900 w 3898900"/>
              <a:gd name="connsiteY28" fmla="*/ 876300 h 2254250"/>
              <a:gd name="connsiteX29" fmla="*/ 2432050 w 3898900"/>
              <a:gd name="connsiteY29" fmla="*/ 787400 h 2254250"/>
              <a:gd name="connsiteX30" fmla="*/ 2482850 w 3898900"/>
              <a:gd name="connsiteY30" fmla="*/ 749300 h 2254250"/>
              <a:gd name="connsiteX31" fmla="*/ 2552700 w 3898900"/>
              <a:gd name="connsiteY31" fmla="*/ 736600 h 2254250"/>
              <a:gd name="connsiteX32" fmla="*/ 2660650 w 3898900"/>
              <a:gd name="connsiteY32" fmla="*/ 781050 h 2254250"/>
              <a:gd name="connsiteX33" fmla="*/ 2762250 w 3898900"/>
              <a:gd name="connsiteY33" fmla="*/ 838200 h 2254250"/>
              <a:gd name="connsiteX34" fmla="*/ 2857500 w 3898900"/>
              <a:gd name="connsiteY34" fmla="*/ 901700 h 2254250"/>
              <a:gd name="connsiteX35" fmla="*/ 3003550 w 3898900"/>
              <a:gd name="connsiteY35" fmla="*/ 920750 h 2254250"/>
              <a:gd name="connsiteX36" fmla="*/ 3181350 w 3898900"/>
              <a:gd name="connsiteY36" fmla="*/ 895350 h 2254250"/>
              <a:gd name="connsiteX37" fmla="*/ 3302000 w 3898900"/>
              <a:gd name="connsiteY37" fmla="*/ 774700 h 2254250"/>
              <a:gd name="connsiteX38" fmla="*/ 3397250 w 3898900"/>
              <a:gd name="connsiteY38" fmla="*/ 628650 h 2254250"/>
              <a:gd name="connsiteX39" fmla="*/ 3492500 w 3898900"/>
              <a:gd name="connsiteY39" fmla="*/ 495300 h 2254250"/>
              <a:gd name="connsiteX40" fmla="*/ 3600450 w 3898900"/>
              <a:gd name="connsiteY40" fmla="*/ 412750 h 2254250"/>
              <a:gd name="connsiteX41" fmla="*/ 3721100 w 3898900"/>
              <a:gd name="connsiteY41" fmla="*/ 406400 h 2254250"/>
              <a:gd name="connsiteX42" fmla="*/ 3898900 w 3898900"/>
              <a:gd name="connsiteY42" fmla="*/ 412750 h 2254250"/>
              <a:gd name="connsiteX43" fmla="*/ 3898900 w 3898900"/>
              <a:gd name="connsiteY43" fmla="*/ 755650 h 2254250"/>
              <a:gd name="connsiteX44" fmla="*/ 3714750 w 3898900"/>
              <a:gd name="connsiteY44" fmla="*/ 958850 h 2254250"/>
              <a:gd name="connsiteX45" fmla="*/ 3575050 w 3898900"/>
              <a:gd name="connsiteY45" fmla="*/ 1098550 h 2254250"/>
              <a:gd name="connsiteX46" fmla="*/ 3505200 w 3898900"/>
              <a:gd name="connsiteY46" fmla="*/ 1155700 h 2254250"/>
              <a:gd name="connsiteX47" fmla="*/ 3346450 w 3898900"/>
              <a:gd name="connsiteY47" fmla="*/ 1155700 h 2254250"/>
              <a:gd name="connsiteX48" fmla="*/ 3225800 w 3898900"/>
              <a:gd name="connsiteY48" fmla="*/ 1181100 h 2254250"/>
              <a:gd name="connsiteX49" fmla="*/ 3117850 w 3898900"/>
              <a:gd name="connsiteY49" fmla="*/ 1295400 h 2254250"/>
              <a:gd name="connsiteX50" fmla="*/ 2959100 w 3898900"/>
              <a:gd name="connsiteY50" fmla="*/ 1587500 h 2254250"/>
              <a:gd name="connsiteX51" fmla="*/ 2819400 w 3898900"/>
              <a:gd name="connsiteY51" fmla="*/ 1847850 h 2254250"/>
              <a:gd name="connsiteX52" fmla="*/ 2635250 w 3898900"/>
              <a:gd name="connsiteY52" fmla="*/ 2127250 h 2254250"/>
              <a:gd name="connsiteX53" fmla="*/ 2470150 w 3898900"/>
              <a:gd name="connsiteY53" fmla="*/ 2228850 h 2254250"/>
              <a:gd name="connsiteX54" fmla="*/ 2362200 w 3898900"/>
              <a:gd name="connsiteY54" fmla="*/ 2254250 h 2254250"/>
              <a:gd name="connsiteX55" fmla="*/ 2063750 w 3898900"/>
              <a:gd name="connsiteY55" fmla="*/ 2178050 h 2254250"/>
              <a:gd name="connsiteX56" fmla="*/ 1828800 w 3898900"/>
              <a:gd name="connsiteY56" fmla="*/ 2070100 h 2254250"/>
              <a:gd name="connsiteX57" fmla="*/ 1657350 w 3898900"/>
              <a:gd name="connsiteY57" fmla="*/ 1917700 h 2254250"/>
              <a:gd name="connsiteX58" fmla="*/ 1581150 w 3898900"/>
              <a:gd name="connsiteY58" fmla="*/ 1797050 h 2254250"/>
              <a:gd name="connsiteX59" fmla="*/ 1498600 w 3898900"/>
              <a:gd name="connsiteY59" fmla="*/ 1720850 h 2254250"/>
              <a:gd name="connsiteX60" fmla="*/ 1428750 w 3898900"/>
              <a:gd name="connsiteY60" fmla="*/ 1720850 h 2254250"/>
              <a:gd name="connsiteX61" fmla="*/ 1358900 w 3898900"/>
              <a:gd name="connsiteY61" fmla="*/ 1778000 h 2254250"/>
              <a:gd name="connsiteX62" fmla="*/ 1308100 w 3898900"/>
              <a:gd name="connsiteY62" fmla="*/ 1873250 h 2254250"/>
              <a:gd name="connsiteX63" fmla="*/ 1219200 w 3898900"/>
              <a:gd name="connsiteY63" fmla="*/ 2019300 h 2254250"/>
              <a:gd name="connsiteX64" fmla="*/ 1155700 w 3898900"/>
              <a:gd name="connsiteY64" fmla="*/ 2159000 h 2254250"/>
              <a:gd name="connsiteX65" fmla="*/ 1079500 w 3898900"/>
              <a:gd name="connsiteY65" fmla="*/ 2209800 h 2254250"/>
              <a:gd name="connsiteX66" fmla="*/ 996950 w 3898900"/>
              <a:gd name="connsiteY66" fmla="*/ 2209800 h 2254250"/>
              <a:gd name="connsiteX67" fmla="*/ 920750 w 3898900"/>
              <a:gd name="connsiteY67" fmla="*/ 2076450 h 2254250"/>
              <a:gd name="connsiteX68" fmla="*/ 882650 w 3898900"/>
              <a:gd name="connsiteY68" fmla="*/ 1949450 h 2254250"/>
              <a:gd name="connsiteX69" fmla="*/ 819150 w 3898900"/>
              <a:gd name="connsiteY69" fmla="*/ 1822450 h 2254250"/>
              <a:gd name="connsiteX70" fmla="*/ 736600 w 3898900"/>
              <a:gd name="connsiteY70" fmla="*/ 1758950 h 2254250"/>
              <a:gd name="connsiteX71" fmla="*/ 654050 w 3898900"/>
              <a:gd name="connsiteY71" fmla="*/ 1758950 h 2254250"/>
              <a:gd name="connsiteX72" fmla="*/ 584200 w 3898900"/>
              <a:gd name="connsiteY72" fmla="*/ 1854200 h 2254250"/>
              <a:gd name="connsiteX73" fmla="*/ 508000 w 3898900"/>
              <a:gd name="connsiteY73" fmla="*/ 1993900 h 2254250"/>
              <a:gd name="connsiteX74" fmla="*/ 463550 w 3898900"/>
              <a:gd name="connsiteY74" fmla="*/ 2095500 h 2254250"/>
              <a:gd name="connsiteX75" fmla="*/ 368300 w 3898900"/>
              <a:gd name="connsiteY75" fmla="*/ 2165350 h 2254250"/>
              <a:gd name="connsiteX76" fmla="*/ 273050 w 3898900"/>
              <a:gd name="connsiteY76" fmla="*/ 2152650 h 2254250"/>
              <a:gd name="connsiteX77" fmla="*/ 450850 w 3898900"/>
              <a:gd name="connsiteY77" fmla="*/ 1570491 h 2254250"/>
              <a:gd name="connsiteX78" fmla="*/ 0 w 3898900"/>
              <a:gd name="connsiteY78" fmla="*/ 1492898 h 2254250"/>
              <a:gd name="connsiteX79" fmla="*/ 6350 w 3898900"/>
              <a:gd name="connsiteY79" fmla="*/ 0 h 2254250"/>
              <a:gd name="connsiteX0" fmla="*/ 6350 w 3898900"/>
              <a:gd name="connsiteY0" fmla="*/ 0 h 2254250"/>
              <a:gd name="connsiteX1" fmla="*/ 273050 w 3898900"/>
              <a:gd name="connsiteY1" fmla="*/ 1162050 h 2254250"/>
              <a:gd name="connsiteX2" fmla="*/ 323850 w 3898900"/>
              <a:gd name="connsiteY2" fmla="*/ 1308100 h 2254250"/>
              <a:gd name="connsiteX3" fmla="*/ 368300 w 3898900"/>
              <a:gd name="connsiteY3" fmla="*/ 1371600 h 2254250"/>
              <a:gd name="connsiteX4" fmla="*/ 419100 w 3898900"/>
              <a:gd name="connsiteY4" fmla="*/ 1314450 h 2254250"/>
              <a:gd name="connsiteX5" fmla="*/ 520700 w 3898900"/>
              <a:gd name="connsiteY5" fmla="*/ 996950 h 2254250"/>
              <a:gd name="connsiteX6" fmla="*/ 590550 w 3898900"/>
              <a:gd name="connsiteY6" fmla="*/ 641350 h 2254250"/>
              <a:gd name="connsiteX7" fmla="*/ 647700 w 3898900"/>
              <a:gd name="connsiteY7" fmla="*/ 444500 h 2254250"/>
              <a:gd name="connsiteX8" fmla="*/ 698500 w 3898900"/>
              <a:gd name="connsiteY8" fmla="*/ 330200 h 2254250"/>
              <a:gd name="connsiteX9" fmla="*/ 730250 w 3898900"/>
              <a:gd name="connsiteY9" fmla="*/ 279400 h 2254250"/>
              <a:gd name="connsiteX10" fmla="*/ 812800 w 3898900"/>
              <a:gd name="connsiteY10" fmla="*/ 298450 h 2254250"/>
              <a:gd name="connsiteX11" fmla="*/ 933450 w 3898900"/>
              <a:gd name="connsiteY11" fmla="*/ 495300 h 2254250"/>
              <a:gd name="connsiteX12" fmla="*/ 984250 w 3898900"/>
              <a:gd name="connsiteY12" fmla="*/ 622300 h 2254250"/>
              <a:gd name="connsiteX13" fmla="*/ 1066800 w 3898900"/>
              <a:gd name="connsiteY13" fmla="*/ 666750 h 2254250"/>
              <a:gd name="connsiteX14" fmla="*/ 1143000 w 3898900"/>
              <a:gd name="connsiteY14" fmla="*/ 622300 h 2254250"/>
              <a:gd name="connsiteX15" fmla="*/ 1231900 w 3898900"/>
              <a:gd name="connsiteY15" fmla="*/ 495300 h 2254250"/>
              <a:gd name="connsiteX16" fmla="*/ 1295400 w 3898900"/>
              <a:gd name="connsiteY16" fmla="*/ 355600 h 2254250"/>
              <a:gd name="connsiteX17" fmla="*/ 1358900 w 3898900"/>
              <a:gd name="connsiteY17" fmla="*/ 292100 h 2254250"/>
              <a:gd name="connsiteX18" fmla="*/ 1403350 w 3898900"/>
              <a:gd name="connsiteY18" fmla="*/ 254000 h 2254250"/>
              <a:gd name="connsiteX19" fmla="*/ 1492250 w 3898900"/>
              <a:gd name="connsiteY19" fmla="*/ 285750 h 2254250"/>
              <a:gd name="connsiteX20" fmla="*/ 1587500 w 3898900"/>
              <a:gd name="connsiteY20" fmla="*/ 438150 h 2254250"/>
              <a:gd name="connsiteX21" fmla="*/ 1676400 w 3898900"/>
              <a:gd name="connsiteY21" fmla="*/ 654050 h 2254250"/>
              <a:gd name="connsiteX22" fmla="*/ 1911350 w 3898900"/>
              <a:gd name="connsiteY22" fmla="*/ 1066800 h 2254250"/>
              <a:gd name="connsiteX23" fmla="*/ 2012950 w 3898900"/>
              <a:gd name="connsiteY23" fmla="*/ 1212850 h 2254250"/>
              <a:gd name="connsiteX24" fmla="*/ 2089150 w 3898900"/>
              <a:gd name="connsiteY24" fmla="*/ 1295400 h 2254250"/>
              <a:gd name="connsiteX25" fmla="*/ 2197100 w 3898900"/>
              <a:gd name="connsiteY25" fmla="*/ 1263650 h 2254250"/>
              <a:gd name="connsiteX26" fmla="*/ 2241550 w 3898900"/>
              <a:gd name="connsiteY26" fmla="*/ 1168400 h 2254250"/>
              <a:gd name="connsiteX27" fmla="*/ 2298700 w 3898900"/>
              <a:gd name="connsiteY27" fmla="*/ 1016000 h 2254250"/>
              <a:gd name="connsiteX28" fmla="*/ 2374900 w 3898900"/>
              <a:gd name="connsiteY28" fmla="*/ 876300 h 2254250"/>
              <a:gd name="connsiteX29" fmla="*/ 2432050 w 3898900"/>
              <a:gd name="connsiteY29" fmla="*/ 787400 h 2254250"/>
              <a:gd name="connsiteX30" fmla="*/ 2482850 w 3898900"/>
              <a:gd name="connsiteY30" fmla="*/ 749300 h 2254250"/>
              <a:gd name="connsiteX31" fmla="*/ 2552700 w 3898900"/>
              <a:gd name="connsiteY31" fmla="*/ 736600 h 2254250"/>
              <a:gd name="connsiteX32" fmla="*/ 2660650 w 3898900"/>
              <a:gd name="connsiteY32" fmla="*/ 781050 h 2254250"/>
              <a:gd name="connsiteX33" fmla="*/ 2762250 w 3898900"/>
              <a:gd name="connsiteY33" fmla="*/ 838200 h 2254250"/>
              <a:gd name="connsiteX34" fmla="*/ 2857500 w 3898900"/>
              <a:gd name="connsiteY34" fmla="*/ 901700 h 2254250"/>
              <a:gd name="connsiteX35" fmla="*/ 3003550 w 3898900"/>
              <a:gd name="connsiteY35" fmla="*/ 920750 h 2254250"/>
              <a:gd name="connsiteX36" fmla="*/ 3181350 w 3898900"/>
              <a:gd name="connsiteY36" fmla="*/ 895350 h 2254250"/>
              <a:gd name="connsiteX37" fmla="*/ 3302000 w 3898900"/>
              <a:gd name="connsiteY37" fmla="*/ 774700 h 2254250"/>
              <a:gd name="connsiteX38" fmla="*/ 3397250 w 3898900"/>
              <a:gd name="connsiteY38" fmla="*/ 628650 h 2254250"/>
              <a:gd name="connsiteX39" fmla="*/ 3492500 w 3898900"/>
              <a:gd name="connsiteY39" fmla="*/ 495300 h 2254250"/>
              <a:gd name="connsiteX40" fmla="*/ 3600450 w 3898900"/>
              <a:gd name="connsiteY40" fmla="*/ 412750 h 2254250"/>
              <a:gd name="connsiteX41" fmla="*/ 3721100 w 3898900"/>
              <a:gd name="connsiteY41" fmla="*/ 406400 h 2254250"/>
              <a:gd name="connsiteX42" fmla="*/ 3898900 w 3898900"/>
              <a:gd name="connsiteY42" fmla="*/ 412750 h 2254250"/>
              <a:gd name="connsiteX43" fmla="*/ 3898900 w 3898900"/>
              <a:gd name="connsiteY43" fmla="*/ 755650 h 2254250"/>
              <a:gd name="connsiteX44" fmla="*/ 3714750 w 3898900"/>
              <a:gd name="connsiteY44" fmla="*/ 958850 h 2254250"/>
              <a:gd name="connsiteX45" fmla="*/ 3575050 w 3898900"/>
              <a:gd name="connsiteY45" fmla="*/ 1098550 h 2254250"/>
              <a:gd name="connsiteX46" fmla="*/ 3505200 w 3898900"/>
              <a:gd name="connsiteY46" fmla="*/ 1155700 h 2254250"/>
              <a:gd name="connsiteX47" fmla="*/ 3346450 w 3898900"/>
              <a:gd name="connsiteY47" fmla="*/ 1155700 h 2254250"/>
              <a:gd name="connsiteX48" fmla="*/ 3225800 w 3898900"/>
              <a:gd name="connsiteY48" fmla="*/ 1181100 h 2254250"/>
              <a:gd name="connsiteX49" fmla="*/ 3117850 w 3898900"/>
              <a:gd name="connsiteY49" fmla="*/ 1295400 h 2254250"/>
              <a:gd name="connsiteX50" fmla="*/ 2959100 w 3898900"/>
              <a:gd name="connsiteY50" fmla="*/ 1587500 h 2254250"/>
              <a:gd name="connsiteX51" fmla="*/ 2819400 w 3898900"/>
              <a:gd name="connsiteY51" fmla="*/ 1847850 h 2254250"/>
              <a:gd name="connsiteX52" fmla="*/ 2635250 w 3898900"/>
              <a:gd name="connsiteY52" fmla="*/ 2127250 h 2254250"/>
              <a:gd name="connsiteX53" fmla="*/ 2470150 w 3898900"/>
              <a:gd name="connsiteY53" fmla="*/ 2228850 h 2254250"/>
              <a:gd name="connsiteX54" fmla="*/ 2362200 w 3898900"/>
              <a:gd name="connsiteY54" fmla="*/ 2254250 h 2254250"/>
              <a:gd name="connsiteX55" fmla="*/ 2063750 w 3898900"/>
              <a:gd name="connsiteY55" fmla="*/ 2178050 h 2254250"/>
              <a:gd name="connsiteX56" fmla="*/ 1828800 w 3898900"/>
              <a:gd name="connsiteY56" fmla="*/ 2070100 h 2254250"/>
              <a:gd name="connsiteX57" fmla="*/ 1657350 w 3898900"/>
              <a:gd name="connsiteY57" fmla="*/ 1917700 h 2254250"/>
              <a:gd name="connsiteX58" fmla="*/ 1581150 w 3898900"/>
              <a:gd name="connsiteY58" fmla="*/ 1797050 h 2254250"/>
              <a:gd name="connsiteX59" fmla="*/ 1498600 w 3898900"/>
              <a:gd name="connsiteY59" fmla="*/ 1720850 h 2254250"/>
              <a:gd name="connsiteX60" fmla="*/ 1428750 w 3898900"/>
              <a:gd name="connsiteY60" fmla="*/ 1720850 h 2254250"/>
              <a:gd name="connsiteX61" fmla="*/ 1358900 w 3898900"/>
              <a:gd name="connsiteY61" fmla="*/ 1778000 h 2254250"/>
              <a:gd name="connsiteX62" fmla="*/ 1308100 w 3898900"/>
              <a:gd name="connsiteY62" fmla="*/ 1873250 h 2254250"/>
              <a:gd name="connsiteX63" fmla="*/ 1219200 w 3898900"/>
              <a:gd name="connsiteY63" fmla="*/ 2019300 h 2254250"/>
              <a:gd name="connsiteX64" fmla="*/ 1155700 w 3898900"/>
              <a:gd name="connsiteY64" fmla="*/ 2159000 h 2254250"/>
              <a:gd name="connsiteX65" fmla="*/ 1079500 w 3898900"/>
              <a:gd name="connsiteY65" fmla="*/ 2209800 h 2254250"/>
              <a:gd name="connsiteX66" fmla="*/ 996950 w 3898900"/>
              <a:gd name="connsiteY66" fmla="*/ 2209800 h 2254250"/>
              <a:gd name="connsiteX67" fmla="*/ 920750 w 3898900"/>
              <a:gd name="connsiteY67" fmla="*/ 2076450 h 2254250"/>
              <a:gd name="connsiteX68" fmla="*/ 882650 w 3898900"/>
              <a:gd name="connsiteY68" fmla="*/ 1949450 h 2254250"/>
              <a:gd name="connsiteX69" fmla="*/ 819150 w 3898900"/>
              <a:gd name="connsiteY69" fmla="*/ 1822450 h 2254250"/>
              <a:gd name="connsiteX70" fmla="*/ 736600 w 3898900"/>
              <a:gd name="connsiteY70" fmla="*/ 1758950 h 2254250"/>
              <a:gd name="connsiteX71" fmla="*/ 654050 w 3898900"/>
              <a:gd name="connsiteY71" fmla="*/ 1758950 h 2254250"/>
              <a:gd name="connsiteX72" fmla="*/ 584200 w 3898900"/>
              <a:gd name="connsiteY72" fmla="*/ 1854200 h 2254250"/>
              <a:gd name="connsiteX73" fmla="*/ 508000 w 3898900"/>
              <a:gd name="connsiteY73" fmla="*/ 1993900 h 2254250"/>
              <a:gd name="connsiteX74" fmla="*/ 463550 w 3898900"/>
              <a:gd name="connsiteY74" fmla="*/ 2095500 h 2254250"/>
              <a:gd name="connsiteX75" fmla="*/ 368300 w 3898900"/>
              <a:gd name="connsiteY75" fmla="*/ 2165350 h 2254250"/>
              <a:gd name="connsiteX76" fmla="*/ 273050 w 3898900"/>
              <a:gd name="connsiteY76" fmla="*/ 2152650 h 2254250"/>
              <a:gd name="connsiteX77" fmla="*/ 365125 w 3898900"/>
              <a:gd name="connsiteY77" fmla="*/ 1593072 h 2254250"/>
              <a:gd name="connsiteX78" fmla="*/ 0 w 3898900"/>
              <a:gd name="connsiteY78" fmla="*/ 1492898 h 2254250"/>
              <a:gd name="connsiteX79" fmla="*/ 6350 w 3898900"/>
              <a:gd name="connsiteY79" fmla="*/ 0 h 2254250"/>
              <a:gd name="connsiteX0" fmla="*/ 15875 w 3908425"/>
              <a:gd name="connsiteY0" fmla="*/ 0 h 2254250"/>
              <a:gd name="connsiteX1" fmla="*/ 282575 w 3908425"/>
              <a:gd name="connsiteY1" fmla="*/ 1162050 h 2254250"/>
              <a:gd name="connsiteX2" fmla="*/ 333375 w 3908425"/>
              <a:gd name="connsiteY2" fmla="*/ 1308100 h 2254250"/>
              <a:gd name="connsiteX3" fmla="*/ 377825 w 3908425"/>
              <a:gd name="connsiteY3" fmla="*/ 1371600 h 2254250"/>
              <a:gd name="connsiteX4" fmla="*/ 428625 w 3908425"/>
              <a:gd name="connsiteY4" fmla="*/ 1314450 h 2254250"/>
              <a:gd name="connsiteX5" fmla="*/ 530225 w 3908425"/>
              <a:gd name="connsiteY5" fmla="*/ 996950 h 2254250"/>
              <a:gd name="connsiteX6" fmla="*/ 600075 w 3908425"/>
              <a:gd name="connsiteY6" fmla="*/ 641350 h 2254250"/>
              <a:gd name="connsiteX7" fmla="*/ 657225 w 3908425"/>
              <a:gd name="connsiteY7" fmla="*/ 444500 h 2254250"/>
              <a:gd name="connsiteX8" fmla="*/ 708025 w 3908425"/>
              <a:gd name="connsiteY8" fmla="*/ 330200 h 2254250"/>
              <a:gd name="connsiteX9" fmla="*/ 739775 w 3908425"/>
              <a:gd name="connsiteY9" fmla="*/ 279400 h 2254250"/>
              <a:gd name="connsiteX10" fmla="*/ 822325 w 3908425"/>
              <a:gd name="connsiteY10" fmla="*/ 298450 h 2254250"/>
              <a:gd name="connsiteX11" fmla="*/ 942975 w 3908425"/>
              <a:gd name="connsiteY11" fmla="*/ 495300 h 2254250"/>
              <a:gd name="connsiteX12" fmla="*/ 993775 w 3908425"/>
              <a:gd name="connsiteY12" fmla="*/ 622300 h 2254250"/>
              <a:gd name="connsiteX13" fmla="*/ 1076325 w 3908425"/>
              <a:gd name="connsiteY13" fmla="*/ 666750 h 2254250"/>
              <a:gd name="connsiteX14" fmla="*/ 1152525 w 3908425"/>
              <a:gd name="connsiteY14" fmla="*/ 622300 h 2254250"/>
              <a:gd name="connsiteX15" fmla="*/ 1241425 w 3908425"/>
              <a:gd name="connsiteY15" fmla="*/ 495300 h 2254250"/>
              <a:gd name="connsiteX16" fmla="*/ 1304925 w 3908425"/>
              <a:gd name="connsiteY16" fmla="*/ 355600 h 2254250"/>
              <a:gd name="connsiteX17" fmla="*/ 1368425 w 3908425"/>
              <a:gd name="connsiteY17" fmla="*/ 292100 h 2254250"/>
              <a:gd name="connsiteX18" fmla="*/ 1412875 w 3908425"/>
              <a:gd name="connsiteY18" fmla="*/ 254000 h 2254250"/>
              <a:gd name="connsiteX19" fmla="*/ 1501775 w 3908425"/>
              <a:gd name="connsiteY19" fmla="*/ 285750 h 2254250"/>
              <a:gd name="connsiteX20" fmla="*/ 1597025 w 3908425"/>
              <a:gd name="connsiteY20" fmla="*/ 438150 h 2254250"/>
              <a:gd name="connsiteX21" fmla="*/ 1685925 w 3908425"/>
              <a:gd name="connsiteY21" fmla="*/ 654050 h 2254250"/>
              <a:gd name="connsiteX22" fmla="*/ 1920875 w 3908425"/>
              <a:gd name="connsiteY22" fmla="*/ 1066800 h 2254250"/>
              <a:gd name="connsiteX23" fmla="*/ 2022475 w 3908425"/>
              <a:gd name="connsiteY23" fmla="*/ 1212850 h 2254250"/>
              <a:gd name="connsiteX24" fmla="*/ 2098675 w 3908425"/>
              <a:gd name="connsiteY24" fmla="*/ 1295400 h 2254250"/>
              <a:gd name="connsiteX25" fmla="*/ 2206625 w 3908425"/>
              <a:gd name="connsiteY25" fmla="*/ 1263650 h 2254250"/>
              <a:gd name="connsiteX26" fmla="*/ 2251075 w 3908425"/>
              <a:gd name="connsiteY26" fmla="*/ 1168400 h 2254250"/>
              <a:gd name="connsiteX27" fmla="*/ 2308225 w 3908425"/>
              <a:gd name="connsiteY27" fmla="*/ 1016000 h 2254250"/>
              <a:gd name="connsiteX28" fmla="*/ 2384425 w 3908425"/>
              <a:gd name="connsiteY28" fmla="*/ 876300 h 2254250"/>
              <a:gd name="connsiteX29" fmla="*/ 2441575 w 3908425"/>
              <a:gd name="connsiteY29" fmla="*/ 787400 h 2254250"/>
              <a:gd name="connsiteX30" fmla="*/ 2492375 w 3908425"/>
              <a:gd name="connsiteY30" fmla="*/ 749300 h 2254250"/>
              <a:gd name="connsiteX31" fmla="*/ 2562225 w 3908425"/>
              <a:gd name="connsiteY31" fmla="*/ 736600 h 2254250"/>
              <a:gd name="connsiteX32" fmla="*/ 2670175 w 3908425"/>
              <a:gd name="connsiteY32" fmla="*/ 781050 h 2254250"/>
              <a:gd name="connsiteX33" fmla="*/ 2771775 w 3908425"/>
              <a:gd name="connsiteY33" fmla="*/ 838200 h 2254250"/>
              <a:gd name="connsiteX34" fmla="*/ 2867025 w 3908425"/>
              <a:gd name="connsiteY34" fmla="*/ 901700 h 2254250"/>
              <a:gd name="connsiteX35" fmla="*/ 3013075 w 3908425"/>
              <a:gd name="connsiteY35" fmla="*/ 920750 h 2254250"/>
              <a:gd name="connsiteX36" fmla="*/ 3190875 w 3908425"/>
              <a:gd name="connsiteY36" fmla="*/ 895350 h 2254250"/>
              <a:gd name="connsiteX37" fmla="*/ 3311525 w 3908425"/>
              <a:gd name="connsiteY37" fmla="*/ 774700 h 2254250"/>
              <a:gd name="connsiteX38" fmla="*/ 3406775 w 3908425"/>
              <a:gd name="connsiteY38" fmla="*/ 628650 h 2254250"/>
              <a:gd name="connsiteX39" fmla="*/ 3502025 w 3908425"/>
              <a:gd name="connsiteY39" fmla="*/ 495300 h 2254250"/>
              <a:gd name="connsiteX40" fmla="*/ 3609975 w 3908425"/>
              <a:gd name="connsiteY40" fmla="*/ 412750 h 2254250"/>
              <a:gd name="connsiteX41" fmla="*/ 3730625 w 3908425"/>
              <a:gd name="connsiteY41" fmla="*/ 406400 h 2254250"/>
              <a:gd name="connsiteX42" fmla="*/ 3908425 w 3908425"/>
              <a:gd name="connsiteY42" fmla="*/ 412750 h 2254250"/>
              <a:gd name="connsiteX43" fmla="*/ 3908425 w 3908425"/>
              <a:gd name="connsiteY43" fmla="*/ 755650 h 2254250"/>
              <a:gd name="connsiteX44" fmla="*/ 3724275 w 3908425"/>
              <a:gd name="connsiteY44" fmla="*/ 958850 h 2254250"/>
              <a:gd name="connsiteX45" fmla="*/ 3584575 w 3908425"/>
              <a:gd name="connsiteY45" fmla="*/ 1098550 h 2254250"/>
              <a:gd name="connsiteX46" fmla="*/ 3514725 w 3908425"/>
              <a:gd name="connsiteY46" fmla="*/ 1155700 h 2254250"/>
              <a:gd name="connsiteX47" fmla="*/ 3355975 w 3908425"/>
              <a:gd name="connsiteY47" fmla="*/ 1155700 h 2254250"/>
              <a:gd name="connsiteX48" fmla="*/ 3235325 w 3908425"/>
              <a:gd name="connsiteY48" fmla="*/ 1181100 h 2254250"/>
              <a:gd name="connsiteX49" fmla="*/ 3127375 w 3908425"/>
              <a:gd name="connsiteY49" fmla="*/ 1295400 h 2254250"/>
              <a:gd name="connsiteX50" fmla="*/ 2968625 w 3908425"/>
              <a:gd name="connsiteY50" fmla="*/ 1587500 h 2254250"/>
              <a:gd name="connsiteX51" fmla="*/ 2828925 w 3908425"/>
              <a:gd name="connsiteY51" fmla="*/ 1847850 h 2254250"/>
              <a:gd name="connsiteX52" fmla="*/ 2644775 w 3908425"/>
              <a:gd name="connsiteY52" fmla="*/ 2127250 h 2254250"/>
              <a:gd name="connsiteX53" fmla="*/ 2479675 w 3908425"/>
              <a:gd name="connsiteY53" fmla="*/ 2228850 h 2254250"/>
              <a:gd name="connsiteX54" fmla="*/ 2371725 w 3908425"/>
              <a:gd name="connsiteY54" fmla="*/ 2254250 h 2254250"/>
              <a:gd name="connsiteX55" fmla="*/ 2073275 w 3908425"/>
              <a:gd name="connsiteY55" fmla="*/ 2178050 h 2254250"/>
              <a:gd name="connsiteX56" fmla="*/ 1838325 w 3908425"/>
              <a:gd name="connsiteY56" fmla="*/ 2070100 h 2254250"/>
              <a:gd name="connsiteX57" fmla="*/ 1666875 w 3908425"/>
              <a:gd name="connsiteY57" fmla="*/ 1917700 h 2254250"/>
              <a:gd name="connsiteX58" fmla="*/ 1590675 w 3908425"/>
              <a:gd name="connsiteY58" fmla="*/ 1797050 h 2254250"/>
              <a:gd name="connsiteX59" fmla="*/ 1508125 w 3908425"/>
              <a:gd name="connsiteY59" fmla="*/ 1720850 h 2254250"/>
              <a:gd name="connsiteX60" fmla="*/ 1438275 w 3908425"/>
              <a:gd name="connsiteY60" fmla="*/ 1720850 h 2254250"/>
              <a:gd name="connsiteX61" fmla="*/ 1368425 w 3908425"/>
              <a:gd name="connsiteY61" fmla="*/ 1778000 h 2254250"/>
              <a:gd name="connsiteX62" fmla="*/ 1317625 w 3908425"/>
              <a:gd name="connsiteY62" fmla="*/ 1873250 h 2254250"/>
              <a:gd name="connsiteX63" fmla="*/ 1228725 w 3908425"/>
              <a:gd name="connsiteY63" fmla="*/ 2019300 h 2254250"/>
              <a:gd name="connsiteX64" fmla="*/ 1165225 w 3908425"/>
              <a:gd name="connsiteY64" fmla="*/ 2159000 h 2254250"/>
              <a:gd name="connsiteX65" fmla="*/ 1089025 w 3908425"/>
              <a:gd name="connsiteY65" fmla="*/ 2209800 h 2254250"/>
              <a:gd name="connsiteX66" fmla="*/ 1006475 w 3908425"/>
              <a:gd name="connsiteY66" fmla="*/ 2209800 h 2254250"/>
              <a:gd name="connsiteX67" fmla="*/ 930275 w 3908425"/>
              <a:gd name="connsiteY67" fmla="*/ 2076450 h 2254250"/>
              <a:gd name="connsiteX68" fmla="*/ 892175 w 3908425"/>
              <a:gd name="connsiteY68" fmla="*/ 1949450 h 2254250"/>
              <a:gd name="connsiteX69" fmla="*/ 828675 w 3908425"/>
              <a:gd name="connsiteY69" fmla="*/ 1822450 h 2254250"/>
              <a:gd name="connsiteX70" fmla="*/ 746125 w 3908425"/>
              <a:gd name="connsiteY70" fmla="*/ 1758950 h 2254250"/>
              <a:gd name="connsiteX71" fmla="*/ 663575 w 3908425"/>
              <a:gd name="connsiteY71" fmla="*/ 1758950 h 2254250"/>
              <a:gd name="connsiteX72" fmla="*/ 593725 w 3908425"/>
              <a:gd name="connsiteY72" fmla="*/ 1854200 h 2254250"/>
              <a:gd name="connsiteX73" fmla="*/ 517525 w 3908425"/>
              <a:gd name="connsiteY73" fmla="*/ 1993900 h 2254250"/>
              <a:gd name="connsiteX74" fmla="*/ 473075 w 3908425"/>
              <a:gd name="connsiteY74" fmla="*/ 2095500 h 2254250"/>
              <a:gd name="connsiteX75" fmla="*/ 377825 w 3908425"/>
              <a:gd name="connsiteY75" fmla="*/ 2165350 h 2254250"/>
              <a:gd name="connsiteX76" fmla="*/ 282575 w 3908425"/>
              <a:gd name="connsiteY76" fmla="*/ 2152650 h 2254250"/>
              <a:gd name="connsiteX77" fmla="*/ 374650 w 3908425"/>
              <a:gd name="connsiteY77" fmla="*/ 1593072 h 2254250"/>
              <a:gd name="connsiteX78" fmla="*/ 0 w 3908425"/>
              <a:gd name="connsiteY78" fmla="*/ 1095465 h 2254250"/>
              <a:gd name="connsiteX79" fmla="*/ 15875 w 3908425"/>
              <a:gd name="connsiteY79" fmla="*/ 0 h 2254250"/>
              <a:gd name="connsiteX0" fmla="*/ 184 w 3892734"/>
              <a:gd name="connsiteY0" fmla="*/ 0 h 2254250"/>
              <a:gd name="connsiteX1" fmla="*/ 266884 w 3892734"/>
              <a:gd name="connsiteY1" fmla="*/ 1162050 h 2254250"/>
              <a:gd name="connsiteX2" fmla="*/ 317684 w 3892734"/>
              <a:gd name="connsiteY2" fmla="*/ 1308100 h 2254250"/>
              <a:gd name="connsiteX3" fmla="*/ 362134 w 3892734"/>
              <a:gd name="connsiteY3" fmla="*/ 1371600 h 2254250"/>
              <a:gd name="connsiteX4" fmla="*/ 412934 w 3892734"/>
              <a:gd name="connsiteY4" fmla="*/ 1314450 h 2254250"/>
              <a:gd name="connsiteX5" fmla="*/ 514534 w 3892734"/>
              <a:gd name="connsiteY5" fmla="*/ 996950 h 2254250"/>
              <a:gd name="connsiteX6" fmla="*/ 584384 w 3892734"/>
              <a:gd name="connsiteY6" fmla="*/ 641350 h 2254250"/>
              <a:gd name="connsiteX7" fmla="*/ 641534 w 3892734"/>
              <a:gd name="connsiteY7" fmla="*/ 444500 h 2254250"/>
              <a:gd name="connsiteX8" fmla="*/ 692334 w 3892734"/>
              <a:gd name="connsiteY8" fmla="*/ 330200 h 2254250"/>
              <a:gd name="connsiteX9" fmla="*/ 724084 w 3892734"/>
              <a:gd name="connsiteY9" fmla="*/ 279400 h 2254250"/>
              <a:gd name="connsiteX10" fmla="*/ 806634 w 3892734"/>
              <a:gd name="connsiteY10" fmla="*/ 298450 h 2254250"/>
              <a:gd name="connsiteX11" fmla="*/ 927284 w 3892734"/>
              <a:gd name="connsiteY11" fmla="*/ 495300 h 2254250"/>
              <a:gd name="connsiteX12" fmla="*/ 978084 w 3892734"/>
              <a:gd name="connsiteY12" fmla="*/ 622300 h 2254250"/>
              <a:gd name="connsiteX13" fmla="*/ 1060634 w 3892734"/>
              <a:gd name="connsiteY13" fmla="*/ 666750 h 2254250"/>
              <a:gd name="connsiteX14" fmla="*/ 1136834 w 3892734"/>
              <a:gd name="connsiteY14" fmla="*/ 622300 h 2254250"/>
              <a:gd name="connsiteX15" fmla="*/ 1225734 w 3892734"/>
              <a:gd name="connsiteY15" fmla="*/ 495300 h 2254250"/>
              <a:gd name="connsiteX16" fmla="*/ 1289234 w 3892734"/>
              <a:gd name="connsiteY16" fmla="*/ 355600 h 2254250"/>
              <a:gd name="connsiteX17" fmla="*/ 1352734 w 3892734"/>
              <a:gd name="connsiteY17" fmla="*/ 292100 h 2254250"/>
              <a:gd name="connsiteX18" fmla="*/ 1397184 w 3892734"/>
              <a:gd name="connsiteY18" fmla="*/ 254000 h 2254250"/>
              <a:gd name="connsiteX19" fmla="*/ 1486084 w 3892734"/>
              <a:gd name="connsiteY19" fmla="*/ 285750 h 2254250"/>
              <a:gd name="connsiteX20" fmla="*/ 1581334 w 3892734"/>
              <a:gd name="connsiteY20" fmla="*/ 438150 h 2254250"/>
              <a:gd name="connsiteX21" fmla="*/ 1670234 w 3892734"/>
              <a:gd name="connsiteY21" fmla="*/ 654050 h 2254250"/>
              <a:gd name="connsiteX22" fmla="*/ 1905184 w 3892734"/>
              <a:gd name="connsiteY22" fmla="*/ 1066800 h 2254250"/>
              <a:gd name="connsiteX23" fmla="*/ 2006784 w 3892734"/>
              <a:gd name="connsiteY23" fmla="*/ 1212850 h 2254250"/>
              <a:gd name="connsiteX24" fmla="*/ 2082984 w 3892734"/>
              <a:gd name="connsiteY24" fmla="*/ 1295400 h 2254250"/>
              <a:gd name="connsiteX25" fmla="*/ 2190934 w 3892734"/>
              <a:gd name="connsiteY25" fmla="*/ 1263650 h 2254250"/>
              <a:gd name="connsiteX26" fmla="*/ 2235384 w 3892734"/>
              <a:gd name="connsiteY26" fmla="*/ 1168400 h 2254250"/>
              <a:gd name="connsiteX27" fmla="*/ 2292534 w 3892734"/>
              <a:gd name="connsiteY27" fmla="*/ 1016000 h 2254250"/>
              <a:gd name="connsiteX28" fmla="*/ 2368734 w 3892734"/>
              <a:gd name="connsiteY28" fmla="*/ 876300 h 2254250"/>
              <a:gd name="connsiteX29" fmla="*/ 2425884 w 3892734"/>
              <a:gd name="connsiteY29" fmla="*/ 787400 h 2254250"/>
              <a:gd name="connsiteX30" fmla="*/ 2476684 w 3892734"/>
              <a:gd name="connsiteY30" fmla="*/ 749300 h 2254250"/>
              <a:gd name="connsiteX31" fmla="*/ 2546534 w 3892734"/>
              <a:gd name="connsiteY31" fmla="*/ 736600 h 2254250"/>
              <a:gd name="connsiteX32" fmla="*/ 2654484 w 3892734"/>
              <a:gd name="connsiteY32" fmla="*/ 781050 h 2254250"/>
              <a:gd name="connsiteX33" fmla="*/ 2756084 w 3892734"/>
              <a:gd name="connsiteY33" fmla="*/ 838200 h 2254250"/>
              <a:gd name="connsiteX34" fmla="*/ 2851334 w 3892734"/>
              <a:gd name="connsiteY34" fmla="*/ 901700 h 2254250"/>
              <a:gd name="connsiteX35" fmla="*/ 2997384 w 3892734"/>
              <a:gd name="connsiteY35" fmla="*/ 920750 h 2254250"/>
              <a:gd name="connsiteX36" fmla="*/ 3175184 w 3892734"/>
              <a:gd name="connsiteY36" fmla="*/ 895350 h 2254250"/>
              <a:gd name="connsiteX37" fmla="*/ 3295834 w 3892734"/>
              <a:gd name="connsiteY37" fmla="*/ 774700 h 2254250"/>
              <a:gd name="connsiteX38" fmla="*/ 3391084 w 3892734"/>
              <a:gd name="connsiteY38" fmla="*/ 628650 h 2254250"/>
              <a:gd name="connsiteX39" fmla="*/ 3486334 w 3892734"/>
              <a:gd name="connsiteY39" fmla="*/ 495300 h 2254250"/>
              <a:gd name="connsiteX40" fmla="*/ 3594284 w 3892734"/>
              <a:gd name="connsiteY40" fmla="*/ 412750 h 2254250"/>
              <a:gd name="connsiteX41" fmla="*/ 3714934 w 3892734"/>
              <a:gd name="connsiteY41" fmla="*/ 406400 h 2254250"/>
              <a:gd name="connsiteX42" fmla="*/ 3892734 w 3892734"/>
              <a:gd name="connsiteY42" fmla="*/ 412750 h 2254250"/>
              <a:gd name="connsiteX43" fmla="*/ 3892734 w 3892734"/>
              <a:gd name="connsiteY43" fmla="*/ 755650 h 2254250"/>
              <a:gd name="connsiteX44" fmla="*/ 3708584 w 3892734"/>
              <a:gd name="connsiteY44" fmla="*/ 958850 h 2254250"/>
              <a:gd name="connsiteX45" fmla="*/ 3568884 w 3892734"/>
              <a:gd name="connsiteY45" fmla="*/ 1098550 h 2254250"/>
              <a:gd name="connsiteX46" fmla="*/ 3499034 w 3892734"/>
              <a:gd name="connsiteY46" fmla="*/ 1155700 h 2254250"/>
              <a:gd name="connsiteX47" fmla="*/ 3340284 w 3892734"/>
              <a:gd name="connsiteY47" fmla="*/ 1155700 h 2254250"/>
              <a:gd name="connsiteX48" fmla="*/ 3219634 w 3892734"/>
              <a:gd name="connsiteY48" fmla="*/ 1181100 h 2254250"/>
              <a:gd name="connsiteX49" fmla="*/ 3111684 w 3892734"/>
              <a:gd name="connsiteY49" fmla="*/ 1295400 h 2254250"/>
              <a:gd name="connsiteX50" fmla="*/ 2952934 w 3892734"/>
              <a:gd name="connsiteY50" fmla="*/ 1587500 h 2254250"/>
              <a:gd name="connsiteX51" fmla="*/ 2813234 w 3892734"/>
              <a:gd name="connsiteY51" fmla="*/ 1847850 h 2254250"/>
              <a:gd name="connsiteX52" fmla="*/ 2629084 w 3892734"/>
              <a:gd name="connsiteY52" fmla="*/ 2127250 h 2254250"/>
              <a:gd name="connsiteX53" fmla="*/ 2463984 w 3892734"/>
              <a:gd name="connsiteY53" fmla="*/ 2228850 h 2254250"/>
              <a:gd name="connsiteX54" fmla="*/ 2356034 w 3892734"/>
              <a:gd name="connsiteY54" fmla="*/ 2254250 h 2254250"/>
              <a:gd name="connsiteX55" fmla="*/ 2057584 w 3892734"/>
              <a:gd name="connsiteY55" fmla="*/ 2178050 h 2254250"/>
              <a:gd name="connsiteX56" fmla="*/ 1822634 w 3892734"/>
              <a:gd name="connsiteY56" fmla="*/ 2070100 h 2254250"/>
              <a:gd name="connsiteX57" fmla="*/ 1651184 w 3892734"/>
              <a:gd name="connsiteY57" fmla="*/ 1917700 h 2254250"/>
              <a:gd name="connsiteX58" fmla="*/ 1574984 w 3892734"/>
              <a:gd name="connsiteY58" fmla="*/ 1797050 h 2254250"/>
              <a:gd name="connsiteX59" fmla="*/ 1492434 w 3892734"/>
              <a:gd name="connsiteY59" fmla="*/ 1720850 h 2254250"/>
              <a:gd name="connsiteX60" fmla="*/ 1422584 w 3892734"/>
              <a:gd name="connsiteY60" fmla="*/ 1720850 h 2254250"/>
              <a:gd name="connsiteX61" fmla="*/ 1352734 w 3892734"/>
              <a:gd name="connsiteY61" fmla="*/ 1778000 h 2254250"/>
              <a:gd name="connsiteX62" fmla="*/ 1301934 w 3892734"/>
              <a:gd name="connsiteY62" fmla="*/ 1873250 h 2254250"/>
              <a:gd name="connsiteX63" fmla="*/ 1213034 w 3892734"/>
              <a:gd name="connsiteY63" fmla="*/ 2019300 h 2254250"/>
              <a:gd name="connsiteX64" fmla="*/ 1149534 w 3892734"/>
              <a:gd name="connsiteY64" fmla="*/ 2159000 h 2254250"/>
              <a:gd name="connsiteX65" fmla="*/ 1073334 w 3892734"/>
              <a:gd name="connsiteY65" fmla="*/ 2209800 h 2254250"/>
              <a:gd name="connsiteX66" fmla="*/ 990784 w 3892734"/>
              <a:gd name="connsiteY66" fmla="*/ 2209800 h 2254250"/>
              <a:gd name="connsiteX67" fmla="*/ 914584 w 3892734"/>
              <a:gd name="connsiteY67" fmla="*/ 2076450 h 2254250"/>
              <a:gd name="connsiteX68" fmla="*/ 876484 w 3892734"/>
              <a:gd name="connsiteY68" fmla="*/ 1949450 h 2254250"/>
              <a:gd name="connsiteX69" fmla="*/ 812984 w 3892734"/>
              <a:gd name="connsiteY69" fmla="*/ 1822450 h 2254250"/>
              <a:gd name="connsiteX70" fmla="*/ 730434 w 3892734"/>
              <a:gd name="connsiteY70" fmla="*/ 1758950 h 2254250"/>
              <a:gd name="connsiteX71" fmla="*/ 647884 w 3892734"/>
              <a:gd name="connsiteY71" fmla="*/ 1758950 h 2254250"/>
              <a:gd name="connsiteX72" fmla="*/ 578034 w 3892734"/>
              <a:gd name="connsiteY72" fmla="*/ 1854200 h 2254250"/>
              <a:gd name="connsiteX73" fmla="*/ 501834 w 3892734"/>
              <a:gd name="connsiteY73" fmla="*/ 1993900 h 2254250"/>
              <a:gd name="connsiteX74" fmla="*/ 457384 w 3892734"/>
              <a:gd name="connsiteY74" fmla="*/ 2095500 h 2254250"/>
              <a:gd name="connsiteX75" fmla="*/ 362134 w 3892734"/>
              <a:gd name="connsiteY75" fmla="*/ 2165350 h 2254250"/>
              <a:gd name="connsiteX76" fmla="*/ 266884 w 3892734"/>
              <a:gd name="connsiteY76" fmla="*/ 2152650 h 2254250"/>
              <a:gd name="connsiteX77" fmla="*/ 358959 w 3892734"/>
              <a:gd name="connsiteY77" fmla="*/ 1593072 h 2254250"/>
              <a:gd name="connsiteX78" fmla="*/ 12884 w 3892734"/>
              <a:gd name="connsiteY78" fmla="*/ 1221921 h 2254250"/>
              <a:gd name="connsiteX79" fmla="*/ 184 w 3892734"/>
              <a:gd name="connsiteY79" fmla="*/ 0 h 2254250"/>
              <a:gd name="connsiteX0" fmla="*/ 184 w 3892734"/>
              <a:gd name="connsiteY0" fmla="*/ 0 h 2254250"/>
              <a:gd name="connsiteX1" fmla="*/ 266884 w 3892734"/>
              <a:gd name="connsiteY1" fmla="*/ 1162050 h 2254250"/>
              <a:gd name="connsiteX2" fmla="*/ 317684 w 3892734"/>
              <a:gd name="connsiteY2" fmla="*/ 1308100 h 2254250"/>
              <a:gd name="connsiteX3" fmla="*/ 362134 w 3892734"/>
              <a:gd name="connsiteY3" fmla="*/ 1371600 h 2254250"/>
              <a:gd name="connsiteX4" fmla="*/ 412934 w 3892734"/>
              <a:gd name="connsiteY4" fmla="*/ 1314450 h 2254250"/>
              <a:gd name="connsiteX5" fmla="*/ 514534 w 3892734"/>
              <a:gd name="connsiteY5" fmla="*/ 996950 h 2254250"/>
              <a:gd name="connsiteX6" fmla="*/ 584384 w 3892734"/>
              <a:gd name="connsiteY6" fmla="*/ 641350 h 2254250"/>
              <a:gd name="connsiteX7" fmla="*/ 641534 w 3892734"/>
              <a:gd name="connsiteY7" fmla="*/ 444500 h 2254250"/>
              <a:gd name="connsiteX8" fmla="*/ 692334 w 3892734"/>
              <a:gd name="connsiteY8" fmla="*/ 330200 h 2254250"/>
              <a:gd name="connsiteX9" fmla="*/ 724084 w 3892734"/>
              <a:gd name="connsiteY9" fmla="*/ 279400 h 2254250"/>
              <a:gd name="connsiteX10" fmla="*/ 806634 w 3892734"/>
              <a:gd name="connsiteY10" fmla="*/ 298450 h 2254250"/>
              <a:gd name="connsiteX11" fmla="*/ 927284 w 3892734"/>
              <a:gd name="connsiteY11" fmla="*/ 495300 h 2254250"/>
              <a:gd name="connsiteX12" fmla="*/ 978084 w 3892734"/>
              <a:gd name="connsiteY12" fmla="*/ 622300 h 2254250"/>
              <a:gd name="connsiteX13" fmla="*/ 1060634 w 3892734"/>
              <a:gd name="connsiteY13" fmla="*/ 666750 h 2254250"/>
              <a:gd name="connsiteX14" fmla="*/ 1136834 w 3892734"/>
              <a:gd name="connsiteY14" fmla="*/ 622300 h 2254250"/>
              <a:gd name="connsiteX15" fmla="*/ 1225734 w 3892734"/>
              <a:gd name="connsiteY15" fmla="*/ 495300 h 2254250"/>
              <a:gd name="connsiteX16" fmla="*/ 1289234 w 3892734"/>
              <a:gd name="connsiteY16" fmla="*/ 355600 h 2254250"/>
              <a:gd name="connsiteX17" fmla="*/ 1352734 w 3892734"/>
              <a:gd name="connsiteY17" fmla="*/ 292100 h 2254250"/>
              <a:gd name="connsiteX18" fmla="*/ 1397184 w 3892734"/>
              <a:gd name="connsiteY18" fmla="*/ 254000 h 2254250"/>
              <a:gd name="connsiteX19" fmla="*/ 1486084 w 3892734"/>
              <a:gd name="connsiteY19" fmla="*/ 285750 h 2254250"/>
              <a:gd name="connsiteX20" fmla="*/ 1581334 w 3892734"/>
              <a:gd name="connsiteY20" fmla="*/ 438150 h 2254250"/>
              <a:gd name="connsiteX21" fmla="*/ 1670234 w 3892734"/>
              <a:gd name="connsiteY21" fmla="*/ 654050 h 2254250"/>
              <a:gd name="connsiteX22" fmla="*/ 1905184 w 3892734"/>
              <a:gd name="connsiteY22" fmla="*/ 1066800 h 2254250"/>
              <a:gd name="connsiteX23" fmla="*/ 2006784 w 3892734"/>
              <a:gd name="connsiteY23" fmla="*/ 1212850 h 2254250"/>
              <a:gd name="connsiteX24" fmla="*/ 2082984 w 3892734"/>
              <a:gd name="connsiteY24" fmla="*/ 1295400 h 2254250"/>
              <a:gd name="connsiteX25" fmla="*/ 2190934 w 3892734"/>
              <a:gd name="connsiteY25" fmla="*/ 1263650 h 2254250"/>
              <a:gd name="connsiteX26" fmla="*/ 2235384 w 3892734"/>
              <a:gd name="connsiteY26" fmla="*/ 1168400 h 2254250"/>
              <a:gd name="connsiteX27" fmla="*/ 2292534 w 3892734"/>
              <a:gd name="connsiteY27" fmla="*/ 1016000 h 2254250"/>
              <a:gd name="connsiteX28" fmla="*/ 2368734 w 3892734"/>
              <a:gd name="connsiteY28" fmla="*/ 876300 h 2254250"/>
              <a:gd name="connsiteX29" fmla="*/ 2425884 w 3892734"/>
              <a:gd name="connsiteY29" fmla="*/ 787400 h 2254250"/>
              <a:gd name="connsiteX30" fmla="*/ 2476684 w 3892734"/>
              <a:gd name="connsiteY30" fmla="*/ 749300 h 2254250"/>
              <a:gd name="connsiteX31" fmla="*/ 2546534 w 3892734"/>
              <a:gd name="connsiteY31" fmla="*/ 736600 h 2254250"/>
              <a:gd name="connsiteX32" fmla="*/ 2654484 w 3892734"/>
              <a:gd name="connsiteY32" fmla="*/ 781050 h 2254250"/>
              <a:gd name="connsiteX33" fmla="*/ 2756084 w 3892734"/>
              <a:gd name="connsiteY33" fmla="*/ 838200 h 2254250"/>
              <a:gd name="connsiteX34" fmla="*/ 2851334 w 3892734"/>
              <a:gd name="connsiteY34" fmla="*/ 901700 h 2254250"/>
              <a:gd name="connsiteX35" fmla="*/ 2997384 w 3892734"/>
              <a:gd name="connsiteY35" fmla="*/ 920750 h 2254250"/>
              <a:gd name="connsiteX36" fmla="*/ 3175184 w 3892734"/>
              <a:gd name="connsiteY36" fmla="*/ 895350 h 2254250"/>
              <a:gd name="connsiteX37" fmla="*/ 3295834 w 3892734"/>
              <a:gd name="connsiteY37" fmla="*/ 774700 h 2254250"/>
              <a:gd name="connsiteX38" fmla="*/ 3391084 w 3892734"/>
              <a:gd name="connsiteY38" fmla="*/ 628650 h 2254250"/>
              <a:gd name="connsiteX39" fmla="*/ 3486334 w 3892734"/>
              <a:gd name="connsiteY39" fmla="*/ 495300 h 2254250"/>
              <a:gd name="connsiteX40" fmla="*/ 3594284 w 3892734"/>
              <a:gd name="connsiteY40" fmla="*/ 412750 h 2254250"/>
              <a:gd name="connsiteX41" fmla="*/ 3714934 w 3892734"/>
              <a:gd name="connsiteY41" fmla="*/ 406400 h 2254250"/>
              <a:gd name="connsiteX42" fmla="*/ 3892734 w 3892734"/>
              <a:gd name="connsiteY42" fmla="*/ 412750 h 2254250"/>
              <a:gd name="connsiteX43" fmla="*/ 3892734 w 3892734"/>
              <a:gd name="connsiteY43" fmla="*/ 755650 h 2254250"/>
              <a:gd name="connsiteX44" fmla="*/ 3708584 w 3892734"/>
              <a:gd name="connsiteY44" fmla="*/ 958850 h 2254250"/>
              <a:gd name="connsiteX45" fmla="*/ 3568884 w 3892734"/>
              <a:gd name="connsiteY45" fmla="*/ 1098550 h 2254250"/>
              <a:gd name="connsiteX46" fmla="*/ 3499034 w 3892734"/>
              <a:gd name="connsiteY46" fmla="*/ 1155700 h 2254250"/>
              <a:gd name="connsiteX47" fmla="*/ 3340284 w 3892734"/>
              <a:gd name="connsiteY47" fmla="*/ 1155700 h 2254250"/>
              <a:gd name="connsiteX48" fmla="*/ 3219634 w 3892734"/>
              <a:gd name="connsiteY48" fmla="*/ 1181100 h 2254250"/>
              <a:gd name="connsiteX49" fmla="*/ 3111684 w 3892734"/>
              <a:gd name="connsiteY49" fmla="*/ 1295400 h 2254250"/>
              <a:gd name="connsiteX50" fmla="*/ 2952934 w 3892734"/>
              <a:gd name="connsiteY50" fmla="*/ 1587500 h 2254250"/>
              <a:gd name="connsiteX51" fmla="*/ 2813234 w 3892734"/>
              <a:gd name="connsiteY51" fmla="*/ 1847850 h 2254250"/>
              <a:gd name="connsiteX52" fmla="*/ 2629084 w 3892734"/>
              <a:gd name="connsiteY52" fmla="*/ 2127250 h 2254250"/>
              <a:gd name="connsiteX53" fmla="*/ 2463984 w 3892734"/>
              <a:gd name="connsiteY53" fmla="*/ 2228850 h 2254250"/>
              <a:gd name="connsiteX54" fmla="*/ 2356034 w 3892734"/>
              <a:gd name="connsiteY54" fmla="*/ 2254250 h 2254250"/>
              <a:gd name="connsiteX55" fmla="*/ 2057584 w 3892734"/>
              <a:gd name="connsiteY55" fmla="*/ 2178050 h 2254250"/>
              <a:gd name="connsiteX56" fmla="*/ 1822634 w 3892734"/>
              <a:gd name="connsiteY56" fmla="*/ 2070100 h 2254250"/>
              <a:gd name="connsiteX57" fmla="*/ 1651184 w 3892734"/>
              <a:gd name="connsiteY57" fmla="*/ 1917700 h 2254250"/>
              <a:gd name="connsiteX58" fmla="*/ 1574984 w 3892734"/>
              <a:gd name="connsiteY58" fmla="*/ 1797050 h 2254250"/>
              <a:gd name="connsiteX59" fmla="*/ 1492434 w 3892734"/>
              <a:gd name="connsiteY59" fmla="*/ 1720850 h 2254250"/>
              <a:gd name="connsiteX60" fmla="*/ 1422584 w 3892734"/>
              <a:gd name="connsiteY60" fmla="*/ 1720850 h 2254250"/>
              <a:gd name="connsiteX61" fmla="*/ 1352734 w 3892734"/>
              <a:gd name="connsiteY61" fmla="*/ 1778000 h 2254250"/>
              <a:gd name="connsiteX62" fmla="*/ 1301934 w 3892734"/>
              <a:gd name="connsiteY62" fmla="*/ 1873250 h 2254250"/>
              <a:gd name="connsiteX63" fmla="*/ 1213034 w 3892734"/>
              <a:gd name="connsiteY63" fmla="*/ 2019300 h 2254250"/>
              <a:gd name="connsiteX64" fmla="*/ 1149534 w 3892734"/>
              <a:gd name="connsiteY64" fmla="*/ 2159000 h 2254250"/>
              <a:gd name="connsiteX65" fmla="*/ 1073334 w 3892734"/>
              <a:gd name="connsiteY65" fmla="*/ 2209800 h 2254250"/>
              <a:gd name="connsiteX66" fmla="*/ 990784 w 3892734"/>
              <a:gd name="connsiteY66" fmla="*/ 2209800 h 2254250"/>
              <a:gd name="connsiteX67" fmla="*/ 914584 w 3892734"/>
              <a:gd name="connsiteY67" fmla="*/ 2076450 h 2254250"/>
              <a:gd name="connsiteX68" fmla="*/ 876484 w 3892734"/>
              <a:gd name="connsiteY68" fmla="*/ 1949450 h 2254250"/>
              <a:gd name="connsiteX69" fmla="*/ 812984 w 3892734"/>
              <a:gd name="connsiteY69" fmla="*/ 1822450 h 2254250"/>
              <a:gd name="connsiteX70" fmla="*/ 730434 w 3892734"/>
              <a:gd name="connsiteY70" fmla="*/ 1758950 h 2254250"/>
              <a:gd name="connsiteX71" fmla="*/ 647884 w 3892734"/>
              <a:gd name="connsiteY71" fmla="*/ 1758950 h 2254250"/>
              <a:gd name="connsiteX72" fmla="*/ 578034 w 3892734"/>
              <a:gd name="connsiteY72" fmla="*/ 1854200 h 2254250"/>
              <a:gd name="connsiteX73" fmla="*/ 501834 w 3892734"/>
              <a:gd name="connsiteY73" fmla="*/ 1993900 h 2254250"/>
              <a:gd name="connsiteX74" fmla="*/ 457384 w 3892734"/>
              <a:gd name="connsiteY74" fmla="*/ 2095500 h 2254250"/>
              <a:gd name="connsiteX75" fmla="*/ 362134 w 3892734"/>
              <a:gd name="connsiteY75" fmla="*/ 2165350 h 2254250"/>
              <a:gd name="connsiteX76" fmla="*/ 538346 w 3892734"/>
              <a:gd name="connsiteY76" fmla="*/ 1642309 h 2254250"/>
              <a:gd name="connsiteX77" fmla="*/ 358959 w 3892734"/>
              <a:gd name="connsiteY77" fmla="*/ 1593072 h 2254250"/>
              <a:gd name="connsiteX78" fmla="*/ 12884 w 3892734"/>
              <a:gd name="connsiteY78" fmla="*/ 1221921 h 2254250"/>
              <a:gd name="connsiteX79" fmla="*/ 184 w 3892734"/>
              <a:gd name="connsiteY79" fmla="*/ 0 h 2254250"/>
              <a:gd name="connsiteX0" fmla="*/ 184 w 3892734"/>
              <a:gd name="connsiteY0" fmla="*/ 0 h 2254250"/>
              <a:gd name="connsiteX1" fmla="*/ 266884 w 3892734"/>
              <a:gd name="connsiteY1" fmla="*/ 1162050 h 2254250"/>
              <a:gd name="connsiteX2" fmla="*/ 317684 w 3892734"/>
              <a:gd name="connsiteY2" fmla="*/ 1308100 h 2254250"/>
              <a:gd name="connsiteX3" fmla="*/ 362134 w 3892734"/>
              <a:gd name="connsiteY3" fmla="*/ 1371600 h 2254250"/>
              <a:gd name="connsiteX4" fmla="*/ 412934 w 3892734"/>
              <a:gd name="connsiteY4" fmla="*/ 1314450 h 2254250"/>
              <a:gd name="connsiteX5" fmla="*/ 514534 w 3892734"/>
              <a:gd name="connsiteY5" fmla="*/ 996950 h 2254250"/>
              <a:gd name="connsiteX6" fmla="*/ 584384 w 3892734"/>
              <a:gd name="connsiteY6" fmla="*/ 641350 h 2254250"/>
              <a:gd name="connsiteX7" fmla="*/ 641534 w 3892734"/>
              <a:gd name="connsiteY7" fmla="*/ 444500 h 2254250"/>
              <a:gd name="connsiteX8" fmla="*/ 692334 w 3892734"/>
              <a:gd name="connsiteY8" fmla="*/ 330200 h 2254250"/>
              <a:gd name="connsiteX9" fmla="*/ 724084 w 3892734"/>
              <a:gd name="connsiteY9" fmla="*/ 279400 h 2254250"/>
              <a:gd name="connsiteX10" fmla="*/ 806634 w 3892734"/>
              <a:gd name="connsiteY10" fmla="*/ 298450 h 2254250"/>
              <a:gd name="connsiteX11" fmla="*/ 927284 w 3892734"/>
              <a:gd name="connsiteY11" fmla="*/ 495300 h 2254250"/>
              <a:gd name="connsiteX12" fmla="*/ 978084 w 3892734"/>
              <a:gd name="connsiteY12" fmla="*/ 622300 h 2254250"/>
              <a:gd name="connsiteX13" fmla="*/ 1060634 w 3892734"/>
              <a:gd name="connsiteY13" fmla="*/ 666750 h 2254250"/>
              <a:gd name="connsiteX14" fmla="*/ 1136834 w 3892734"/>
              <a:gd name="connsiteY14" fmla="*/ 622300 h 2254250"/>
              <a:gd name="connsiteX15" fmla="*/ 1225734 w 3892734"/>
              <a:gd name="connsiteY15" fmla="*/ 495300 h 2254250"/>
              <a:gd name="connsiteX16" fmla="*/ 1289234 w 3892734"/>
              <a:gd name="connsiteY16" fmla="*/ 355600 h 2254250"/>
              <a:gd name="connsiteX17" fmla="*/ 1352734 w 3892734"/>
              <a:gd name="connsiteY17" fmla="*/ 292100 h 2254250"/>
              <a:gd name="connsiteX18" fmla="*/ 1397184 w 3892734"/>
              <a:gd name="connsiteY18" fmla="*/ 254000 h 2254250"/>
              <a:gd name="connsiteX19" fmla="*/ 1486084 w 3892734"/>
              <a:gd name="connsiteY19" fmla="*/ 285750 h 2254250"/>
              <a:gd name="connsiteX20" fmla="*/ 1581334 w 3892734"/>
              <a:gd name="connsiteY20" fmla="*/ 438150 h 2254250"/>
              <a:gd name="connsiteX21" fmla="*/ 1670234 w 3892734"/>
              <a:gd name="connsiteY21" fmla="*/ 654050 h 2254250"/>
              <a:gd name="connsiteX22" fmla="*/ 1905184 w 3892734"/>
              <a:gd name="connsiteY22" fmla="*/ 1066800 h 2254250"/>
              <a:gd name="connsiteX23" fmla="*/ 2006784 w 3892734"/>
              <a:gd name="connsiteY23" fmla="*/ 1212850 h 2254250"/>
              <a:gd name="connsiteX24" fmla="*/ 2082984 w 3892734"/>
              <a:gd name="connsiteY24" fmla="*/ 1295400 h 2254250"/>
              <a:gd name="connsiteX25" fmla="*/ 2190934 w 3892734"/>
              <a:gd name="connsiteY25" fmla="*/ 1263650 h 2254250"/>
              <a:gd name="connsiteX26" fmla="*/ 2235384 w 3892734"/>
              <a:gd name="connsiteY26" fmla="*/ 1168400 h 2254250"/>
              <a:gd name="connsiteX27" fmla="*/ 2292534 w 3892734"/>
              <a:gd name="connsiteY27" fmla="*/ 1016000 h 2254250"/>
              <a:gd name="connsiteX28" fmla="*/ 2368734 w 3892734"/>
              <a:gd name="connsiteY28" fmla="*/ 876300 h 2254250"/>
              <a:gd name="connsiteX29" fmla="*/ 2425884 w 3892734"/>
              <a:gd name="connsiteY29" fmla="*/ 787400 h 2254250"/>
              <a:gd name="connsiteX30" fmla="*/ 2476684 w 3892734"/>
              <a:gd name="connsiteY30" fmla="*/ 749300 h 2254250"/>
              <a:gd name="connsiteX31" fmla="*/ 2546534 w 3892734"/>
              <a:gd name="connsiteY31" fmla="*/ 736600 h 2254250"/>
              <a:gd name="connsiteX32" fmla="*/ 2654484 w 3892734"/>
              <a:gd name="connsiteY32" fmla="*/ 781050 h 2254250"/>
              <a:gd name="connsiteX33" fmla="*/ 2756084 w 3892734"/>
              <a:gd name="connsiteY33" fmla="*/ 838200 h 2254250"/>
              <a:gd name="connsiteX34" fmla="*/ 2851334 w 3892734"/>
              <a:gd name="connsiteY34" fmla="*/ 901700 h 2254250"/>
              <a:gd name="connsiteX35" fmla="*/ 2997384 w 3892734"/>
              <a:gd name="connsiteY35" fmla="*/ 920750 h 2254250"/>
              <a:gd name="connsiteX36" fmla="*/ 3175184 w 3892734"/>
              <a:gd name="connsiteY36" fmla="*/ 895350 h 2254250"/>
              <a:gd name="connsiteX37" fmla="*/ 3295834 w 3892734"/>
              <a:gd name="connsiteY37" fmla="*/ 774700 h 2254250"/>
              <a:gd name="connsiteX38" fmla="*/ 3391084 w 3892734"/>
              <a:gd name="connsiteY38" fmla="*/ 628650 h 2254250"/>
              <a:gd name="connsiteX39" fmla="*/ 3486334 w 3892734"/>
              <a:gd name="connsiteY39" fmla="*/ 495300 h 2254250"/>
              <a:gd name="connsiteX40" fmla="*/ 3594284 w 3892734"/>
              <a:gd name="connsiteY40" fmla="*/ 412750 h 2254250"/>
              <a:gd name="connsiteX41" fmla="*/ 3714934 w 3892734"/>
              <a:gd name="connsiteY41" fmla="*/ 406400 h 2254250"/>
              <a:gd name="connsiteX42" fmla="*/ 3892734 w 3892734"/>
              <a:gd name="connsiteY42" fmla="*/ 412750 h 2254250"/>
              <a:gd name="connsiteX43" fmla="*/ 3892734 w 3892734"/>
              <a:gd name="connsiteY43" fmla="*/ 755650 h 2254250"/>
              <a:gd name="connsiteX44" fmla="*/ 3708584 w 3892734"/>
              <a:gd name="connsiteY44" fmla="*/ 958850 h 2254250"/>
              <a:gd name="connsiteX45" fmla="*/ 3568884 w 3892734"/>
              <a:gd name="connsiteY45" fmla="*/ 1098550 h 2254250"/>
              <a:gd name="connsiteX46" fmla="*/ 3499034 w 3892734"/>
              <a:gd name="connsiteY46" fmla="*/ 1155700 h 2254250"/>
              <a:gd name="connsiteX47" fmla="*/ 3340284 w 3892734"/>
              <a:gd name="connsiteY47" fmla="*/ 1155700 h 2254250"/>
              <a:gd name="connsiteX48" fmla="*/ 3219634 w 3892734"/>
              <a:gd name="connsiteY48" fmla="*/ 1181100 h 2254250"/>
              <a:gd name="connsiteX49" fmla="*/ 3111684 w 3892734"/>
              <a:gd name="connsiteY49" fmla="*/ 1295400 h 2254250"/>
              <a:gd name="connsiteX50" fmla="*/ 2952934 w 3892734"/>
              <a:gd name="connsiteY50" fmla="*/ 1587500 h 2254250"/>
              <a:gd name="connsiteX51" fmla="*/ 2813234 w 3892734"/>
              <a:gd name="connsiteY51" fmla="*/ 1847850 h 2254250"/>
              <a:gd name="connsiteX52" fmla="*/ 2629084 w 3892734"/>
              <a:gd name="connsiteY52" fmla="*/ 2127250 h 2254250"/>
              <a:gd name="connsiteX53" fmla="*/ 2463984 w 3892734"/>
              <a:gd name="connsiteY53" fmla="*/ 2228850 h 2254250"/>
              <a:gd name="connsiteX54" fmla="*/ 2356034 w 3892734"/>
              <a:gd name="connsiteY54" fmla="*/ 2254250 h 2254250"/>
              <a:gd name="connsiteX55" fmla="*/ 2057584 w 3892734"/>
              <a:gd name="connsiteY55" fmla="*/ 2178050 h 2254250"/>
              <a:gd name="connsiteX56" fmla="*/ 1822634 w 3892734"/>
              <a:gd name="connsiteY56" fmla="*/ 2070100 h 2254250"/>
              <a:gd name="connsiteX57" fmla="*/ 1651184 w 3892734"/>
              <a:gd name="connsiteY57" fmla="*/ 1917700 h 2254250"/>
              <a:gd name="connsiteX58" fmla="*/ 1574984 w 3892734"/>
              <a:gd name="connsiteY58" fmla="*/ 1797050 h 2254250"/>
              <a:gd name="connsiteX59" fmla="*/ 1492434 w 3892734"/>
              <a:gd name="connsiteY59" fmla="*/ 1720850 h 2254250"/>
              <a:gd name="connsiteX60" fmla="*/ 1422584 w 3892734"/>
              <a:gd name="connsiteY60" fmla="*/ 1720850 h 2254250"/>
              <a:gd name="connsiteX61" fmla="*/ 1352734 w 3892734"/>
              <a:gd name="connsiteY61" fmla="*/ 1778000 h 2254250"/>
              <a:gd name="connsiteX62" fmla="*/ 1301934 w 3892734"/>
              <a:gd name="connsiteY62" fmla="*/ 1873250 h 2254250"/>
              <a:gd name="connsiteX63" fmla="*/ 1213034 w 3892734"/>
              <a:gd name="connsiteY63" fmla="*/ 2019300 h 2254250"/>
              <a:gd name="connsiteX64" fmla="*/ 1149534 w 3892734"/>
              <a:gd name="connsiteY64" fmla="*/ 2159000 h 2254250"/>
              <a:gd name="connsiteX65" fmla="*/ 1073334 w 3892734"/>
              <a:gd name="connsiteY65" fmla="*/ 2209800 h 2254250"/>
              <a:gd name="connsiteX66" fmla="*/ 990784 w 3892734"/>
              <a:gd name="connsiteY66" fmla="*/ 2209800 h 2254250"/>
              <a:gd name="connsiteX67" fmla="*/ 914584 w 3892734"/>
              <a:gd name="connsiteY67" fmla="*/ 2076450 h 2254250"/>
              <a:gd name="connsiteX68" fmla="*/ 876484 w 3892734"/>
              <a:gd name="connsiteY68" fmla="*/ 1949450 h 2254250"/>
              <a:gd name="connsiteX69" fmla="*/ 812984 w 3892734"/>
              <a:gd name="connsiteY69" fmla="*/ 1822450 h 2254250"/>
              <a:gd name="connsiteX70" fmla="*/ 730434 w 3892734"/>
              <a:gd name="connsiteY70" fmla="*/ 1758950 h 2254250"/>
              <a:gd name="connsiteX71" fmla="*/ 647884 w 3892734"/>
              <a:gd name="connsiteY71" fmla="*/ 1758950 h 2254250"/>
              <a:gd name="connsiteX72" fmla="*/ 578034 w 3892734"/>
              <a:gd name="connsiteY72" fmla="*/ 1854200 h 2254250"/>
              <a:gd name="connsiteX73" fmla="*/ 501834 w 3892734"/>
              <a:gd name="connsiteY73" fmla="*/ 1993900 h 2254250"/>
              <a:gd name="connsiteX74" fmla="*/ 457384 w 3892734"/>
              <a:gd name="connsiteY74" fmla="*/ 2095500 h 2254250"/>
              <a:gd name="connsiteX75" fmla="*/ 362134 w 3892734"/>
              <a:gd name="connsiteY75" fmla="*/ 2165350 h 2254250"/>
              <a:gd name="connsiteX76" fmla="*/ 538346 w 3892734"/>
              <a:gd name="connsiteY76" fmla="*/ 1642309 h 2254250"/>
              <a:gd name="connsiteX77" fmla="*/ 358959 w 3892734"/>
              <a:gd name="connsiteY77" fmla="*/ 1593072 h 2254250"/>
              <a:gd name="connsiteX78" fmla="*/ 12884 w 3892734"/>
              <a:gd name="connsiteY78" fmla="*/ 1221921 h 2254250"/>
              <a:gd name="connsiteX79" fmla="*/ 184 w 3892734"/>
              <a:gd name="connsiteY79" fmla="*/ 0 h 2254250"/>
              <a:gd name="connsiteX0" fmla="*/ 184 w 3892734"/>
              <a:gd name="connsiteY0" fmla="*/ 0 h 2254250"/>
              <a:gd name="connsiteX1" fmla="*/ 266884 w 3892734"/>
              <a:gd name="connsiteY1" fmla="*/ 1162050 h 2254250"/>
              <a:gd name="connsiteX2" fmla="*/ 317684 w 3892734"/>
              <a:gd name="connsiteY2" fmla="*/ 1308100 h 2254250"/>
              <a:gd name="connsiteX3" fmla="*/ 362134 w 3892734"/>
              <a:gd name="connsiteY3" fmla="*/ 1371600 h 2254250"/>
              <a:gd name="connsiteX4" fmla="*/ 412934 w 3892734"/>
              <a:gd name="connsiteY4" fmla="*/ 1314450 h 2254250"/>
              <a:gd name="connsiteX5" fmla="*/ 514534 w 3892734"/>
              <a:gd name="connsiteY5" fmla="*/ 996950 h 2254250"/>
              <a:gd name="connsiteX6" fmla="*/ 584384 w 3892734"/>
              <a:gd name="connsiteY6" fmla="*/ 641350 h 2254250"/>
              <a:gd name="connsiteX7" fmla="*/ 641534 w 3892734"/>
              <a:gd name="connsiteY7" fmla="*/ 444500 h 2254250"/>
              <a:gd name="connsiteX8" fmla="*/ 692334 w 3892734"/>
              <a:gd name="connsiteY8" fmla="*/ 330200 h 2254250"/>
              <a:gd name="connsiteX9" fmla="*/ 724084 w 3892734"/>
              <a:gd name="connsiteY9" fmla="*/ 279400 h 2254250"/>
              <a:gd name="connsiteX10" fmla="*/ 806634 w 3892734"/>
              <a:gd name="connsiteY10" fmla="*/ 298450 h 2254250"/>
              <a:gd name="connsiteX11" fmla="*/ 927284 w 3892734"/>
              <a:gd name="connsiteY11" fmla="*/ 495300 h 2254250"/>
              <a:gd name="connsiteX12" fmla="*/ 978084 w 3892734"/>
              <a:gd name="connsiteY12" fmla="*/ 622300 h 2254250"/>
              <a:gd name="connsiteX13" fmla="*/ 1060634 w 3892734"/>
              <a:gd name="connsiteY13" fmla="*/ 666750 h 2254250"/>
              <a:gd name="connsiteX14" fmla="*/ 1136834 w 3892734"/>
              <a:gd name="connsiteY14" fmla="*/ 622300 h 2254250"/>
              <a:gd name="connsiteX15" fmla="*/ 1225734 w 3892734"/>
              <a:gd name="connsiteY15" fmla="*/ 495300 h 2254250"/>
              <a:gd name="connsiteX16" fmla="*/ 1289234 w 3892734"/>
              <a:gd name="connsiteY16" fmla="*/ 355600 h 2254250"/>
              <a:gd name="connsiteX17" fmla="*/ 1352734 w 3892734"/>
              <a:gd name="connsiteY17" fmla="*/ 292100 h 2254250"/>
              <a:gd name="connsiteX18" fmla="*/ 1397184 w 3892734"/>
              <a:gd name="connsiteY18" fmla="*/ 254000 h 2254250"/>
              <a:gd name="connsiteX19" fmla="*/ 1486084 w 3892734"/>
              <a:gd name="connsiteY19" fmla="*/ 285750 h 2254250"/>
              <a:gd name="connsiteX20" fmla="*/ 1581334 w 3892734"/>
              <a:gd name="connsiteY20" fmla="*/ 438150 h 2254250"/>
              <a:gd name="connsiteX21" fmla="*/ 1670234 w 3892734"/>
              <a:gd name="connsiteY21" fmla="*/ 654050 h 2254250"/>
              <a:gd name="connsiteX22" fmla="*/ 1905184 w 3892734"/>
              <a:gd name="connsiteY22" fmla="*/ 1066800 h 2254250"/>
              <a:gd name="connsiteX23" fmla="*/ 2006784 w 3892734"/>
              <a:gd name="connsiteY23" fmla="*/ 1212850 h 2254250"/>
              <a:gd name="connsiteX24" fmla="*/ 2082984 w 3892734"/>
              <a:gd name="connsiteY24" fmla="*/ 1295400 h 2254250"/>
              <a:gd name="connsiteX25" fmla="*/ 2190934 w 3892734"/>
              <a:gd name="connsiteY25" fmla="*/ 1263650 h 2254250"/>
              <a:gd name="connsiteX26" fmla="*/ 2235384 w 3892734"/>
              <a:gd name="connsiteY26" fmla="*/ 1168400 h 2254250"/>
              <a:gd name="connsiteX27" fmla="*/ 2292534 w 3892734"/>
              <a:gd name="connsiteY27" fmla="*/ 1016000 h 2254250"/>
              <a:gd name="connsiteX28" fmla="*/ 2368734 w 3892734"/>
              <a:gd name="connsiteY28" fmla="*/ 876300 h 2254250"/>
              <a:gd name="connsiteX29" fmla="*/ 2425884 w 3892734"/>
              <a:gd name="connsiteY29" fmla="*/ 787400 h 2254250"/>
              <a:gd name="connsiteX30" fmla="*/ 2476684 w 3892734"/>
              <a:gd name="connsiteY30" fmla="*/ 749300 h 2254250"/>
              <a:gd name="connsiteX31" fmla="*/ 2546534 w 3892734"/>
              <a:gd name="connsiteY31" fmla="*/ 736600 h 2254250"/>
              <a:gd name="connsiteX32" fmla="*/ 2654484 w 3892734"/>
              <a:gd name="connsiteY32" fmla="*/ 781050 h 2254250"/>
              <a:gd name="connsiteX33" fmla="*/ 2756084 w 3892734"/>
              <a:gd name="connsiteY33" fmla="*/ 838200 h 2254250"/>
              <a:gd name="connsiteX34" fmla="*/ 2851334 w 3892734"/>
              <a:gd name="connsiteY34" fmla="*/ 901700 h 2254250"/>
              <a:gd name="connsiteX35" fmla="*/ 2997384 w 3892734"/>
              <a:gd name="connsiteY35" fmla="*/ 920750 h 2254250"/>
              <a:gd name="connsiteX36" fmla="*/ 3175184 w 3892734"/>
              <a:gd name="connsiteY36" fmla="*/ 895350 h 2254250"/>
              <a:gd name="connsiteX37" fmla="*/ 3295834 w 3892734"/>
              <a:gd name="connsiteY37" fmla="*/ 774700 h 2254250"/>
              <a:gd name="connsiteX38" fmla="*/ 3391084 w 3892734"/>
              <a:gd name="connsiteY38" fmla="*/ 628650 h 2254250"/>
              <a:gd name="connsiteX39" fmla="*/ 3486334 w 3892734"/>
              <a:gd name="connsiteY39" fmla="*/ 495300 h 2254250"/>
              <a:gd name="connsiteX40" fmla="*/ 3594284 w 3892734"/>
              <a:gd name="connsiteY40" fmla="*/ 412750 h 2254250"/>
              <a:gd name="connsiteX41" fmla="*/ 3714934 w 3892734"/>
              <a:gd name="connsiteY41" fmla="*/ 406400 h 2254250"/>
              <a:gd name="connsiteX42" fmla="*/ 3892734 w 3892734"/>
              <a:gd name="connsiteY42" fmla="*/ 412750 h 2254250"/>
              <a:gd name="connsiteX43" fmla="*/ 3892734 w 3892734"/>
              <a:gd name="connsiteY43" fmla="*/ 755650 h 2254250"/>
              <a:gd name="connsiteX44" fmla="*/ 3708584 w 3892734"/>
              <a:gd name="connsiteY44" fmla="*/ 958850 h 2254250"/>
              <a:gd name="connsiteX45" fmla="*/ 3568884 w 3892734"/>
              <a:gd name="connsiteY45" fmla="*/ 1098550 h 2254250"/>
              <a:gd name="connsiteX46" fmla="*/ 3499034 w 3892734"/>
              <a:gd name="connsiteY46" fmla="*/ 1155700 h 2254250"/>
              <a:gd name="connsiteX47" fmla="*/ 3340284 w 3892734"/>
              <a:gd name="connsiteY47" fmla="*/ 1155700 h 2254250"/>
              <a:gd name="connsiteX48" fmla="*/ 3219634 w 3892734"/>
              <a:gd name="connsiteY48" fmla="*/ 1181100 h 2254250"/>
              <a:gd name="connsiteX49" fmla="*/ 3111684 w 3892734"/>
              <a:gd name="connsiteY49" fmla="*/ 1295400 h 2254250"/>
              <a:gd name="connsiteX50" fmla="*/ 2952934 w 3892734"/>
              <a:gd name="connsiteY50" fmla="*/ 1587500 h 2254250"/>
              <a:gd name="connsiteX51" fmla="*/ 2813234 w 3892734"/>
              <a:gd name="connsiteY51" fmla="*/ 1847850 h 2254250"/>
              <a:gd name="connsiteX52" fmla="*/ 2629084 w 3892734"/>
              <a:gd name="connsiteY52" fmla="*/ 2127250 h 2254250"/>
              <a:gd name="connsiteX53" fmla="*/ 2463984 w 3892734"/>
              <a:gd name="connsiteY53" fmla="*/ 2228850 h 2254250"/>
              <a:gd name="connsiteX54" fmla="*/ 2356034 w 3892734"/>
              <a:gd name="connsiteY54" fmla="*/ 2254250 h 2254250"/>
              <a:gd name="connsiteX55" fmla="*/ 2057584 w 3892734"/>
              <a:gd name="connsiteY55" fmla="*/ 2178050 h 2254250"/>
              <a:gd name="connsiteX56" fmla="*/ 1822634 w 3892734"/>
              <a:gd name="connsiteY56" fmla="*/ 2070100 h 2254250"/>
              <a:gd name="connsiteX57" fmla="*/ 1651184 w 3892734"/>
              <a:gd name="connsiteY57" fmla="*/ 1917700 h 2254250"/>
              <a:gd name="connsiteX58" fmla="*/ 1574984 w 3892734"/>
              <a:gd name="connsiteY58" fmla="*/ 1797050 h 2254250"/>
              <a:gd name="connsiteX59" fmla="*/ 1492434 w 3892734"/>
              <a:gd name="connsiteY59" fmla="*/ 1720850 h 2254250"/>
              <a:gd name="connsiteX60" fmla="*/ 1422584 w 3892734"/>
              <a:gd name="connsiteY60" fmla="*/ 1720850 h 2254250"/>
              <a:gd name="connsiteX61" fmla="*/ 1352734 w 3892734"/>
              <a:gd name="connsiteY61" fmla="*/ 1778000 h 2254250"/>
              <a:gd name="connsiteX62" fmla="*/ 1301934 w 3892734"/>
              <a:gd name="connsiteY62" fmla="*/ 1873250 h 2254250"/>
              <a:gd name="connsiteX63" fmla="*/ 1213034 w 3892734"/>
              <a:gd name="connsiteY63" fmla="*/ 2019300 h 2254250"/>
              <a:gd name="connsiteX64" fmla="*/ 1149534 w 3892734"/>
              <a:gd name="connsiteY64" fmla="*/ 2159000 h 2254250"/>
              <a:gd name="connsiteX65" fmla="*/ 1073334 w 3892734"/>
              <a:gd name="connsiteY65" fmla="*/ 2209800 h 2254250"/>
              <a:gd name="connsiteX66" fmla="*/ 990784 w 3892734"/>
              <a:gd name="connsiteY66" fmla="*/ 2209800 h 2254250"/>
              <a:gd name="connsiteX67" fmla="*/ 914584 w 3892734"/>
              <a:gd name="connsiteY67" fmla="*/ 2076450 h 2254250"/>
              <a:gd name="connsiteX68" fmla="*/ 876484 w 3892734"/>
              <a:gd name="connsiteY68" fmla="*/ 1949450 h 2254250"/>
              <a:gd name="connsiteX69" fmla="*/ 812984 w 3892734"/>
              <a:gd name="connsiteY69" fmla="*/ 1822450 h 2254250"/>
              <a:gd name="connsiteX70" fmla="*/ 730434 w 3892734"/>
              <a:gd name="connsiteY70" fmla="*/ 1758950 h 2254250"/>
              <a:gd name="connsiteX71" fmla="*/ 647884 w 3892734"/>
              <a:gd name="connsiteY71" fmla="*/ 1758950 h 2254250"/>
              <a:gd name="connsiteX72" fmla="*/ 578034 w 3892734"/>
              <a:gd name="connsiteY72" fmla="*/ 1854200 h 2254250"/>
              <a:gd name="connsiteX73" fmla="*/ 501834 w 3892734"/>
              <a:gd name="connsiteY73" fmla="*/ 1993900 h 2254250"/>
              <a:gd name="connsiteX74" fmla="*/ 457384 w 3892734"/>
              <a:gd name="connsiteY74" fmla="*/ 2095500 h 2254250"/>
              <a:gd name="connsiteX75" fmla="*/ 362134 w 3892734"/>
              <a:gd name="connsiteY75" fmla="*/ 2165350 h 2254250"/>
              <a:gd name="connsiteX76" fmla="*/ 538346 w 3892734"/>
              <a:gd name="connsiteY76" fmla="*/ 1642309 h 2254250"/>
              <a:gd name="connsiteX77" fmla="*/ 358959 w 3892734"/>
              <a:gd name="connsiteY77" fmla="*/ 1593072 h 2254250"/>
              <a:gd name="connsiteX78" fmla="*/ 12884 w 3892734"/>
              <a:gd name="connsiteY78" fmla="*/ 1221921 h 2254250"/>
              <a:gd name="connsiteX79" fmla="*/ 184 w 3892734"/>
              <a:gd name="connsiteY79" fmla="*/ 0 h 2254250"/>
              <a:gd name="connsiteX0" fmla="*/ 184 w 3892734"/>
              <a:gd name="connsiteY0" fmla="*/ 0 h 2254250"/>
              <a:gd name="connsiteX1" fmla="*/ 266884 w 3892734"/>
              <a:gd name="connsiteY1" fmla="*/ 1162050 h 2254250"/>
              <a:gd name="connsiteX2" fmla="*/ 317684 w 3892734"/>
              <a:gd name="connsiteY2" fmla="*/ 1308100 h 2254250"/>
              <a:gd name="connsiteX3" fmla="*/ 362134 w 3892734"/>
              <a:gd name="connsiteY3" fmla="*/ 1371600 h 2254250"/>
              <a:gd name="connsiteX4" fmla="*/ 412934 w 3892734"/>
              <a:gd name="connsiteY4" fmla="*/ 1314450 h 2254250"/>
              <a:gd name="connsiteX5" fmla="*/ 514534 w 3892734"/>
              <a:gd name="connsiteY5" fmla="*/ 996950 h 2254250"/>
              <a:gd name="connsiteX6" fmla="*/ 584384 w 3892734"/>
              <a:gd name="connsiteY6" fmla="*/ 641350 h 2254250"/>
              <a:gd name="connsiteX7" fmla="*/ 641534 w 3892734"/>
              <a:gd name="connsiteY7" fmla="*/ 444500 h 2254250"/>
              <a:gd name="connsiteX8" fmla="*/ 692334 w 3892734"/>
              <a:gd name="connsiteY8" fmla="*/ 330200 h 2254250"/>
              <a:gd name="connsiteX9" fmla="*/ 724084 w 3892734"/>
              <a:gd name="connsiteY9" fmla="*/ 279400 h 2254250"/>
              <a:gd name="connsiteX10" fmla="*/ 806634 w 3892734"/>
              <a:gd name="connsiteY10" fmla="*/ 298450 h 2254250"/>
              <a:gd name="connsiteX11" fmla="*/ 927284 w 3892734"/>
              <a:gd name="connsiteY11" fmla="*/ 495300 h 2254250"/>
              <a:gd name="connsiteX12" fmla="*/ 978084 w 3892734"/>
              <a:gd name="connsiteY12" fmla="*/ 622300 h 2254250"/>
              <a:gd name="connsiteX13" fmla="*/ 1060634 w 3892734"/>
              <a:gd name="connsiteY13" fmla="*/ 666750 h 2254250"/>
              <a:gd name="connsiteX14" fmla="*/ 1136834 w 3892734"/>
              <a:gd name="connsiteY14" fmla="*/ 622300 h 2254250"/>
              <a:gd name="connsiteX15" fmla="*/ 1225734 w 3892734"/>
              <a:gd name="connsiteY15" fmla="*/ 495300 h 2254250"/>
              <a:gd name="connsiteX16" fmla="*/ 1289234 w 3892734"/>
              <a:gd name="connsiteY16" fmla="*/ 355600 h 2254250"/>
              <a:gd name="connsiteX17" fmla="*/ 1352734 w 3892734"/>
              <a:gd name="connsiteY17" fmla="*/ 292100 h 2254250"/>
              <a:gd name="connsiteX18" fmla="*/ 1397184 w 3892734"/>
              <a:gd name="connsiteY18" fmla="*/ 254000 h 2254250"/>
              <a:gd name="connsiteX19" fmla="*/ 1486084 w 3892734"/>
              <a:gd name="connsiteY19" fmla="*/ 285750 h 2254250"/>
              <a:gd name="connsiteX20" fmla="*/ 1581334 w 3892734"/>
              <a:gd name="connsiteY20" fmla="*/ 438150 h 2254250"/>
              <a:gd name="connsiteX21" fmla="*/ 1670234 w 3892734"/>
              <a:gd name="connsiteY21" fmla="*/ 654050 h 2254250"/>
              <a:gd name="connsiteX22" fmla="*/ 1905184 w 3892734"/>
              <a:gd name="connsiteY22" fmla="*/ 1066800 h 2254250"/>
              <a:gd name="connsiteX23" fmla="*/ 2006784 w 3892734"/>
              <a:gd name="connsiteY23" fmla="*/ 1212850 h 2254250"/>
              <a:gd name="connsiteX24" fmla="*/ 2082984 w 3892734"/>
              <a:gd name="connsiteY24" fmla="*/ 1295400 h 2254250"/>
              <a:gd name="connsiteX25" fmla="*/ 2190934 w 3892734"/>
              <a:gd name="connsiteY25" fmla="*/ 1263650 h 2254250"/>
              <a:gd name="connsiteX26" fmla="*/ 2235384 w 3892734"/>
              <a:gd name="connsiteY26" fmla="*/ 1168400 h 2254250"/>
              <a:gd name="connsiteX27" fmla="*/ 2292534 w 3892734"/>
              <a:gd name="connsiteY27" fmla="*/ 1016000 h 2254250"/>
              <a:gd name="connsiteX28" fmla="*/ 2368734 w 3892734"/>
              <a:gd name="connsiteY28" fmla="*/ 876300 h 2254250"/>
              <a:gd name="connsiteX29" fmla="*/ 2425884 w 3892734"/>
              <a:gd name="connsiteY29" fmla="*/ 787400 h 2254250"/>
              <a:gd name="connsiteX30" fmla="*/ 2476684 w 3892734"/>
              <a:gd name="connsiteY30" fmla="*/ 749300 h 2254250"/>
              <a:gd name="connsiteX31" fmla="*/ 2546534 w 3892734"/>
              <a:gd name="connsiteY31" fmla="*/ 736600 h 2254250"/>
              <a:gd name="connsiteX32" fmla="*/ 2654484 w 3892734"/>
              <a:gd name="connsiteY32" fmla="*/ 781050 h 2254250"/>
              <a:gd name="connsiteX33" fmla="*/ 2756084 w 3892734"/>
              <a:gd name="connsiteY33" fmla="*/ 838200 h 2254250"/>
              <a:gd name="connsiteX34" fmla="*/ 2851334 w 3892734"/>
              <a:gd name="connsiteY34" fmla="*/ 901700 h 2254250"/>
              <a:gd name="connsiteX35" fmla="*/ 2997384 w 3892734"/>
              <a:gd name="connsiteY35" fmla="*/ 920750 h 2254250"/>
              <a:gd name="connsiteX36" fmla="*/ 3175184 w 3892734"/>
              <a:gd name="connsiteY36" fmla="*/ 895350 h 2254250"/>
              <a:gd name="connsiteX37" fmla="*/ 3295834 w 3892734"/>
              <a:gd name="connsiteY37" fmla="*/ 774700 h 2254250"/>
              <a:gd name="connsiteX38" fmla="*/ 3391084 w 3892734"/>
              <a:gd name="connsiteY38" fmla="*/ 628650 h 2254250"/>
              <a:gd name="connsiteX39" fmla="*/ 3486334 w 3892734"/>
              <a:gd name="connsiteY39" fmla="*/ 495300 h 2254250"/>
              <a:gd name="connsiteX40" fmla="*/ 3594284 w 3892734"/>
              <a:gd name="connsiteY40" fmla="*/ 412750 h 2254250"/>
              <a:gd name="connsiteX41" fmla="*/ 3714934 w 3892734"/>
              <a:gd name="connsiteY41" fmla="*/ 406400 h 2254250"/>
              <a:gd name="connsiteX42" fmla="*/ 3892734 w 3892734"/>
              <a:gd name="connsiteY42" fmla="*/ 412750 h 2254250"/>
              <a:gd name="connsiteX43" fmla="*/ 3892734 w 3892734"/>
              <a:gd name="connsiteY43" fmla="*/ 755650 h 2254250"/>
              <a:gd name="connsiteX44" fmla="*/ 3708584 w 3892734"/>
              <a:gd name="connsiteY44" fmla="*/ 958850 h 2254250"/>
              <a:gd name="connsiteX45" fmla="*/ 3568884 w 3892734"/>
              <a:gd name="connsiteY45" fmla="*/ 1098550 h 2254250"/>
              <a:gd name="connsiteX46" fmla="*/ 3499034 w 3892734"/>
              <a:gd name="connsiteY46" fmla="*/ 1155700 h 2254250"/>
              <a:gd name="connsiteX47" fmla="*/ 3340284 w 3892734"/>
              <a:gd name="connsiteY47" fmla="*/ 1155700 h 2254250"/>
              <a:gd name="connsiteX48" fmla="*/ 3219634 w 3892734"/>
              <a:gd name="connsiteY48" fmla="*/ 1181100 h 2254250"/>
              <a:gd name="connsiteX49" fmla="*/ 3111684 w 3892734"/>
              <a:gd name="connsiteY49" fmla="*/ 1295400 h 2254250"/>
              <a:gd name="connsiteX50" fmla="*/ 2952934 w 3892734"/>
              <a:gd name="connsiteY50" fmla="*/ 1587500 h 2254250"/>
              <a:gd name="connsiteX51" fmla="*/ 2813234 w 3892734"/>
              <a:gd name="connsiteY51" fmla="*/ 1847850 h 2254250"/>
              <a:gd name="connsiteX52" fmla="*/ 2629084 w 3892734"/>
              <a:gd name="connsiteY52" fmla="*/ 2127250 h 2254250"/>
              <a:gd name="connsiteX53" fmla="*/ 2463984 w 3892734"/>
              <a:gd name="connsiteY53" fmla="*/ 2228850 h 2254250"/>
              <a:gd name="connsiteX54" fmla="*/ 2356034 w 3892734"/>
              <a:gd name="connsiteY54" fmla="*/ 2254250 h 2254250"/>
              <a:gd name="connsiteX55" fmla="*/ 2057584 w 3892734"/>
              <a:gd name="connsiteY55" fmla="*/ 2178050 h 2254250"/>
              <a:gd name="connsiteX56" fmla="*/ 1822634 w 3892734"/>
              <a:gd name="connsiteY56" fmla="*/ 2070100 h 2254250"/>
              <a:gd name="connsiteX57" fmla="*/ 1651184 w 3892734"/>
              <a:gd name="connsiteY57" fmla="*/ 1917700 h 2254250"/>
              <a:gd name="connsiteX58" fmla="*/ 1574984 w 3892734"/>
              <a:gd name="connsiteY58" fmla="*/ 1797050 h 2254250"/>
              <a:gd name="connsiteX59" fmla="*/ 1492434 w 3892734"/>
              <a:gd name="connsiteY59" fmla="*/ 1720850 h 2254250"/>
              <a:gd name="connsiteX60" fmla="*/ 1422584 w 3892734"/>
              <a:gd name="connsiteY60" fmla="*/ 1720850 h 2254250"/>
              <a:gd name="connsiteX61" fmla="*/ 1352734 w 3892734"/>
              <a:gd name="connsiteY61" fmla="*/ 1778000 h 2254250"/>
              <a:gd name="connsiteX62" fmla="*/ 1301934 w 3892734"/>
              <a:gd name="connsiteY62" fmla="*/ 1873250 h 2254250"/>
              <a:gd name="connsiteX63" fmla="*/ 1213034 w 3892734"/>
              <a:gd name="connsiteY63" fmla="*/ 2019300 h 2254250"/>
              <a:gd name="connsiteX64" fmla="*/ 1149534 w 3892734"/>
              <a:gd name="connsiteY64" fmla="*/ 2159000 h 2254250"/>
              <a:gd name="connsiteX65" fmla="*/ 1073334 w 3892734"/>
              <a:gd name="connsiteY65" fmla="*/ 2209800 h 2254250"/>
              <a:gd name="connsiteX66" fmla="*/ 990784 w 3892734"/>
              <a:gd name="connsiteY66" fmla="*/ 2209800 h 2254250"/>
              <a:gd name="connsiteX67" fmla="*/ 914584 w 3892734"/>
              <a:gd name="connsiteY67" fmla="*/ 2076450 h 2254250"/>
              <a:gd name="connsiteX68" fmla="*/ 876484 w 3892734"/>
              <a:gd name="connsiteY68" fmla="*/ 1949450 h 2254250"/>
              <a:gd name="connsiteX69" fmla="*/ 812984 w 3892734"/>
              <a:gd name="connsiteY69" fmla="*/ 1822450 h 2254250"/>
              <a:gd name="connsiteX70" fmla="*/ 730434 w 3892734"/>
              <a:gd name="connsiteY70" fmla="*/ 1758950 h 2254250"/>
              <a:gd name="connsiteX71" fmla="*/ 647884 w 3892734"/>
              <a:gd name="connsiteY71" fmla="*/ 1758950 h 2254250"/>
              <a:gd name="connsiteX72" fmla="*/ 578034 w 3892734"/>
              <a:gd name="connsiteY72" fmla="*/ 1854200 h 2254250"/>
              <a:gd name="connsiteX73" fmla="*/ 501834 w 3892734"/>
              <a:gd name="connsiteY73" fmla="*/ 1993900 h 2254250"/>
              <a:gd name="connsiteX74" fmla="*/ 457384 w 3892734"/>
              <a:gd name="connsiteY74" fmla="*/ 2095500 h 2254250"/>
              <a:gd name="connsiteX75" fmla="*/ 743134 w 3892734"/>
              <a:gd name="connsiteY75" fmla="*/ 1587266 h 2254250"/>
              <a:gd name="connsiteX76" fmla="*/ 538346 w 3892734"/>
              <a:gd name="connsiteY76" fmla="*/ 1642309 h 2254250"/>
              <a:gd name="connsiteX77" fmla="*/ 358959 w 3892734"/>
              <a:gd name="connsiteY77" fmla="*/ 1593072 h 2254250"/>
              <a:gd name="connsiteX78" fmla="*/ 12884 w 3892734"/>
              <a:gd name="connsiteY78" fmla="*/ 1221921 h 2254250"/>
              <a:gd name="connsiteX79" fmla="*/ 184 w 3892734"/>
              <a:gd name="connsiteY79" fmla="*/ 0 h 2254250"/>
              <a:gd name="connsiteX0" fmla="*/ 184 w 3892734"/>
              <a:gd name="connsiteY0" fmla="*/ 0 h 2254250"/>
              <a:gd name="connsiteX1" fmla="*/ 266884 w 3892734"/>
              <a:gd name="connsiteY1" fmla="*/ 1162050 h 2254250"/>
              <a:gd name="connsiteX2" fmla="*/ 317684 w 3892734"/>
              <a:gd name="connsiteY2" fmla="*/ 1308100 h 2254250"/>
              <a:gd name="connsiteX3" fmla="*/ 362134 w 3892734"/>
              <a:gd name="connsiteY3" fmla="*/ 1371600 h 2254250"/>
              <a:gd name="connsiteX4" fmla="*/ 412934 w 3892734"/>
              <a:gd name="connsiteY4" fmla="*/ 1314450 h 2254250"/>
              <a:gd name="connsiteX5" fmla="*/ 514534 w 3892734"/>
              <a:gd name="connsiteY5" fmla="*/ 996950 h 2254250"/>
              <a:gd name="connsiteX6" fmla="*/ 584384 w 3892734"/>
              <a:gd name="connsiteY6" fmla="*/ 641350 h 2254250"/>
              <a:gd name="connsiteX7" fmla="*/ 641534 w 3892734"/>
              <a:gd name="connsiteY7" fmla="*/ 444500 h 2254250"/>
              <a:gd name="connsiteX8" fmla="*/ 692334 w 3892734"/>
              <a:gd name="connsiteY8" fmla="*/ 330200 h 2254250"/>
              <a:gd name="connsiteX9" fmla="*/ 724084 w 3892734"/>
              <a:gd name="connsiteY9" fmla="*/ 279400 h 2254250"/>
              <a:gd name="connsiteX10" fmla="*/ 806634 w 3892734"/>
              <a:gd name="connsiteY10" fmla="*/ 298450 h 2254250"/>
              <a:gd name="connsiteX11" fmla="*/ 927284 w 3892734"/>
              <a:gd name="connsiteY11" fmla="*/ 495300 h 2254250"/>
              <a:gd name="connsiteX12" fmla="*/ 978084 w 3892734"/>
              <a:gd name="connsiteY12" fmla="*/ 622300 h 2254250"/>
              <a:gd name="connsiteX13" fmla="*/ 1060634 w 3892734"/>
              <a:gd name="connsiteY13" fmla="*/ 666750 h 2254250"/>
              <a:gd name="connsiteX14" fmla="*/ 1136834 w 3892734"/>
              <a:gd name="connsiteY14" fmla="*/ 622300 h 2254250"/>
              <a:gd name="connsiteX15" fmla="*/ 1225734 w 3892734"/>
              <a:gd name="connsiteY15" fmla="*/ 495300 h 2254250"/>
              <a:gd name="connsiteX16" fmla="*/ 1289234 w 3892734"/>
              <a:gd name="connsiteY16" fmla="*/ 355600 h 2254250"/>
              <a:gd name="connsiteX17" fmla="*/ 1352734 w 3892734"/>
              <a:gd name="connsiteY17" fmla="*/ 292100 h 2254250"/>
              <a:gd name="connsiteX18" fmla="*/ 1397184 w 3892734"/>
              <a:gd name="connsiteY18" fmla="*/ 254000 h 2254250"/>
              <a:gd name="connsiteX19" fmla="*/ 1486084 w 3892734"/>
              <a:gd name="connsiteY19" fmla="*/ 285750 h 2254250"/>
              <a:gd name="connsiteX20" fmla="*/ 1581334 w 3892734"/>
              <a:gd name="connsiteY20" fmla="*/ 438150 h 2254250"/>
              <a:gd name="connsiteX21" fmla="*/ 1670234 w 3892734"/>
              <a:gd name="connsiteY21" fmla="*/ 654050 h 2254250"/>
              <a:gd name="connsiteX22" fmla="*/ 1905184 w 3892734"/>
              <a:gd name="connsiteY22" fmla="*/ 1066800 h 2254250"/>
              <a:gd name="connsiteX23" fmla="*/ 2006784 w 3892734"/>
              <a:gd name="connsiteY23" fmla="*/ 1212850 h 2254250"/>
              <a:gd name="connsiteX24" fmla="*/ 2082984 w 3892734"/>
              <a:gd name="connsiteY24" fmla="*/ 1295400 h 2254250"/>
              <a:gd name="connsiteX25" fmla="*/ 2190934 w 3892734"/>
              <a:gd name="connsiteY25" fmla="*/ 1263650 h 2254250"/>
              <a:gd name="connsiteX26" fmla="*/ 2235384 w 3892734"/>
              <a:gd name="connsiteY26" fmla="*/ 1168400 h 2254250"/>
              <a:gd name="connsiteX27" fmla="*/ 2292534 w 3892734"/>
              <a:gd name="connsiteY27" fmla="*/ 1016000 h 2254250"/>
              <a:gd name="connsiteX28" fmla="*/ 2368734 w 3892734"/>
              <a:gd name="connsiteY28" fmla="*/ 876300 h 2254250"/>
              <a:gd name="connsiteX29" fmla="*/ 2425884 w 3892734"/>
              <a:gd name="connsiteY29" fmla="*/ 787400 h 2254250"/>
              <a:gd name="connsiteX30" fmla="*/ 2476684 w 3892734"/>
              <a:gd name="connsiteY30" fmla="*/ 749300 h 2254250"/>
              <a:gd name="connsiteX31" fmla="*/ 2546534 w 3892734"/>
              <a:gd name="connsiteY31" fmla="*/ 736600 h 2254250"/>
              <a:gd name="connsiteX32" fmla="*/ 2654484 w 3892734"/>
              <a:gd name="connsiteY32" fmla="*/ 781050 h 2254250"/>
              <a:gd name="connsiteX33" fmla="*/ 2756084 w 3892734"/>
              <a:gd name="connsiteY33" fmla="*/ 838200 h 2254250"/>
              <a:gd name="connsiteX34" fmla="*/ 2851334 w 3892734"/>
              <a:gd name="connsiteY34" fmla="*/ 901700 h 2254250"/>
              <a:gd name="connsiteX35" fmla="*/ 2997384 w 3892734"/>
              <a:gd name="connsiteY35" fmla="*/ 920750 h 2254250"/>
              <a:gd name="connsiteX36" fmla="*/ 3175184 w 3892734"/>
              <a:gd name="connsiteY36" fmla="*/ 895350 h 2254250"/>
              <a:gd name="connsiteX37" fmla="*/ 3295834 w 3892734"/>
              <a:gd name="connsiteY37" fmla="*/ 774700 h 2254250"/>
              <a:gd name="connsiteX38" fmla="*/ 3391084 w 3892734"/>
              <a:gd name="connsiteY38" fmla="*/ 628650 h 2254250"/>
              <a:gd name="connsiteX39" fmla="*/ 3486334 w 3892734"/>
              <a:gd name="connsiteY39" fmla="*/ 495300 h 2254250"/>
              <a:gd name="connsiteX40" fmla="*/ 3594284 w 3892734"/>
              <a:gd name="connsiteY40" fmla="*/ 412750 h 2254250"/>
              <a:gd name="connsiteX41" fmla="*/ 3714934 w 3892734"/>
              <a:gd name="connsiteY41" fmla="*/ 406400 h 2254250"/>
              <a:gd name="connsiteX42" fmla="*/ 3892734 w 3892734"/>
              <a:gd name="connsiteY42" fmla="*/ 412750 h 2254250"/>
              <a:gd name="connsiteX43" fmla="*/ 3892734 w 3892734"/>
              <a:gd name="connsiteY43" fmla="*/ 755650 h 2254250"/>
              <a:gd name="connsiteX44" fmla="*/ 3708584 w 3892734"/>
              <a:gd name="connsiteY44" fmla="*/ 958850 h 2254250"/>
              <a:gd name="connsiteX45" fmla="*/ 3568884 w 3892734"/>
              <a:gd name="connsiteY45" fmla="*/ 1098550 h 2254250"/>
              <a:gd name="connsiteX46" fmla="*/ 3499034 w 3892734"/>
              <a:gd name="connsiteY46" fmla="*/ 1155700 h 2254250"/>
              <a:gd name="connsiteX47" fmla="*/ 3340284 w 3892734"/>
              <a:gd name="connsiteY47" fmla="*/ 1155700 h 2254250"/>
              <a:gd name="connsiteX48" fmla="*/ 3219634 w 3892734"/>
              <a:gd name="connsiteY48" fmla="*/ 1181100 h 2254250"/>
              <a:gd name="connsiteX49" fmla="*/ 3111684 w 3892734"/>
              <a:gd name="connsiteY49" fmla="*/ 1295400 h 2254250"/>
              <a:gd name="connsiteX50" fmla="*/ 2952934 w 3892734"/>
              <a:gd name="connsiteY50" fmla="*/ 1587500 h 2254250"/>
              <a:gd name="connsiteX51" fmla="*/ 2813234 w 3892734"/>
              <a:gd name="connsiteY51" fmla="*/ 1847850 h 2254250"/>
              <a:gd name="connsiteX52" fmla="*/ 2629084 w 3892734"/>
              <a:gd name="connsiteY52" fmla="*/ 2127250 h 2254250"/>
              <a:gd name="connsiteX53" fmla="*/ 2463984 w 3892734"/>
              <a:gd name="connsiteY53" fmla="*/ 2228850 h 2254250"/>
              <a:gd name="connsiteX54" fmla="*/ 2356034 w 3892734"/>
              <a:gd name="connsiteY54" fmla="*/ 2254250 h 2254250"/>
              <a:gd name="connsiteX55" fmla="*/ 2057584 w 3892734"/>
              <a:gd name="connsiteY55" fmla="*/ 2178050 h 2254250"/>
              <a:gd name="connsiteX56" fmla="*/ 1822634 w 3892734"/>
              <a:gd name="connsiteY56" fmla="*/ 2070100 h 2254250"/>
              <a:gd name="connsiteX57" fmla="*/ 1651184 w 3892734"/>
              <a:gd name="connsiteY57" fmla="*/ 1917700 h 2254250"/>
              <a:gd name="connsiteX58" fmla="*/ 1574984 w 3892734"/>
              <a:gd name="connsiteY58" fmla="*/ 1797050 h 2254250"/>
              <a:gd name="connsiteX59" fmla="*/ 1492434 w 3892734"/>
              <a:gd name="connsiteY59" fmla="*/ 1720850 h 2254250"/>
              <a:gd name="connsiteX60" fmla="*/ 1422584 w 3892734"/>
              <a:gd name="connsiteY60" fmla="*/ 1720850 h 2254250"/>
              <a:gd name="connsiteX61" fmla="*/ 1352734 w 3892734"/>
              <a:gd name="connsiteY61" fmla="*/ 1778000 h 2254250"/>
              <a:gd name="connsiteX62" fmla="*/ 1301934 w 3892734"/>
              <a:gd name="connsiteY62" fmla="*/ 1873250 h 2254250"/>
              <a:gd name="connsiteX63" fmla="*/ 1213034 w 3892734"/>
              <a:gd name="connsiteY63" fmla="*/ 2019300 h 2254250"/>
              <a:gd name="connsiteX64" fmla="*/ 1149534 w 3892734"/>
              <a:gd name="connsiteY64" fmla="*/ 2159000 h 2254250"/>
              <a:gd name="connsiteX65" fmla="*/ 1073334 w 3892734"/>
              <a:gd name="connsiteY65" fmla="*/ 2209800 h 2254250"/>
              <a:gd name="connsiteX66" fmla="*/ 990784 w 3892734"/>
              <a:gd name="connsiteY66" fmla="*/ 2209800 h 2254250"/>
              <a:gd name="connsiteX67" fmla="*/ 914584 w 3892734"/>
              <a:gd name="connsiteY67" fmla="*/ 2076450 h 2254250"/>
              <a:gd name="connsiteX68" fmla="*/ 876484 w 3892734"/>
              <a:gd name="connsiteY68" fmla="*/ 1949450 h 2254250"/>
              <a:gd name="connsiteX69" fmla="*/ 812984 w 3892734"/>
              <a:gd name="connsiteY69" fmla="*/ 1822450 h 2254250"/>
              <a:gd name="connsiteX70" fmla="*/ 730434 w 3892734"/>
              <a:gd name="connsiteY70" fmla="*/ 1758950 h 2254250"/>
              <a:gd name="connsiteX71" fmla="*/ 647884 w 3892734"/>
              <a:gd name="connsiteY71" fmla="*/ 1758950 h 2254250"/>
              <a:gd name="connsiteX72" fmla="*/ 501834 w 3892734"/>
              <a:gd name="connsiteY72" fmla="*/ 1993900 h 2254250"/>
              <a:gd name="connsiteX73" fmla="*/ 457384 w 3892734"/>
              <a:gd name="connsiteY73" fmla="*/ 2095500 h 2254250"/>
              <a:gd name="connsiteX74" fmla="*/ 743134 w 3892734"/>
              <a:gd name="connsiteY74" fmla="*/ 1587266 h 2254250"/>
              <a:gd name="connsiteX75" fmla="*/ 538346 w 3892734"/>
              <a:gd name="connsiteY75" fmla="*/ 1642309 h 2254250"/>
              <a:gd name="connsiteX76" fmla="*/ 358959 w 3892734"/>
              <a:gd name="connsiteY76" fmla="*/ 1593072 h 2254250"/>
              <a:gd name="connsiteX77" fmla="*/ 12884 w 3892734"/>
              <a:gd name="connsiteY77" fmla="*/ 1221921 h 2254250"/>
              <a:gd name="connsiteX78" fmla="*/ 184 w 3892734"/>
              <a:gd name="connsiteY78" fmla="*/ 0 h 2254250"/>
              <a:gd name="connsiteX0" fmla="*/ 184 w 3892734"/>
              <a:gd name="connsiteY0" fmla="*/ 0 h 2254250"/>
              <a:gd name="connsiteX1" fmla="*/ 266884 w 3892734"/>
              <a:gd name="connsiteY1" fmla="*/ 1162050 h 2254250"/>
              <a:gd name="connsiteX2" fmla="*/ 317684 w 3892734"/>
              <a:gd name="connsiteY2" fmla="*/ 1308100 h 2254250"/>
              <a:gd name="connsiteX3" fmla="*/ 362134 w 3892734"/>
              <a:gd name="connsiteY3" fmla="*/ 1371600 h 2254250"/>
              <a:gd name="connsiteX4" fmla="*/ 412934 w 3892734"/>
              <a:gd name="connsiteY4" fmla="*/ 1314450 h 2254250"/>
              <a:gd name="connsiteX5" fmla="*/ 514534 w 3892734"/>
              <a:gd name="connsiteY5" fmla="*/ 996950 h 2254250"/>
              <a:gd name="connsiteX6" fmla="*/ 584384 w 3892734"/>
              <a:gd name="connsiteY6" fmla="*/ 641350 h 2254250"/>
              <a:gd name="connsiteX7" fmla="*/ 641534 w 3892734"/>
              <a:gd name="connsiteY7" fmla="*/ 444500 h 2254250"/>
              <a:gd name="connsiteX8" fmla="*/ 692334 w 3892734"/>
              <a:gd name="connsiteY8" fmla="*/ 330200 h 2254250"/>
              <a:gd name="connsiteX9" fmla="*/ 724084 w 3892734"/>
              <a:gd name="connsiteY9" fmla="*/ 279400 h 2254250"/>
              <a:gd name="connsiteX10" fmla="*/ 806634 w 3892734"/>
              <a:gd name="connsiteY10" fmla="*/ 298450 h 2254250"/>
              <a:gd name="connsiteX11" fmla="*/ 927284 w 3892734"/>
              <a:gd name="connsiteY11" fmla="*/ 495300 h 2254250"/>
              <a:gd name="connsiteX12" fmla="*/ 978084 w 3892734"/>
              <a:gd name="connsiteY12" fmla="*/ 622300 h 2254250"/>
              <a:gd name="connsiteX13" fmla="*/ 1060634 w 3892734"/>
              <a:gd name="connsiteY13" fmla="*/ 666750 h 2254250"/>
              <a:gd name="connsiteX14" fmla="*/ 1136834 w 3892734"/>
              <a:gd name="connsiteY14" fmla="*/ 622300 h 2254250"/>
              <a:gd name="connsiteX15" fmla="*/ 1225734 w 3892734"/>
              <a:gd name="connsiteY15" fmla="*/ 495300 h 2254250"/>
              <a:gd name="connsiteX16" fmla="*/ 1289234 w 3892734"/>
              <a:gd name="connsiteY16" fmla="*/ 355600 h 2254250"/>
              <a:gd name="connsiteX17" fmla="*/ 1352734 w 3892734"/>
              <a:gd name="connsiteY17" fmla="*/ 292100 h 2254250"/>
              <a:gd name="connsiteX18" fmla="*/ 1397184 w 3892734"/>
              <a:gd name="connsiteY18" fmla="*/ 254000 h 2254250"/>
              <a:gd name="connsiteX19" fmla="*/ 1486084 w 3892734"/>
              <a:gd name="connsiteY19" fmla="*/ 285750 h 2254250"/>
              <a:gd name="connsiteX20" fmla="*/ 1581334 w 3892734"/>
              <a:gd name="connsiteY20" fmla="*/ 438150 h 2254250"/>
              <a:gd name="connsiteX21" fmla="*/ 1670234 w 3892734"/>
              <a:gd name="connsiteY21" fmla="*/ 654050 h 2254250"/>
              <a:gd name="connsiteX22" fmla="*/ 1905184 w 3892734"/>
              <a:gd name="connsiteY22" fmla="*/ 1066800 h 2254250"/>
              <a:gd name="connsiteX23" fmla="*/ 2006784 w 3892734"/>
              <a:gd name="connsiteY23" fmla="*/ 1212850 h 2254250"/>
              <a:gd name="connsiteX24" fmla="*/ 2082984 w 3892734"/>
              <a:gd name="connsiteY24" fmla="*/ 1295400 h 2254250"/>
              <a:gd name="connsiteX25" fmla="*/ 2190934 w 3892734"/>
              <a:gd name="connsiteY25" fmla="*/ 1263650 h 2254250"/>
              <a:gd name="connsiteX26" fmla="*/ 2235384 w 3892734"/>
              <a:gd name="connsiteY26" fmla="*/ 1168400 h 2254250"/>
              <a:gd name="connsiteX27" fmla="*/ 2292534 w 3892734"/>
              <a:gd name="connsiteY27" fmla="*/ 1016000 h 2254250"/>
              <a:gd name="connsiteX28" fmla="*/ 2368734 w 3892734"/>
              <a:gd name="connsiteY28" fmla="*/ 876300 h 2254250"/>
              <a:gd name="connsiteX29" fmla="*/ 2425884 w 3892734"/>
              <a:gd name="connsiteY29" fmla="*/ 787400 h 2254250"/>
              <a:gd name="connsiteX30" fmla="*/ 2476684 w 3892734"/>
              <a:gd name="connsiteY30" fmla="*/ 749300 h 2254250"/>
              <a:gd name="connsiteX31" fmla="*/ 2546534 w 3892734"/>
              <a:gd name="connsiteY31" fmla="*/ 736600 h 2254250"/>
              <a:gd name="connsiteX32" fmla="*/ 2654484 w 3892734"/>
              <a:gd name="connsiteY32" fmla="*/ 781050 h 2254250"/>
              <a:gd name="connsiteX33" fmla="*/ 2756084 w 3892734"/>
              <a:gd name="connsiteY33" fmla="*/ 838200 h 2254250"/>
              <a:gd name="connsiteX34" fmla="*/ 2851334 w 3892734"/>
              <a:gd name="connsiteY34" fmla="*/ 901700 h 2254250"/>
              <a:gd name="connsiteX35" fmla="*/ 2997384 w 3892734"/>
              <a:gd name="connsiteY35" fmla="*/ 920750 h 2254250"/>
              <a:gd name="connsiteX36" fmla="*/ 3175184 w 3892734"/>
              <a:gd name="connsiteY36" fmla="*/ 895350 h 2254250"/>
              <a:gd name="connsiteX37" fmla="*/ 3295834 w 3892734"/>
              <a:gd name="connsiteY37" fmla="*/ 774700 h 2254250"/>
              <a:gd name="connsiteX38" fmla="*/ 3391084 w 3892734"/>
              <a:gd name="connsiteY38" fmla="*/ 628650 h 2254250"/>
              <a:gd name="connsiteX39" fmla="*/ 3486334 w 3892734"/>
              <a:gd name="connsiteY39" fmla="*/ 495300 h 2254250"/>
              <a:gd name="connsiteX40" fmla="*/ 3594284 w 3892734"/>
              <a:gd name="connsiteY40" fmla="*/ 412750 h 2254250"/>
              <a:gd name="connsiteX41" fmla="*/ 3714934 w 3892734"/>
              <a:gd name="connsiteY41" fmla="*/ 406400 h 2254250"/>
              <a:gd name="connsiteX42" fmla="*/ 3892734 w 3892734"/>
              <a:gd name="connsiteY42" fmla="*/ 412750 h 2254250"/>
              <a:gd name="connsiteX43" fmla="*/ 3892734 w 3892734"/>
              <a:gd name="connsiteY43" fmla="*/ 755650 h 2254250"/>
              <a:gd name="connsiteX44" fmla="*/ 3708584 w 3892734"/>
              <a:gd name="connsiteY44" fmla="*/ 958850 h 2254250"/>
              <a:gd name="connsiteX45" fmla="*/ 3568884 w 3892734"/>
              <a:gd name="connsiteY45" fmla="*/ 1098550 h 2254250"/>
              <a:gd name="connsiteX46" fmla="*/ 3499034 w 3892734"/>
              <a:gd name="connsiteY46" fmla="*/ 1155700 h 2254250"/>
              <a:gd name="connsiteX47" fmla="*/ 3340284 w 3892734"/>
              <a:gd name="connsiteY47" fmla="*/ 1155700 h 2254250"/>
              <a:gd name="connsiteX48" fmla="*/ 3219634 w 3892734"/>
              <a:gd name="connsiteY48" fmla="*/ 1181100 h 2254250"/>
              <a:gd name="connsiteX49" fmla="*/ 3111684 w 3892734"/>
              <a:gd name="connsiteY49" fmla="*/ 1295400 h 2254250"/>
              <a:gd name="connsiteX50" fmla="*/ 2952934 w 3892734"/>
              <a:gd name="connsiteY50" fmla="*/ 1587500 h 2254250"/>
              <a:gd name="connsiteX51" fmla="*/ 2813234 w 3892734"/>
              <a:gd name="connsiteY51" fmla="*/ 1847850 h 2254250"/>
              <a:gd name="connsiteX52" fmla="*/ 2629084 w 3892734"/>
              <a:gd name="connsiteY52" fmla="*/ 2127250 h 2254250"/>
              <a:gd name="connsiteX53" fmla="*/ 2463984 w 3892734"/>
              <a:gd name="connsiteY53" fmla="*/ 2228850 h 2254250"/>
              <a:gd name="connsiteX54" fmla="*/ 2356034 w 3892734"/>
              <a:gd name="connsiteY54" fmla="*/ 2254250 h 2254250"/>
              <a:gd name="connsiteX55" fmla="*/ 2057584 w 3892734"/>
              <a:gd name="connsiteY55" fmla="*/ 2178050 h 2254250"/>
              <a:gd name="connsiteX56" fmla="*/ 1822634 w 3892734"/>
              <a:gd name="connsiteY56" fmla="*/ 2070100 h 2254250"/>
              <a:gd name="connsiteX57" fmla="*/ 1651184 w 3892734"/>
              <a:gd name="connsiteY57" fmla="*/ 1917700 h 2254250"/>
              <a:gd name="connsiteX58" fmla="*/ 1574984 w 3892734"/>
              <a:gd name="connsiteY58" fmla="*/ 1797050 h 2254250"/>
              <a:gd name="connsiteX59" fmla="*/ 1492434 w 3892734"/>
              <a:gd name="connsiteY59" fmla="*/ 1720850 h 2254250"/>
              <a:gd name="connsiteX60" fmla="*/ 1422584 w 3892734"/>
              <a:gd name="connsiteY60" fmla="*/ 1720850 h 2254250"/>
              <a:gd name="connsiteX61" fmla="*/ 1352734 w 3892734"/>
              <a:gd name="connsiteY61" fmla="*/ 1778000 h 2254250"/>
              <a:gd name="connsiteX62" fmla="*/ 1301934 w 3892734"/>
              <a:gd name="connsiteY62" fmla="*/ 1873250 h 2254250"/>
              <a:gd name="connsiteX63" fmla="*/ 1213034 w 3892734"/>
              <a:gd name="connsiteY63" fmla="*/ 2019300 h 2254250"/>
              <a:gd name="connsiteX64" fmla="*/ 1149534 w 3892734"/>
              <a:gd name="connsiteY64" fmla="*/ 2159000 h 2254250"/>
              <a:gd name="connsiteX65" fmla="*/ 1073334 w 3892734"/>
              <a:gd name="connsiteY65" fmla="*/ 2209800 h 2254250"/>
              <a:gd name="connsiteX66" fmla="*/ 990784 w 3892734"/>
              <a:gd name="connsiteY66" fmla="*/ 2209800 h 2254250"/>
              <a:gd name="connsiteX67" fmla="*/ 914584 w 3892734"/>
              <a:gd name="connsiteY67" fmla="*/ 2076450 h 2254250"/>
              <a:gd name="connsiteX68" fmla="*/ 876484 w 3892734"/>
              <a:gd name="connsiteY68" fmla="*/ 1949450 h 2254250"/>
              <a:gd name="connsiteX69" fmla="*/ 812984 w 3892734"/>
              <a:gd name="connsiteY69" fmla="*/ 1822450 h 2254250"/>
              <a:gd name="connsiteX70" fmla="*/ 730434 w 3892734"/>
              <a:gd name="connsiteY70" fmla="*/ 1758950 h 2254250"/>
              <a:gd name="connsiteX71" fmla="*/ 647884 w 3892734"/>
              <a:gd name="connsiteY71" fmla="*/ 1758950 h 2254250"/>
              <a:gd name="connsiteX72" fmla="*/ 457384 w 3892734"/>
              <a:gd name="connsiteY72" fmla="*/ 2095500 h 2254250"/>
              <a:gd name="connsiteX73" fmla="*/ 743134 w 3892734"/>
              <a:gd name="connsiteY73" fmla="*/ 1587266 h 2254250"/>
              <a:gd name="connsiteX74" fmla="*/ 538346 w 3892734"/>
              <a:gd name="connsiteY74" fmla="*/ 1642309 h 2254250"/>
              <a:gd name="connsiteX75" fmla="*/ 358959 w 3892734"/>
              <a:gd name="connsiteY75" fmla="*/ 1593072 h 2254250"/>
              <a:gd name="connsiteX76" fmla="*/ 12884 w 3892734"/>
              <a:gd name="connsiteY76" fmla="*/ 1221921 h 2254250"/>
              <a:gd name="connsiteX77" fmla="*/ 184 w 3892734"/>
              <a:gd name="connsiteY77" fmla="*/ 0 h 2254250"/>
              <a:gd name="connsiteX0" fmla="*/ 184 w 3892734"/>
              <a:gd name="connsiteY0" fmla="*/ 0 h 2254250"/>
              <a:gd name="connsiteX1" fmla="*/ 266884 w 3892734"/>
              <a:gd name="connsiteY1" fmla="*/ 1162050 h 2254250"/>
              <a:gd name="connsiteX2" fmla="*/ 317684 w 3892734"/>
              <a:gd name="connsiteY2" fmla="*/ 1308100 h 2254250"/>
              <a:gd name="connsiteX3" fmla="*/ 362134 w 3892734"/>
              <a:gd name="connsiteY3" fmla="*/ 1371600 h 2254250"/>
              <a:gd name="connsiteX4" fmla="*/ 412934 w 3892734"/>
              <a:gd name="connsiteY4" fmla="*/ 1314450 h 2254250"/>
              <a:gd name="connsiteX5" fmla="*/ 514534 w 3892734"/>
              <a:gd name="connsiteY5" fmla="*/ 996950 h 2254250"/>
              <a:gd name="connsiteX6" fmla="*/ 584384 w 3892734"/>
              <a:gd name="connsiteY6" fmla="*/ 641350 h 2254250"/>
              <a:gd name="connsiteX7" fmla="*/ 641534 w 3892734"/>
              <a:gd name="connsiteY7" fmla="*/ 444500 h 2254250"/>
              <a:gd name="connsiteX8" fmla="*/ 692334 w 3892734"/>
              <a:gd name="connsiteY8" fmla="*/ 330200 h 2254250"/>
              <a:gd name="connsiteX9" fmla="*/ 724084 w 3892734"/>
              <a:gd name="connsiteY9" fmla="*/ 279400 h 2254250"/>
              <a:gd name="connsiteX10" fmla="*/ 806634 w 3892734"/>
              <a:gd name="connsiteY10" fmla="*/ 298450 h 2254250"/>
              <a:gd name="connsiteX11" fmla="*/ 927284 w 3892734"/>
              <a:gd name="connsiteY11" fmla="*/ 495300 h 2254250"/>
              <a:gd name="connsiteX12" fmla="*/ 978084 w 3892734"/>
              <a:gd name="connsiteY12" fmla="*/ 622300 h 2254250"/>
              <a:gd name="connsiteX13" fmla="*/ 1060634 w 3892734"/>
              <a:gd name="connsiteY13" fmla="*/ 666750 h 2254250"/>
              <a:gd name="connsiteX14" fmla="*/ 1136834 w 3892734"/>
              <a:gd name="connsiteY14" fmla="*/ 622300 h 2254250"/>
              <a:gd name="connsiteX15" fmla="*/ 1225734 w 3892734"/>
              <a:gd name="connsiteY15" fmla="*/ 495300 h 2254250"/>
              <a:gd name="connsiteX16" fmla="*/ 1289234 w 3892734"/>
              <a:gd name="connsiteY16" fmla="*/ 355600 h 2254250"/>
              <a:gd name="connsiteX17" fmla="*/ 1352734 w 3892734"/>
              <a:gd name="connsiteY17" fmla="*/ 292100 h 2254250"/>
              <a:gd name="connsiteX18" fmla="*/ 1397184 w 3892734"/>
              <a:gd name="connsiteY18" fmla="*/ 254000 h 2254250"/>
              <a:gd name="connsiteX19" fmla="*/ 1486084 w 3892734"/>
              <a:gd name="connsiteY19" fmla="*/ 285750 h 2254250"/>
              <a:gd name="connsiteX20" fmla="*/ 1581334 w 3892734"/>
              <a:gd name="connsiteY20" fmla="*/ 438150 h 2254250"/>
              <a:gd name="connsiteX21" fmla="*/ 1670234 w 3892734"/>
              <a:gd name="connsiteY21" fmla="*/ 654050 h 2254250"/>
              <a:gd name="connsiteX22" fmla="*/ 1905184 w 3892734"/>
              <a:gd name="connsiteY22" fmla="*/ 1066800 h 2254250"/>
              <a:gd name="connsiteX23" fmla="*/ 2006784 w 3892734"/>
              <a:gd name="connsiteY23" fmla="*/ 1212850 h 2254250"/>
              <a:gd name="connsiteX24" fmla="*/ 2082984 w 3892734"/>
              <a:gd name="connsiteY24" fmla="*/ 1295400 h 2254250"/>
              <a:gd name="connsiteX25" fmla="*/ 2190934 w 3892734"/>
              <a:gd name="connsiteY25" fmla="*/ 1263650 h 2254250"/>
              <a:gd name="connsiteX26" fmla="*/ 2235384 w 3892734"/>
              <a:gd name="connsiteY26" fmla="*/ 1168400 h 2254250"/>
              <a:gd name="connsiteX27" fmla="*/ 2292534 w 3892734"/>
              <a:gd name="connsiteY27" fmla="*/ 1016000 h 2254250"/>
              <a:gd name="connsiteX28" fmla="*/ 2368734 w 3892734"/>
              <a:gd name="connsiteY28" fmla="*/ 876300 h 2254250"/>
              <a:gd name="connsiteX29" fmla="*/ 2425884 w 3892734"/>
              <a:gd name="connsiteY29" fmla="*/ 787400 h 2254250"/>
              <a:gd name="connsiteX30" fmla="*/ 2476684 w 3892734"/>
              <a:gd name="connsiteY30" fmla="*/ 749300 h 2254250"/>
              <a:gd name="connsiteX31" fmla="*/ 2546534 w 3892734"/>
              <a:gd name="connsiteY31" fmla="*/ 736600 h 2254250"/>
              <a:gd name="connsiteX32" fmla="*/ 2654484 w 3892734"/>
              <a:gd name="connsiteY32" fmla="*/ 781050 h 2254250"/>
              <a:gd name="connsiteX33" fmla="*/ 2756084 w 3892734"/>
              <a:gd name="connsiteY33" fmla="*/ 838200 h 2254250"/>
              <a:gd name="connsiteX34" fmla="*/ 2851334 w 3892734"/>
              <a:gd name="connsiteY34" fmla="*/ 901700 h 2254250"/>
              <a:gd name="connsiteX35" fmla="*/ 2997384 w 3892734"/>
              <a:gd name="connsiteY35" fmla="*/ 920750 h 2254250"/>
              <a:gd name="connsiteX36" fmla="*/ 3175184 w 3892734"/>
              <a:gd name="connsiteY36" fmla="*/ 895350 h 2254250"/>
              <a:gd name="connsiteX37" fmla="*/ 3295834 w 3892734"/>
              <a:gd name="connsiteY37" fmla="*/ 774700 h 2254250"/>
              <a:gd name="connsiteX38" fmla="*/ 3391084 w 3892734"/>
              <a:gd name="connsiteY38" fmla="*/ 628650 h 2254250"/>
              <a:gd name="connsiteX39" fmla="*/ 3486334 w 3892734"/>
              <a:gd name="connsiteY39" fmla="*/ 495300 h 2254250"/>
              <a:gd name="connsiteX40" fmla="*/ 3594284 w 3892734"/>
              <a:gd name="connsiteY40" fmla="*/ 412750 h 2254250"/>
              <a:gd name="connsiteX41" fmla="*/ 3714934 w 3892734"/>
              <a:gd name="connsiteY41" fmla="*/ 406400 h 2254250"/>
              <a:gd name="connsiteX42" fmla="*/ 3892734 w 3892734"/>
              <a:gd name="connsiteY42" fmla="*/ 412750 h 2254250"/>
              <a:gd name="connsiteX43" fmla="*/ 3892734 w 3892734"/>
              <a:gd name="connsiteY43" fmla="*/ 755650 h 2254250"/>
              <a:gd name="connsiteX44" fmla="*/ 3708584 w 3892734"/>
              <a:gd name="connsiteY44" fmla="*/ 958850 h 2254250"/>
              <a:gd name="connsiteX45" fmla="*/ 3568884 w 3892734"/>
              <a:gd name="connsiteY45" fmla="*/ 1098550 h 2254250"/>
              <a:gd name="connsiteX46" fmla="*/ 3499034 w 3892734"/>
              <a:gd name="connsiteY46" fmla="*/ 1155700 h 2254250"/>
              <a:gd name="connsiteX47" fmla="*/ 3340284 w 3892734"/>
              <a:gd name="connsiteY47" fmla="*/ 1155700 h 2254250"/>
              <a:gd name="connsiteX48" fmla="*/ 3219634 w 3892734"/>
              <a:gd name="connsiteY48" fmla="*/ 1181100 h 2254250"/>
              <a:gd name="connsiteX49" fmla="*/ 3111684 w 3892734"/>
              <a:gd name="connsiteY49" fmla="*/ 1295400 h 2254250"/>
              <a:gd name="connsiteX50" fmla="*/ 2952934 w 3892734"/>
              <a:gd name="connsiteY50" fmla="*/ 1587500 h 2254250"/>
              <a:gd name="connsiteX51" fmla="*/ 2813234 w 3892734"/>
              <a:gd name="connsiteY51" fmla="*/ 1847850 h 2254250"/>
              <a:gd name="connsiteX52" fmla="*/ 2629084 w 3892734"/>
              <a:gd name="connsiteY52" fmla="*/ 2127250 h 2254250"/>
              <a:gd name="connsiteX53" fmla="*/ 2463984 w 3892734"/>
              <a:gd name="connsiteY53" fmla="*/ 2228850 h 2254250"/>
              <a:gd name="connsiteX54" fmla="*/ 2356034 w 3892734"/>
              <a:gd name="connsiteY54" fmla="*/ 2254250 h 2254250"/>
              <a:gd name="connsiteX55" fmla="*/ 2057584 w 3892734"/>
              <a:gd name="connsiteY55" fmla="*/ 2178050 h 2254250"/>
              <a:gd name="connsiteX56" fmla="*/ 1822634 w 3892734"/>
              <a:gd name="connsiteY56" fmla="*/ 2070100 h 2254250"/>
              <a:gd name="connsiteX57" fmla="*/ 1651184 w 3892734"/>
              <a:gd name="connsiteY57" fmla="*/ 1917700 h 2254250"/>
              <a:gd name="connsiteX58" fmla="*/ 1574984 w 3892734"/>
              <a:gd name="connsiteY58" fmla="*/ 1797050 h 2254250"/>
              <a:gd name="connsiteX59" fmla="*/ 1492434 w 3892734"/>
              <a:gd name="connsiteY59" fmla="*/ 1720850 h 2254250"/>
              <a:gd name="connsiteX60" fmla="*/ 1422584 w 3892734"/>
              <a:gd name="connsiteY60" fmla="*/ 1720850 h 2254250"/>
              <a:gd name="connsiteX61" fmla="*/ 1352734 w 3892734"/>
              <a:gd name="connsiteY61" fmla="*/ 1778000 h 2254250"/>
              <a:gd name="connsiteX62" fmla="*/ 1301934 w 3892734"/>
              <a:gd name="connsiteY62" fmla="*/ 1873250 h 2254250"/>
              <a:gd name="connsiteX63" fmla="*/ 1213034 w 3892734"/>
              <a:gd name="connsiteY63" fmla="*/ 2019300 h 2254250"/>
              <a:gd name="connsiteX64" fmla="*/ 1149534 w 3892734"/>
              <a:gd name="connsiteY64" fmla="*/ 2159000 h 2254250"/>
              <a:gd name="connsiteX65" fmla="*/ 1073334 w 3892734"/>
              <a:gd name="connsiteY65" fmla="*/ 2209800 h 2254250"/>
              <a:gd name="connsiteX66" fmla="*/ 990784 w 3892734"/>
              <a:gd name="connsiteY66" fmla="*/ 2209800 h 2254250"/>
              <a:gd name="connsiteX67" fmla="*/ 914584 w 3892734"/>
              <a:gd name="connsiteY67" fmla="*/ 2076450 h 2254250"/>
              <a:gd name="connsiteX68" fmla="*/ 876484 w 3892734"/>
              <a:gd name="connsiteY68" fmla="*/ 1949450 h 2254250"/>
              <a:gd name="connsiteX69" fmla="*/ 812984 w 3892734"/>
              <a:gd name="connsiteY69" fmla="*/ 1822450 h 2254250"/>
              <a:gd name="connsiteX70" fmla="*/ 730434 w 3892734"/>
              <a:gd name="connsiteY70" fmla="*/ 1758950 h 2254250"/>
              <a:gd name="connsiteX71" fmla="*/ 647884 w 3892734"/>
              <a:gd name="connsiteY71" fmla="*/ 1758950 h 2254250"/>
              <a:gd name="connsiteX72" fmla="*/ 743134 w 3892734"/>
              <a:gd name="connsiteY72" fmla="*/ 1587266 h 2254250"/>
              <a:gd name="connsiteX73" fmla="*/ 538346 w 3892734"/>
              <a:gd name="connsiteY73" fmla="*/ 1642309 h 2254250"/>
              <a:gd name="connsiteX74" fmla="*/ 358959 w 3892734"/>
              <a:gd name="connsiteY74" fmla="*/ 1593072 h 2254250"/>
              <a:gd name="connsiteX75" fmla="*/ 12884 w 3892734"/>
              <a:gd name="connsiteY75" fmla="*/ 1221921 h 2254250"/>
              <a:gd name="connsiteX76" fmla="*/ 184 w 3892734"/>
              <a:gd name="connsiteY76" fmla="*/ 0 h 2254250"/>
              <a:gd name="connsiteX0" fmla="*/ 184 w 3892734"/>
              <a:gd name="connsiteY0" fmla="*/ 0 h 2254250"/>
              <a:gd name="connsiteX1" fmla="*/ 266884 w 3892734"/>
              <a:gd name="connsiteY1" fmla="*/ 1162050 h 2254250"/>
              <a:gd name="connsiteX2" fmla="*/ 317684 w 3892734"/>
              <a:gd name="connsiteY2" fmla="*/ 1308100 h 2254250"/>
              <a:gd name="connsiteX3" fmla="*/ 362134 w 3892734"/>
              <a:gd name="connsiteY3" fmla="*/ 1371600 h 2254250"/>
              <a:gd name="connsiteX4" fmla="*/ 412934 w 3892734"/>
              <a:gd name="connsiteY4" fmla="*/ 1314450 h 2254250"/>
              <a:gd name="connsiteX5" fmla="*/ 514534 w 3892734"/>
              <a:gd name="connsiteY5" fmla="*/ 996950 h 2254250"/>
              <a:gd name="connsiteX6" fmla="*/ 584384 w 3892734"/>
              <a:gd name="connsiteY6" fmla="*/ 641350 h 2254250"/>
              <a:gd name="connsiteX7" fmla="*/ 641534 w 3892734"/>
              <a:gd name="connsiteY7" fmla="*/ 444500 h 2254250"/>
              <a:gd name="connsiteX8" fmla="*/ 692334 w 3892734"/>
              <a:gd name="connsiteY8" fmla="*/ 330200 h 2254250"/>
              <a:gd name="connsiteX9" fmla="*/ 724084 w 3892734"/>
              <a:gd name="connsiteY9" fmla="*/ 279400 h 2254250"/>
              <a:gd name="connsiteX10" fmla="*/ 806634 w 3892734"/>
              <a:gd name="connsiteY10" fmla="*/ 298450 h 2254250"/>
              <a:gd name="connsiteX11" fmla="*/ 927284 w 3892734"/>
              <a:gd name="connsiteY11" fmla="*/ 495300 h 2254250"/>
              <a:gd name="connsiteX12" fmla="*/ 978084 w 3892734"/>
              <a:gd name="connsiteY12" fmla="*/ 622300 h 2254250"/>
              <a:gd name="connsiteX13" fmla="*/ 1060634 w 3892734"/>
              <a:gd name="connsiteY13" fmla="*/ 666750 h 2254250"/>
              <a:gd name="connsiteX14" fmla="*/ 1136834 w 3892734"/>
              <a:gd name="connsiteY14" fmla="*/ 622300 h 2254250"/>
              <a:gd name="connsiteX15" fmla="*/ 1225734 w 3892734"/>
              <a:gd name="connsiteY15" fmla="*/ 495300 h 2254250"/>
              <a:gd name="connsiteX16" fmla="*/ 1289234 w 3892734"/>
              <a:gd name="connsiteY16" fmla="*/ 355600 h 2254250"/>
              <a:gd name="connsiteX17" fmla="*/ 1352734 w 3892734"/>
              <a:gd name="connsiteY17" fmla="*/ 292100 h 2254250"/>
              <a:gd name="connsiteX18" fmla="*/ 1397184 w 3892734"/>
              <a:gd name="connsiteY18" fmla="*/ 254000 h 2254250"/>
              <a:gd name="connsiteX19" fmla="*/ 1486084 w 3892734"/>
              <a:gd name="connsiteY19" fmla="*/ 285750 h 2254250"/>
              <a:gd name="connsiteX20" fmla="*/ 1581334 w 3892734"/>
              <a:gd name="connsiteY20" fmla="*/ 438150 h 2254250"/>
              <a:gd name="connsiteX21" fmla="*/ 1670234 w 3892734"/>
              <a:gd name="connsiteY21" fmla="*/ 654050 h 2254250"/>
              <a:gd name="connsiteX22" fmla="*/ 1905184 w 3892734"/>
              <a:gd name="connsiteY22" fmla="*/ 1066800 h 2254250"/>
              <a:gd name="connsiteX23" fmla="*/ 2006784 w 3892734"/>
              <a:gd name="connsiteY23" fmla="*/ 1212850 h 2254250"/>
              <a:gd name="connsiteX24" fmla="*/ 2082984 w 3892734"/>
              <a:gd name="connsiteY24" fmla="*/ 1295400 h 2254250"/>
              <a:gd name="connsiteX25" fmla="*/ 2190934 w 3892734"/>
              <a:gd name="connsiteY25" fmla="*/ 1263650 h 2254250"/>
              <a:gd name="connsiteX26" fmla="*/ 2235384 w 3892734"/>
              <a:gd name="connsiteY26" fmla="*/ 1168400 h 2254250"/>
              <a:gd name="connsiteX27" fmla="*/ 2292534 w 3892734"/>
              <a:gd name="connsiteY27" fmla="*/ 1016000 h 2254250"/>
              <a:gd name="connsiteX28" fmla="*/ 2368734 w 3892734"/>
              <a:gd name="connsiteY28" fmla="*/ 876300 h 2254250"/>
              <a:gd name="connsiteX29" fmla="*/ 2425884 w 3892734"/>
              <a:gd name="connsiteY29" fmla="*/ 787400 h 2254250"/>
              <a:gd name="connsiteX30" fmla="*/ 2476684 w 3892734"/>
              <a:gd name="connsiteY30" fmla="*/ 749300 h 2254250"/>
              <a:gd name="connsiteX31" fmla="*/ 2546534 w 3892734"/>
              <a:gd name="connsiteY31" fmla="*/ 736600 h 2254250"/>
              <a:gd name="connsiteX32" fmla="*/ 2654484 w 3892734"/>
              <a:gd name="connsiteY32" fmla="*/ 781050 h 2254250"/>
              <a:gd name="connsiteX33" fmla="*/ 2756084 w 3892734"/>
              <a:gd name="connsiteY33" fmla="*/ 838200 h 2254250"/>
              <a:gd name="connsiteX34" fmla="*/ 2851334 w 3892734"/>
              <a:gd name="connsiteY34" fmla="*/ 901700 h 2254250"/>
              <a:gd name="connsiteX35" fmla="*/ 2997384 w 3892734"/>
              <a:gd name="connsiteY35" fmla="*/ 920750 h 2254250"/>
              <a:gd name="connsiteX36" fmla="*/ 3175184 w 3892734"/>
              <a:gd name="connsiteY36" fmla="*/ 895350 h 2254250"/>
              <a:gd name="connsiteX37" fmla="*/ 3295834 w 3892734"/>
              <a:gd name="connsiteY37" fmla="*/ 774700 h 2254250"/>
              <a:gd name="connsiteX38" fmla="*/ 3391084 w 3892734"/>
              <a:gd name="connsiteY38" fmla="*/ 628650 h 2254250"/>
              <a:gd name="connsiteX39" fmla="*/ 3486334 w 3892734"/>
              <a:gd name="connsiteY39" fmla="*/ 495300 h 2254250"/>
              <a:gd name="connsiteX40" fmla="*/ 3594284 w 3892734"/>
              <a:gd name="connsiteY40" fmla="*/ 412750 h 2254250"/>
              <a:gd name="connsiteX41" fmla="*/ 3714934 w 3892734"/>
              <a:gd name="connsiteY41" fmla="*/ 406400 h 2254250"/>
              <a:gd name="connsiteX42" fmla="*/ 3892734 w 3892734"/>
              <a:gd name="connsiteY42" fmla="*/ 412750 h 2254250"/>
              <a:gd name="connsiteX43" fmla="*/ 3892734 w 3892734"/>
              <a:gd name="connsiteY43" fmla="*/ 755650 h 2254250"/>
              <a:gd name="connsiteX44" fmla="*/ 3708584 w 3892734"/>
              <a:gd name="connsiteY44" fmla="*/ 958850 h 2254250"/>
              <a:gd name="connsiteX45" fmla="*/ 3568884 w 3892734"/>
              <a:gd name="connsiteY45" fmla="*/ 1098550 h 2254250"/>
              <a:gd name="connsiteX46" fmla="*/ 3499034 w 3892734"/>
              <a:gd name="connsiteY46" fmla="*/ 1155700 h 2254250"/>
              <a:gd name="connsiteX47" fmla="*/ 3340284 w 3892734"/>
              <a:gd name="connsiteY47" fmla="*/ 1155700 h 2254250"/>
              <a:gd name="connsiteX48" fmla="*/ 3219634 w 3892734"/>
              <a:gd name="connsiteY48" fmla="*/ 1181100 h 2254250"/>
              <a:gd name="connsiteX49" fmla="*/ 3111684 w 3892734"/>
              <a:gd name="connsiteY49" fmla="*/ 1295400 h 2254250"/>
              <a:gd name="connsiteX50" fmla="*/ 2952934 w 3892734"/>
              <a:gd name="connsiteY50" fmla="*/ 1587500 h 2254250"/>
              <a:gd name="connsiteX51" fmla="*/ 2813234 w 3892734"/>
              <a:gd name="connsiteY51" fmla="*/ 1847850 h 2254250"/>
              <a:gd name="connsiteX52" fmla="*/ 2629084 w 3892734"/>
              <a:gd name="connsiteY52" fmla="*/ 2127250 h 2254250"/>
              <a:gd name="connsiteX53" fmla="*/ 2463984 w 3892734"/>
              <a:gd name="connsiteY53" fmla="*/ 2228850 h 2254250"/>
              <a:gd name="connsiteX54" fmla="*/ 2356034 w 3892734"/>
              <a:gd name="connsiteY54" fmla="*/ 2254250 h 2254250"/>
              <a:gd name="connsiteX55" fmla="*/ 2057584 w 3892734"/>
              <a:gd name="connsiteY55" fmla="*/ 2178050 h 2254250"/>
              <a:gd name="connsiteX56" fmla="*/ 1822634 w 3892734"/>
              <a:gd name="connsiteY56" fmla="*/ 2070100 h 2254250"/>
              <a:gd name="connsiteX57" fmla="*/ 1651184 w 3892734"/>
              <a:gd name="connsiteY57" fmla="*/ 1917700 h 2254250"/>
              <a:gd name="connsiteX58" fmla="*/ 1574984 w 3892734"/>
              <a:gd name="connsiteY58" fmla="*/ 1797050 h 2254250"/>
              <a:gd name="connsiteX59" fmla="*/ 1492434 w 3892734"/>
              <a:gd name="connsiteY59" fmla="*/ 1720850 h 2254250"/>
              <a:gd name="connsiteX60" fmla="*/ 1422584 w 3892734"/>
              <a:gd name="connsiteY60" fmla="*/ 1720850 h 2254250"/>
              <a:gd name="connsiteX61" fmla="*/ 1352734 w 3892734"/>
              <a:gd name="connsiteY61" fmla="*/ 1778000 h 2254250"/>
              <a:gd name="connsiteX62" fmla="*/ 1301934 w 3892734"/>
              <a:gd name="connsiteY62" fmla="*/ 1873250 h 2254250"/>
              <a:gd name="connsiteX63" fmla="*/ 1213034 w 3892734"/>
              <a:gd name="connsiteY63" fmla="*/ 2019300 h 2254250"/>
              <a:gd name="connsiteX64" fmla="*/ 1149534 w 3892734"/>
              <a:gd name="connsiteY64" fmla="*/ 2159000 h 2254250"/>
              <a:gd name="connsiteX65" fmla="*/ 1073334 w 3892734"/>
              <a:gd name="connsiteY65" fmla="*/ 2209800 h 2254250"/>
              <a:gd name="connsiteX66" fmla="*/ 990784 w 3892734"/>
              <a:gd name="connsiteY66" fmla="*/ 2209800 h 2254250"/>
              <a:gd name="connsiteX67" fmla="*/ 914584 w 3892734"/>
              <a:gd name="connsiteY67" fmla="*/ 2076450 h 2254250"/>
              <a:gd name="connsiteX68" fmla="*/ 876484 w 3892734"/>
              <a:gd name="connsiteY68" fmla="*/ 1949450 h 2254250"/>
              <a:gd name="connsiteX69" fmla="*/ 812984 w 3892734"/>
              <a:gd name="connsiteY69" fmla="*/ 1822450 h 2254250"/>
              <a:gd name="connsiteX70" fmla="*/ 730434 w 3892734"/>
              <a:gd name="connsiteY70" fmla="*/ 1758950 h 2254250"/>
              <a:gd name="connsiteX71" fmla="*/ 1005072 w 3892734"/>
              <a:gd name="connsiteY71" fmla="*/ 1546685 h 2254250"/>
              <a:gd name="connsiteX72" fmla="*/ 743134 w 3892734"/>
              <a:gd name="connsiteY72" fmla="*/ 1587266 h 2254250"/>
              <a:gd name="connsiteX73" fmla="*/ 538346 w 3892734"/>
              <a:gd name="connsiteY73" fmla="*/ 1642309 h 2254250"/>
              <a:gd name="connsiteX74" fmla="*/ 358959 w 3892734"/>
              <a:gd name="connsiteY74" fmla="*/ 1593072 h 2254250"/>
              <a:gd name="connsiteX75" fmla="*/ 12884 w 3892734"/>
              <a:gd name="connsiteY75" fmla="*/ 1221921 h 2254250"/>
              <a:gd name="connsiteX76" fmla="*/ 184 w 3892734"/>
              <a:gd name="connsiteY76" fmla="*/ 0 h 2254250"/>
              <a:gd name="connsiteX0" fmla="*/ 184 w 3892734"/>
              <a:gd name="connsiteY0" fmla="*/ 0 h 2254250"/>
              <a:gd name="connsiteX1" fmla="*/ 266884 w 3892734"/>
              <a:gd name="connsiteY1" fmla="*/ 1162050 h 2254250"/>
              <a:gd name="connsiteX2" fmla="*/ 317684 w 3892734"/>
              <a:gd name="connsiteY2" fmla="*/ 1308100 h 2254250"/>
              <a:gd name="connsiteX3" fmla="*/ 362134 w 3892734"/>
              <a:gd name="connsiteY3" fmla="*/ 1371600 h 2254250"/>
              <a:gd name="connsiteX4" fmla="*/ 412934 w 3892734"/>
              <a:gd name="connsiteY4" fmla="*/ 1314450 h 2254250"/>
              <a:gd name="connsiteX5" fmla="*/ 514534 w 3892734"/>
              <a:gd name="connsiteY5" fmla="*/ 996950 h 2254250"/>
              <a:gd name="connsiteX6" fmla="*/ 584384 w 3892734"/>
              <a:gd name="connsiteY6" fmla="*/ 641350 h 2254250"/>
              <a:gd name="connsiteX7" fmla="*/ 641534 w 3892734"/>
              <a:gd name="connsiteY7" fmla="*/ 444500 h 2254250"/>
              <a:gd name="connsiteX8" fmla="*/ 692334 w 3892734"/>
              <a:gd name="connsiteY8" fmla="*/ 330200 h 2254250"/>
              <a:gd name="connsiteX9" fmla="*/ 724084 w 3892734"/>
              <a:gd name="connsiteY9" fmla="*/ 279400 h 2254250"/>
              <a:gd name="connsiteX10" fmla="*/ 806634 w 3892734"/>
              <a:gd name="connsiteY10" fmla="*/ 298450 h 2254250"/>
              <a:gd name="connsiteX11" fmla="*/ 927284 w 3892734"/>
              <a:gd name="connsiteY11" fmla="*/ 495300 h 2254250"/>
              <a:gd name="connsiteX12" fmla="*/ 978084 w 3892734"/>
              <a:gd name="connsiteY12" fmla="*/ 622300 h 2254250"/>
              <a:gd name="connsiteX13" fmla="*/ 1060634 w 3892734"/>
              <a:gd name="connsiteY13" fmla="*/ 666750 h 2254250"/>
              <a:gd name="connsiteX14" fmla="*/ 1136834 w 3892734"/>
              <a:gd name="connsiteY14" fmla="*/ 622300 h 2254250"/>
              <a:gd name="connsiteX15" fmla="*/ 1225734 w 3892734"/>
              <a:gd name="connsiteY15" fmla="*/ 495300 h 2254250"/>
              <a:gd name="connsiteX16" fmla="*/ 1289234 w 3892734"/>
              <a:gd name="connsiteY16" fmla="*/ 355600 h 2254250"/>
              <a:gd name="connsiteX17" fmla="*/ 1352734 w 3892734"/>
              <a:gd name="connsiteY17" fmla="*/ 292100 h 2254250"/>
              <a:gd name="connsiteX18" fmla="*/ 1397184 w 3892734"/>
              <a:gd name="connsiteY18" fmla="*/ 254000 h 2254250"/>
              <a:gd name="connsiteX19" fmla="*/ 1486084 w 3892734"/>
              <a:gd name="connsiteY19" fmla="*/ 285750 h 2254250"/>
              <a:gd name="connsiteX20" fmla="*/ 1581334 w 3892734"/>
              <a:gd name="connsiteY20" fmla="*/ 438150 h 2254250"/>
              <a:gd name="connsiteX21" fmla="*/ 1670234 w 3892734"/>
              <a:gd name="connsiteY21" fmla="*/ 654050 h 2254250"/>
              <a:gd name="connsiteX22" fmla="*/ 1905184 w 3892734"/>
              <a:gd name="connsiteY22" fmla="*/ 1066800 h 2254250"/>
              <a:gd name="connsiteX23" fmla="*/ 2006784 w 3892734"/>
              <a:gd name="connsiteY23" fmla="*/ 1212850 h 2254250"/>
              <a:gd name="connsiteX24" fmla="*/ 2082984 w 3892734"/>
              <a:gd name="connsiteY24" fmla="*/ 1295400 h 2254250"/>
              <a:gd name="connsiteX25" fmla="*/ 2190934 w 3892734"/>
              <a:gd name="connsiteY25" fmla="*/ 1263650 h 2254250"/>
              <a:gd name="connsiteX26" fmla="*/ 2235384 w 3892734"/>
              <a:gd name="connsiteY26" fmla="*/ 1168400 h 2254250"/>
              <a:gd name="connsiteX27" fmla="*/ 2292534 w 3892734"/>
              <a:gd name="connsiteY27" fmla="*/ 1016000 h 2254250"/>
              <a:gd name="connsiteX28" fmla="*/ 2368734 w 3892734"/>
              <a:gd name="connsiteY28" fmla="*/ 876300 h 2254250"/>
              <a:gd name="connsiteX29" fmla="*/ 2425884 w 3892734"/>
              <a:gd name="connsiteY29" fmla="*/ 787400 h 2254250"/>
              <a:gd name="connsiteX30" fmla="*/ 2476684 w 3892734"/>
              <a:gd name="connsiteY30" fmla="*/ 749300 h 2254250"/>
              <a:gd name="connsiteX31" fmla="*/ 2546534 w 3892734"/>
              <a:gd name="connsiteY31" fmla="*/ 736600 h 2254250"/>
              <a:gd name="connsiteX32" fmla="*/ 2654484 w 3892734"/>
              <a:gd name="connsiteY32" fmla="*/ 781050 h 2254250"/>
              <a:gd name="connsiteX33" fmla="*/ 2756084 w 3892734"/>
              <a:gd name="connsiteY33" fmla="*/ 838200 h 2254250"/>
              <a:gd name="connsiteX34" fmla="*/ 2851334 w 3892734"/>
              <a:gd name="connsiteY34" fmla="*/ 901700 h 2254250"/>
              <a:gd name="connsiteX35" fmla="*/ 2997384 w 3892734"/>
              <a:gd name="connsiteY35" fmla="*/ 920750 h 2254250"/>
              <a:gd name="connsiteX36" fmla="*/ 3175184 w 3892734"/>
              <a:gd name="connsiteY36" fmla="*/ 895350 h 2254250"/>
              <a:gd name="connsiteX37" fmla="*/ 3295834 w 3892734"/>
              <a:gd name="connsiteY37" fmla="*/ 774700 h 2254250"/>
              <a:gd name="connsiteX38" fmla="*/ 3391084 w 3892734"/>
              <a:gd name="connsiteY38" fmla="*/ 628650 h 2254250"/>
              <a:gd name="connsiteX39" fmla="*/ 3486334 w 3892734"/>
              <a:gd name="connsiteY39" fmla="*/ 495300 h 2254250"/>
              <a:gd name="connsiteX40" fmla="*/ 3594284 w 3892734"/>
              <a:gd name="connsiteY40" fmla="*/ 412750 h 2254250"/>
              <a:gd name="connsiteX41" fmla="*/ 3714934 w 3892734"/>
              <a:gd name="connsiteY41" fmla="*/ 406400 h 2254250"/>
              <a:gd name="connsiteX42" fmla="*/ 3892734 w 3892734"/>
              <a:gd name="connsiteY42" fmla="*/ 412750 h 2254250"/>
              <a:gd name="connsiteX43" fmla="*/ 3892734 w 3892734"/>
              <a:gd name="connsiteY43" fmla="*/ 755650 h 2254250"/>
              <a:gd name="connsiteX44" fmla="*/ 3708584 w 3892734"/>
              <a:gd name="connsiteY44" fmla="*/ 958850 h 2254250"/>
              <a:gd name="connsiteX45" fmla="*/ 3568884 w 3892734"/>
              <a:gd name="connsiteY45" fmla="*/ 1098550 h 2254250"/>
              <a:gd name="connsiteX46" fmla="*/ 3499034 w 3892734"/>
              <a:gd name="connsiteY46" fmla="*/ 1155700 h 2254250"/>
              <a:gd name="connsiteX47" fmla="*/ 3340284 w 3892734"/>
              <a:gd name="connsiteY47" fmla="*/ 1155700 h 2254250"/>
              <a:gd name="connsiteX48" fmla="*/ 3219634 w 3892734"/>
              <a:gd name="connsiteY48" fmla="*/ 1181100 h 2254250"/>
              <a:gd name="connsiteX49" fmla="*/ 3111684 w 3892734"/>
              <a:gd name="connsiteY49" fmla="*/ 1295400 h 2254250"/>
              <a:gd name="connsiteX50" fmla="*/ 2952934 w 3892734"/>
              <a:gd name="connsiteY50" fmla="*/ 1587500 h 2254250"/>
              <a:gd name="connsiteX51" fmla="*/ 2813234 w 3892734"/>
              <a:gd name="connsiteY51" fmla="*/ 1847850 h 2254250"/>
              <a:gd name="connsiteX52" fmla="*/ 2629084 w 3892734"/>
              <a:gd name="connsiteY52" fmla="*/ 2127250 h 2254250"/>
              <a:gd name="connsiteX53" fmla="*/ 2463984 w 3892734"/>
              <a:gd name="connsiteY53" fmla="*/ 2228850 h 2254250"/>
              <a:gd name="connsiteX54" fmla="*/ 2356034 w 3892734"/>
              <a:gd name="connsiteY54" fmla="*/ 2254250 h 2254250"/>
              <a:gd name="connsiteX55" fmla="*/ 2057584 w 3892734"/>
              <a:gd name="connsiteY55" fmla="*/ 2178050 h 2254250"/>
              <a:gd name="connsiteX56" fmla="*/ 1822634 w 3892734"/>
              <a:gd name="connsiteY56" fmla="*/ 2070100 h 2254250"/>
              <a:gd name="connsiteX57" fmla="*/ 1651184 w 3892734"/>
              <a:gd name="connsiteY57" fmla="*/ 1917700 h 2254250"/>
              <a:gd name="connsiteX58" fmla="*/ 1574984 w 3892734"/>
              <a:gd name="connsiteY58" fmla="*/ 1797050 h 2254250"/>
              <a:gd name="connsiteX59" fmla="*/ 1492434 w 3892734"/>
              <a:gd name="connsiteY59" fmla="*/ 1720850 h 2254250"/>
              <a:gd name="connsiteX60" fmla="*/ 1422584 w 3892734"/>
              <a:gd name="connsiteY60" fmla="*/ 1720850 h 2254250"/>
              <a:gd name="connsiteX61" fmla="*/ 1352734 w 3892734"/>
              <a:gd name="connsiteY61" fmla="*/ 1778000 h 2254250"/>
              <a:gd name="connsiteX62" fmla="*/ 1301934 w 3892734"/>
              <a:gd name="connsiteY62" fmla="*/ 1873250 h 2254250"/>
              <a:gd name="connsiteX63" fmla="*/ 1213034 w 3892734"/>
              <a:gd name="connsiteY63" fmla="*/ 2019300 h 2254250"/>
              <a:gd name="connsiteX64" fmla="*/ 1149534 w 3892734"/>
              <a:gd name="connsiteY64" fmla="*/ 2159000 h 2254250"/>
              <a:gd name="connsiteX65" fmla="*/ 1073334 w 3892734"/>
              <a:gd name="connsiteY65" fmla="*/ 2209800 h 2254250"/>
              <a:gd name="connsiteX66" fmla="*/ 990784 w 3892734"/>
              <a:gd name="connsiteY66" fmla="*/ 2209800 h 2254250"/>
              <a:gd name="connsiteX67" fmla="*/ 914584 w 3892734"/>
              <a:gd name="connsiteY67" fmla="*/ 2076450 h 2254250"/>
              <a:gd name="connsiteX68" fmla="*/ 876484 w 3892734"/>
              <a:gd name="connsiteY68" fmla="*/ 1949450 h 2254250"/>
              <a:gd name="connsiteX69" fmla="*/ 812984 w 3892734"/>
              <a:gd name="connsiteY69" fmla="*/ 1822450 h 2254250"/>
              <a:gd name="connsiteX70" fmla="*/ 730434 w 3892734"/>
              <a:gd name="connsiteY70" fmla="*/ 1758950 h 2254250"/>
              <a:gd name="connsiteX71" fmla="*/ 895535 w 3892734"/>
              <a:gd name="connsiteY71" fmla="*/ 1609913 h 2254250"/>
              <a:gd name="connsiteX72" fmla="*/ 743134 w 3892734"/>
              <a:gd name="connsiteY72" fmla="*/ 1587266 h 2254250"/>
              <a:gd name="connsiteX73" fmla="*/ 538346 w 3892734"/>
              <a:gd name="connsiteY73" fmla="*/ 1642309 h 2254250"/>
              <a:gd name="connsiteX74" fmla="*/ 358959 w 3892734"/>
              <a:gd name="connsiteY74" fmla="*/ 1593072 h 2254250"/>
              <a:gd name="connsiteX75" fmla="*/ 12884 w 3892734"/>
              <a:gd name="connsiteY75" fmla="*/ 1221921 h 2254250"/>
              <a:gd name="connsiteX76" fmla="*/ 184 w 3892734"/>
              <a:gd name="connsiteY76" fmla="*/ 0 h 2254250"/>
              <a:gd name="connsiteX0" fmla="*/ 184 w 3892734"/>
              <a:gd name="connsiteY0" fmla="*/ 0 h 2254250"/>
              <a:gd name="connsiteX1" fmla="*/ 266884 w 3892734"/>
              <a:gd name="connsiteY1" fmla="*/ 1162050 h 2254250"/>
              <a:gd name="connsiteX2" fmla="*/ 317684 w 3892734"/>
              <a:gd name="connsiteY2" fmla="*/ 1308100 h 2254250"/>
              <a:gd name="connsiteX3" fmla="*/ 362134 w 3892734"/>
              <a:gd name="connsiteY3" fmla="*/ 1371600 h 2254250"/>
              <a:gd name="connsiteX4" fmla="*/ 412934 w 3892734"/>
              <a:gd name="connsiteY4" fmla="*/ 1314450 h 2254250"/>
              <a:gd name="connsiteX5" fmla="*/ 514534 w 3892734"/>
              <a:gd name="connsiteY5" fmla="*/ 996950 h 2254250"/>
              <a:gd name="connsiteX6" fmla="*/ 584384 w 3892734"/>
              <a:gd name="connsiteY6" fmla="*/ 641350 h 2254250"/>
              <a:gd name="connsiteX7" fmla="*/ 641534 w 3892734"/>
              <a:gd name="connsiteY7" fmla="*/ 444500 h 2254250"/>
              <a:gd name="connsiteX8" fmla="*/ 692334 w 3892734"/>
              <a:gd name="connsiteY8" fmla="*/ 330200 h 2254250"/>
              <a:gd name="connsiteX9" fmla="*/ 724084 w 3892734"/>
              <a:gd name="connsiteY9" fmla="*/ 279400 h 2254250"/>
              <a:gd name="connsiteX10" fmla="*/ 806634 w 3892734"/>
              <a:gd name="connsiteY10" fmla="*/ 298450 h 2254250"/>
              <a:gd name="connsiteX11" fmla="*/ 927284 w 3892734"/>
              <a:gd name="connsiteY11" fmla="*/ 495300 h 2254250"/>
              <a:gd name="connsiteX12" fmla="*/ 978084 w 3892734"/>
              <a:gd name="connsiteY12" fmla="*/ 622300 h 2254250"/>
              <a:gd name="connsiteX13" fmla="*/ 1060634 w 3892734"/>
              <a:gd name="connsiteY13" fmla="*/ 666750 h 2254250"/>
              <a:gd name="connsiteX14" fmla="*/ 1136834 w 3892734"/>
              <a:gd name="connsiteY14" fmla="*/ 622300 h 2254250"/>
              <a:gd name="connsiteX15" fmla="*/ 1225734 w 3892734"/>
              <a:gd name="connsiteY15" fmla="*/ 495300 h 2254250"/>
              <a:gd name="connsiteX16" fmla="*/ 1289234 w 3892734"/>
              <a:gd name="connsiteY16" fmla="*/ 355600 h 2254250"/>
              <a:gd name="connsiteX17" fmla="*/ 1352734 w 3892734"/>
              <a:gd name="connsiteY17" fmla="*/ 292100 h 2254250"/>
              <a:gd name="connsiteX18" fmla="*/ 1397184 w 3892734"/>
              <a:gd name="connsiteY18" fmla="*/ 254000 h 2254250"/>
              <a:gd name="connsiteX19" fmla="*/ 1486084 w 3892734"/>
              <a:gd name="connsiteY19" fmla="*/ 285750 h 2254250"/>
              <a:gd name="connsiteX20" fmla="*/ 1581334 w 3892734"/>
              <a:gd name="connsiteY20" fmla="*/ 438150 h 2254250"/>
              <a:gd name="connsiteX21" fmla="*/ 1670234 w 3892734"/>
              <a:gd name="connsiteY21" fmla="*/ 654050 h 2254250"/>
              <a:gd name="connsiteX22" fmla="*/ 1905184 w 3892734"/>
              <a:gd name="connsiteY22" fmla="*/ 1066800 h 2254250"/>
              <a:gd name="connsiteX23" fmla="*/ 2006784 w 3892734"/>
              <a:gd name="connsiteY23" fmla="*/ 1212850 h 2254250"/>
              <a:gd name="connsiteX24" fmla="*/ 2082984 w 3892734"/>
              <a:gd name="connsiteY24" fmla="*/ 1295400 h 2254250"/>
              <a:gd name="connsiteX25" fmla="*/ 2190934 w 3892734"/>
              <a:gd name="connsiteY25" fmla="*/ 1263650 h 2254250"/>
              <a:gd name="connsiteX26" fmla="*/ 2235384 w 3892734"/>
              <a:gd name="connsiteY26" fmla="*/ 1168400 h 2254250"/>
              <a:gd name="connsiteX27" fmla="*/ 2292534 w 3892734"/>
              <a:gd name="connsiteY27" fmla="*/ 1016000 h 2254250"/>
              <a:gd name="connsiteX28" fmla="*/ 2368734 w 3892734"/>
              <a:gd name="connsiteY28" fmla="*/ 876300 h 2254250"/>
              <a:gd name="connsiteX29" fmla="*/ 2425884 w 3892734"/>
              <a:gd name="connsiteY29" fmla="*/ 787400 h 2254250"/>
              <a:gd name="connsiteX30" fmla="*/ 2476684 w 3892734"/>
              <a:gd name="connsiteY30" fmla="*/ 749300 h 2254250"/>
              <a:gd name="connsiteX31" fmla="*/ 2546534 w 3892734"/>
              <a:gd name="connsiteY31" fmla="*/ 736600 h 2254250"/>
              <a:gd name="connsiteX32" fmla="*/ 2654484 w 3892734"/>
              <a:gd name="connsiteY32" fmla="*/ 781050 h 2254250"/>
              <a:gd name="connsiteX33" fmla="*/ 2756084 w 3892734"/>
              <a:gd name="connsiteY33" fmla="*/ 838200 h 2254250"/>
              <a:gd name="connsiteX34" fmla="*/ 2851334 w 3892734"/>
              <a:gd name="connsiteY34" fmla="*/ 901700 h 2254250"/>
              <a:gd name="connsiteX35" fmla="*/ 2997384 w 3892734"/>
              <a:gd name="connsiteY35" fmla="*/ 920750 h 2254250"/>
              <a:gd name="connsiteX36" fmla="*/ 3175184 w 3892734"/>
              <a:gd name="connsiteY36" fmla="*/ 895350 h 2254250"/>
              <a:gd name="connsiteX37" fmla="*/ 3295834 w 3892734"/>
              <a:gd name="connsiteY37" fmla="*/ 774700 h 2254250"/>
              <a:gd name="connsiteX38" fmla="*/ 3391084 w 3892734"/>
              <a:gd name="connsiteY38" fmla="*/ 628650 h 2254250"/>
              <a:gd name="connsiteX39" fmla="*/ 3486334 w 3892734"/>
              <a:gd name="connsiteY39" fmla="*/ 495300 h 2254250"/>
              <a:gd name="connsiteX40" fmla="*/ 3594284 w 3892734"/>
              <a:gd name="connsiteY40" fmla="*/ 412750 h 2254250"/>
              <a:gd name="connsiteX41" fmla="*/ 3714934 w 3892734"/>
              <a:gd name="connsiteY41" fmla="*/ 406400 h 2254250"/>
              <a:gd name="connsiteX42" fmla="*/ 3892734 w 3892734"/>
              <a:gd name="connsiteY42" fmla="*/ 412750 h 2254250"/>
              <a:gd name="connsiteX43" fmla="*/ 3892734 w 3892734"/>
              <a:gd name="connsiteY43" fmla="*/ 755650 h 2254250"/>
              <a:gd name="connsiteX44" fmla="*/ 3708584 w 3892734"/>
              <a:gd name="connsiteY44" fmla="*/ 958850 h 2254250"/>
              <a:gd name="connsiteX45" fmla="*/ 3568884 w 3892734"/>
              <a:gd name="connsiteY45" fmla="*/ 1098550 h 2254250"/>
              <a:gd name="connsiteX46" fmla="*/ 3499034 w 3892734"/>
              <a:gd name="connsiteY46" fmla="*/ 1155700 h 2254250"/>
              <a:gd name="connsiteX47" fmla="*/ 3340284 w 3892734"/>
              <a:gd name="connsiteY47" fmla="*/ 1155700 h 2254250"/>
              <a:gd name="connsiteX48" fmla="*/ 3219634 w 3892734"/>
              <a:gd name="connsiteY48" fmla="*/ 1181100 h 2254250"/>
              <a:gd name="connsiteX49" fmla="*/ 3111684 w 3892734"/>
              <a:gd name="connsiteY49" fmla="*/ 1295400 h 2254250"/>
              <a:gd name="connsiteX50" fmla="*/ 2952934 w 3892734"/>
              <a:gd name="connsiteY50" fmla="*/ 1587500 h 2254250"/>
              <a:gd name="connsiteX51" fmla="*/ 2813234 w 3892734"/>
              <a:gd name="connsiteY51" fmla="*/ 1847850 h 2254250"/>
              <a:gd name="connsiteX52" fmla="*/ 2629084 w 3892734"/>
              <a:gd name="connsiteY52" fmla="*/ 2127250 h 2254250"/>
              <a:gd name="connsiteX53" fmla="*/ 2463984 w 3892734"/>
              <a:gd name="connsiteY53" fmla="*/ 2228850 h 2254250"/>
              <a:gd name="connsiteX54" fmla="*/ 2356034 w 3892734"/>
              <a:gd name="connsiteY54" fmla="*/ 2254250 h 2254250"/>
              <a:gd name="connsiteX55" fmla="*/ 2057584 w 3892734"/>
              <a:gd name="connsiteY55" fmla="*/ 2178050 h 2254250"/>
              <a:gd name="connsiteX56" fmla="*/ 1822634 w 3892734"/>
              <a:gd name="connsiteY56" fmla="*/ 2070100 h 2254250"/>
              <a:gd name="connsiteX57" fmla="*/ 1651184 w 3892734"/>
              <a:gd name="connsiteY57" fmla="*/ 1917700 h 2254250"/>
              <a:gd name="connsiteX58" fmla="*/ 1574984 w 3892734"/>
              <a:gd name="connsiteY58" fmla="*/ 1797050 h 2254250"/>
              <a:gd name="connsiteX59" fmla="*/ 1492434 w 3892734"/>
              <a:gd name="connsiteY59" fmla="*/ 1720850 h 2254250"/>
              <a:gd name="connsiteX60" fmla="*/ 1422584 w 3892734"/>
              <a:gd name="connsiteY60" fmla="*/ 1720850 h 2254250"/>
              <a:gd name="connsiteX61" fmla="*/ 1352734 w 3892734"/>
              <a:gd name="connsiteY61" fmla="*/ 1778000 h 2254250"/>
              <a:gd name="connsiteX62" fmla="*/ 1301934 w 3892734"/>
              <a:gd name="connsiteY62" fmla="*/ 1873250 h 2254250"/>
              <a:gd name="connsiteX63" fmla="*/ 1213034 w 3892734"/>
              <a:gd name="connsiteY63" fmla="*/ 2019300 h 2254250"/>
              <a:gd name="connsiteX64" fmla="*/ 1149534 w 3892734"/>
              <a:gd name="connsiteY64" fmla="*/ 2159000 h 2254250"/>
              <a:gd name="connsiteX65" fmla="*/ 1073334 w 3892734"/>
              <a:gd name="connsiteY65" fmla="*/ 2209800 h 2254250"/>
              <a:gd name="connsiteX66" fmla="*/ 990784 w 3892734"/>
              <a:gd name="connsiteY66" fmla="*/ 2209800 h 2254250"/>
              <a:gd name="connsiteX67" fmla="*/ 914584 w 3892734"/>
              <a:gd name="connsiteY67" fmla="*/ 2076450 h 2254250"/>
              <a:gd name="connsiteX68" fmla="*/ 876484 w 3892734"/>
              <a:gd name="connsiteY68" fmla="*/ 1949450 h 2254250"/>
              <a:gd name="connsiteX69" fmla="*/ 812984 w 3892734"/>
              <a:gd name="connsiteY69" fmla="*/ 1822450 h 2254250"/>
              <a:gd name="connsiteX70" fmla="*/ 1140009 w 3892734"/>
              <a:gd name="connsiteY70" fmla="*/ 1587331 h 2254250"/>
              <a:gd name="connsiteX71" fmla="*/ 895535 w 3892734"/>
              <a:gd name="connsiteY71" fmla="*/ 1609913 h 2254250"/>
              <a:gd name="connsiteX72" fmla="*/ 743134 w 3892734"/>
              <a:gd name="connsiteY72" fmla="*/ 1587266 h 2254250"/>
              <a:gd name="connsiteX73" fmla="*/ 538346 w 3892734"/>
              <a:gd name="connsiteY73" fmla="*/ 1642309 h 2254250"/>
              <a:gd name="connsiteX74" fmla="*/ 358959 w 3892734"/>
              <a:gd name="connsiteY74" fmla="*/ 1593072 h 2254250"/>
              <a:gd name="connsiteX75" fmla="*/ 12884 w 3892734"/>
              <a:gd name="connsiteY75" fmla="*/ 1221921 h 2254250"/>
              <a:gd name="connsiteX76" fmla="*/ 184 w 3892734"/>
              <a:gd name="connsiteY76" fmla="*/ 0 h 2254250"/>
              <a:gd name="connsiteX0" fmla="*/ 184 w 3892734"/>
              <a:gd name="connsiteY0" fmla="*/ 0 h 2254250"/>
              <a:gd name="connsiteX1" fmla="*/ 266884 w 3892734"/>
              <a:gd name="connsiteY1" fmla="*/ 1162050 h 2254250"/>
              <a:gd name="connsiteX2" fmla="*/ 317684 w 3892734"/>
              <a:gd name="connsiteY2" fmla="*/ 1308100 h 2254250"/>
              <a:gd name="connsiteX3" fmla="*/ 362134 w 3892734"/>
              <a:gd name="connsiteY3" fmla="*/ 1371600 h 2254250"/>
              <a:gd name="connsiteX4" fmla="*/ 412934 w 3892734"/>
              <a:gd name="connsiteY4" fmla="*/ 1314450 h 2254250"/>
              <a:gd name="connsiteX5" fmla="*/ 514534 w 3892734"/>
              <a:gd name="connsiteY5" fmla="*/ 996950 h 2254250"/>
              <a:gd name="connsiteX6" fmla="*/ 584384 w 3892734"/>
              <a:gd name="connsiteY6" fmla="*/ 641350 h 2254250"/>
              <a:gd name="connsiteX7" fmla="*/ 641534 w 3892734"/>
              <a:gd name="connsiteY7" fmla="*/ 444500 h 2254250"/>
              <a:gd name="connsiteX8" fmla="*/ 692334 w 3892734"/>
              <a:gd name="connsiteY8" fmla="*/ 330200 h 2254250"/>
              <a:gd name="connsiteX9" fmla="*/ 724084 w 3892734"/>
              <a:gd name="connsiteY9" fmla="*/ 279400 h 2254250"/>
              <a:gd name="connsiteX10" fmla="*/ 806634 w 3892734"/>
              <a:gd name="connsiteY10" fmla="*/ 298450 h 2254250"/>
              <a:gd name="connsiteX11" fmla="*/ 927284 w 3892734"/>
              <a:gd name="connsiteY11" fmla="*/ 495300 h 2254250"/>
              <a:gd name="connsiteX12" fmla="*/ 978084 w 3892734"/>
              <a:gd name="connsiteY12" fmla="*/ 622300 h 2254250"/>
              <a:gd name="connsiteX13" fmla="*/ 1060634 w 3892734"/>
              <a:gd name="connsiteY13" fmla="*/ 666750 h 2254250"/>
              <a:gd name="connsiteX14" fmla="*/ 1136834 w 3892734"/>
              <a:gd name="connsiteY14" fmla="*/ 622300 h 2254250"/>
              <a:gd name="connsiteX15" fmla="*/ 1225734 w 3892734"/>
              <a:gd name="connsiteY15" fmla="*/ 495300 h 2254250"/>
              <a:gd name="connsiteX16" fmla="*/ 1289234 w 3892734"/>
              <a:gd name="connsiteY16" fmla="*/ 355600 h 2254250"/>
              <a:gd name="connsiteX17" fmla="*/ 1352734 w 3892734"/>
              <a:gd name="connsiteY17" fmla="*/ 292100 h 2254250"/>
              <a:gd name="connsiteX18" fmla="*/ 1397184 w 3892734"/>
              <a:gd name="connsiteY18" fmla="*/ 254000 h 2254250"/>
              <a:gd name="connsiteX19" fmla="*/ 1486084 w 3892734"/>
              <a:gd name="connsiteY19" fmla="*/ 285750 h 2254250"/>
              <a:gd name="connsiteX20" fmla="*/ 1581334 w 3892734"/>
              <a:gd name="connsiteY20" fmla="*/ 438150 h 2254250"/>
              <a:gd name="connsiteX21" fmla="*/ 1670234 w 3892734"/>
              <a:gd name="connsiteY21" fmla="*/ 654050 h 2254250"/>
              <a:gd name="connsiteX22" fmla="*/ 1905184 w 3892734"/>
              <a:gd name="connsiteY22" fmla="*/ 1066800 h 2254250"/>
              <a:gd name="connsiteX23" fmla="*/ 2006784 w 3892734"/>
              <a:gd name="connsiteY23" fmla="*/ 1212850 h 2254250"/>
              <a:gd name="connsiteX24" fmla="*/ 2082984 w 3892734"/>
              <a:gd name="connsiteY24" fmla="*/ 1295400 h 2254250"/>
              <a:gd name="connsiteX25" fmla="*/ 2190934 w 3892734"/>
              <a:gd name="connsiteY25" fmla="*/ 1263650 h 2254250"/>
              <a:gd name="connsiteX26" fmla="*/ 2235384 w 3892734"/>
              <a:gd name="connsiteY26" fmla="*/ 1168400 h 2254250"/>
              <a:gd name="connsiteX27" fmla="*/ 2292534 w 3892734"/>
              <a:gd name="connsiteY27" fmla="*/ 1016000 h 2254250"/>
              <a:gd name="connsiteX28" fmla="*/ 2368734 w 3892734"/>
              <a:gd name="connsiteY28" fmla="*/ 876300 h 2254250"/>
              <a:gd name="connsiteX29" fmla="*/ 2425884 w 3892734"/>
              <a:gd name="connsiteY29" fmla="*/ 787400 h 2254250"/>
              <a:gd name="connsiteX30" fmla="*/ 2476684 w 3892734"/>
              <a:gd name="connsiteY30" fmla="*/ 749300 h 2254250"/>
              <a:gd name="connsiteX31" fmla="*/ 2546534 w 3892734"/>
              <a:gd name="connsiteY31" fmla="*/ 736600 h 2254250"/>
              <a:gd name="connsiteX32" fmla="*/ 2654484 w 3892734"/>
              <a:gd name="connsiteY32" fmla="*/ 781050 h 2254250"/>
              <a:gd name="connsiteX33" fmla="*/ 2756084 w 3892734"/>
              <a:gd name="connsiteY33" fmla="*/ 838200 h 2254250"/>
              <a:gd name="connsiteX34" fmla="*/ 2851334 w 3892734"/>
              <a:gd name="connsiteY34" fmla="*/ 901700 h 2254250"/>
              <a:gd name="connsiteX35" fmla="*/ 2997384 w 3892734"/>
              <a:gd name="connsiteY35" fmla="*/ 920750 h 2254250"/>
              <a:gd name="connsiteX36" fmla="*/ 3175184 w 3892734"/>
              <a:gd name="connsiteY36" fmla="*/ 895350 h 2254250"/>
              <a:gd name="connsiteX37" fmla="*/ 3295834 w 3892734"/>
              <a:gd name="connsiteY37" fmla="*/ 774700 h 2254250"/>
              <a:gd name="connsiteX38" fmla="*/ 3391084 w 3892734"/>
              <a:gd name="connsiteY38" fmla="*/ 628650 h 2254250"/>
              <a:gd name="connsiteX39" fmla="*/ 3486334 w 3892734"/>
              <a:gd name="connsiteY39" fmla="*/ 495300 h 2254250"/>
              <a:gd name="connsiteX40" fmla="*/ 3594284 w 3892734"/>
              <a:gd name="connsiteY40" fmla="*/ 412750 h 2254250"/>
              <a:gd name="connsiteX41" fmla="*/ 3714934 w 3892734"/>
              <a:gd name="connsiteY41" fmla="*/ 406400 h 2254250"/>
              <a:gd name="connsiteX42" fmla="*/ 3892734 w 3892734"/>
              <a:gd name="connsiteY42" fmla="*/ 412750 h 2254250"/>
              <a:gd name="connsiteX43" fmla="*/ 3892734 w 3892734"/>
              <a:gd name="connsiteY43" fmla="*/ 755650 h 2254250"/>
              <a:gd name="connsiteX44" fmla="*/ 3708584 w 3892734"/>
              <a:gd name="connsiteY44" fmla="*/ 958850 h 2254250"/>
              <a:gd name="connsiteX45" fmla="*/ 3568884 w 3892734"/>
              <a:gd name="connsiteY45" fmla="*/ 1098550 h 2254250"/>
              <a:gd name="connsiteX46" fmla="*/ 3499034 w 3892734"/>
              <a:gd name="connsiteY46" fmla="*/ 1155700 h 2254250"/>
              <a:gd name="connsiteX47" fmla="*/ 3340284 w 3892734"/>
              <a:gd name="connsiteY47" fmla="*/ 1155700 h 2254250"/>
              <a:gd name="connsiteX48" fmla="*/ 3219634 w 3892734"/>
              <a:gd name="connsiteY48" fmla="*/ 1181100 h 2254250"/>
              <a:gd name="connsiteX49" fmla="*/ 3111684 w 3892734"/>
              <a:gd name="connsiteY49" fmla="*/ 1295400 h 2254250"/>
              <a:gd name="connsiteX50" fmla="*/ 2952934 w 3892734"/>
              <a:gd name="connsiteY50" fmla="*/ 1587500 h 2254250"/>
              <a:gd name="connsiteX51" fmla="*/ 2813234 w 3892734"/>
              <a:gd name="connsiteY51" fmla="*/ 1847850 h 2254250"/>
              <a:gd name="connsiteX52" fmla="*/ 2629084 w 3892734"/>
              <a:gd name="connsiteY52" fmla="*/ 2127250 h 2254250"/>
              <a:gd name="connsiteX53" fmla="*/ 2463984 w 3892734"/>
              <a:gd name="connsiteY53" fmla="*/ 2228850 h 2254250"/>
              <a:gd name="connsiteX54" fmla="*/ 2356034 w 3892734"/>
              <a:gd name="connsiteY54" fmla="*/ 2254250 h 2254250"/>
              <a:gd name="connsiteX55" fmla="*/ 2057584 w 3892734"/>
              <a:gd name="connsiteY55" fmla="*/ 2178050 h 2254250"/>
              <a:gd name="connsiteX56" fmla="*/ 1822634 w 3892734"/>
              <a:gd name="connsiteY56" fmla="*/ 2070100 h 2254250"/>
              <a:gd name="connsiteX57" fmla="*/ 1651184 w 3892734"/>
              <a:gd name="connsiteY57" fmla="*/ 1917700 h 2254250"/>
              <a:gd name="connsiteX58" fmla="*/ 1574984 w 3892734"/>
              <a:gd name="connsiteY58" fmla="*/ 1797050 h 2254250"/>
              <a:gd name="connsiteX59" fmla="*/ 1492434 w 3892734"/>
              <a:gd name="connsiteY59" fmla="*/ 1720850 h 2254250"/>
              <a:gd name="connsiteX60" fmla="*/ 1422584 w 3892734"/>
              <a:gd name="connsiteY60" fmla="*/ 1720850 h 2254250"/>
              <a:gd name="connsiteX61" fmla="*/ 1352734 w 3892734"/>
              <a:gd name="connsiteY61" fmla="*/ 1778000 h 2254250"/>
              <a:gd name="connsiteX62" fmla="*/ 1301934 w 3892734"/>
              <a:gd name="connsiteY62" fmla="*/ 1873250 h 2254250"/>
              <a:gd name="connsiteX63" fmla="*/ 1213034 w 3892734"/>
              <a:gd name="connsiteY63" fmla="*/ 2019300 h 2254250"/>
              <a:gd name="connsiteX64" fmla="*/ 1149534 w 3892734"/>
              <a:gd name="connsiteY64" fmla="*/ 2159000 h 2254250"/>
              <a:gd name="connsiteX65" fmla="*/ 1073334 w 3892734"/>
              <a:gd name="connsiteY65" fmla="*/ 2209800 h 2254250"/>
              <a:gd name="connsiteX66" fmla="*/ 990784 w 3892734"/>
              <a:gd name="connsiteY66" fmla="*/ 2209800 h 2254250"/>
              <a:gd name="connsiteX67" fmla="*/ 914584 w 3892734"/>
              <a:gd name="connsiteY67" fmla="*/ 2076450 h 2254250"/>
              <a:gd name="connsiteX68" fmla="*/ 876484 w 3892734"/>
              <a:gd name="connsiteY68" fmla="*/ 1949450 h 2254250"/>
              <a:gd name="connsiteX69" fmla="*/ 812984 w 3892734"/>
              <a:gd name="connsiteY69" fmla="*/ 1822450 h 2254250"/>
              <a:gd name="connsiteX70" fmla="*/ 1140009 w 3892734"/>
              <a:gd name="connsiteY70" fmla="*/ 1424745 h 2254250"/>
              <a:gd name="connsiteX71" fmla="*/ 895535 w 3892734"/>
              <a:gd name="connsiteY71" fmla="*/ 1609913 h 2254250"/>
              <a:gd name="connsiteX72" fmla="*/ 743134 w 3892734"/>
              <a:gd name="connsiteY72" fmla="*/ 1587266 h 2254250"/>
              <a:gd name="connsiteX73" fmla="*/ 538346 w 3892734"/>
              <a:gd name="connsiteY73" fmla="*/ 1642309 h 2254250"/>
              <a:gd name="connsiteX74" fmla="*/ 358959 w 3892734"/>
              <a:gd name="connsiteY74" fmla="*/ 1593072 h 2254250"/>
              <a:gd name="connsiteX75" fmla="*/ 12884 w 3892734"/>
              <a:gd name="connsiteY75" fmla="*/ 1221921 h 2254250"/>
              <a:gd name="connsiteX76" fmla="*/ 184 w 3892734"/>
              <a:gd name="connsiteY76" fmla="*/ 0 h 2254250"/>
              <a:gd name="connsiteX0" fmla="*/ 184 w 3892734"/>
              <a:gd name="connsiteY0" fmla="*/ 0 h 2254250"/>
              <a:gd name="connsiteX1" fmla="*/ 266884 w 3892734"/>
              <a:gd name="connsiteY1" fmla="*/ 1162050 h 2254250"/>
              <a:gd name="connsiteX2" fmla="*/ 317684 w 3892734"/>
              <a:gd name="connsiteY2" fmla="*/ 1308100 h 2254250"/>
              <a:gd name="connsiteX3" fmla="*/ 362134 w 3892734"/>
              <a:gd name="connsiteY3" fmla="*/ 1371600 h 2254250"/>
              <a:gd name="connsiteX4" fmla="*/ 412934 w 3892734"/>
              <a:gd name="connsiteY4" fmla="*/ 1314450 h 2254250"/>
              <a:gd name="connsiteX5" fmla="*/ 514534 w 3892734"/>
              <a:gd name="connsiteY5" fmla="*/ 996950 h 2254250"/>
              <a:gd name="connsiteX6" fmla="*/ 584384 w 3892734"/>
              <a:gd name="connsiteY6" fmla="*/ 641350 h 2254250"/>
              <a:gd name="connsiteX7" fmla="*/ 641534 w 3892734"/>
              <a:gd name="connsiteY7" fmla="*/ 444500 h 2254250"/>
              <a:gd name="connsiteX8" fmla="*/ 692334 w 3892734"/>
              <a:gd name="connsiteY8" fmla="*/ 330200 h 2254250"/>
              <a:gd name="connsiteX9" fmla="*/ 724084 w 3892734"/>
              <a:gd name="connsiteY9" fmla="*/ 279400 h 2254250"/>
              <a:gd name="connsiteX10" fmla="*/ 806634 w 3892734"/>
              <a:gd name="connsiteY10" fmla="*/ 298450 h 2254250"/>
              <a:gd name="connsiteX11" fmla="*/ 927284 w 3892734"/>
              <a:gd name="connsiteY11" fmla="*/ 495300 h 2254250"/>
              <a:gd name="connsiteX12" fmla="*/ 978084 w 3892734"/>
              <a:gd name="connsiteY12" fmla="*/ 622300 h 2254250"/>
              <a:gd name="connsiteX13" fmla="*/ 1060634 w 3892734"/>
              <a:gd name="connsiteY13" fmla="*/ 666750 h 2254250"/>
              <a:gd name="connsiteX14" fmla="*/ 1136834 w 3892734"/>
              <a:gd name="connsiteY14" fmla="*/ 622300 h 2254250"/>
              <a:gd name="connsiteX15" fmla="*/ 1225734 w 3892734"/>
              <a:gd name="connsiteY15" fmla="*/ 495300 h 2254250"/>
              <a:gd name="connsiteX16" fmla="*/ 1289234 w 3892734"/>
              <a:gd name="connsiteY16" fmla="*/ 355600 h 2254250"/>
              <a:gd name="connsiteX17" fmla="*/ 1352734 w 3892734"/>
              <a:gd name="connsiteY17" fmla="*/ 292100 h 2254250"/>
              <a:gd name="connsiteX18" fmla="*/ 1397184 w 3892734"/>
              <a:gd name="connsiteY18" fmla="*/ 254000 h 2254250"/>
              <a:gd name="connsiteX19" fmla="*/ 1486084 w 3892734"/>
              <a:gd name="connsiteY19" fmla="*/ 285750 h 2254250"/>
              <a:gd name="connsiteX20" fmla="*/ 1581334 w 3892734"/>
              <a:gd name="connsiteY20" fmla="*/ 438150 h 2254250"/>
              <a:gd name="connsiteX21" fmla="*/ 1670234 w 3892734"/>
              <a:gd name="connsiteY21" fmla="*/ 654050 h 2254250"/>
              <a:gd name="connsiteX22" fmla="*/ 1905184 w 3892734"/>
              <a:gd name="connsiteY22" fmla="*/ 1066800 h 2254250"/>
              <a:gd name="connsiteX23" fmla="*/ 2006784 w 3892734"/>
              <a:gd name="connsiteY23" fmla="*/ 1212850 h 2254250"/>
              <a:gd name="connsiteX24" fmla="*/ 2082984 w 3892734"/>
              <a:gd name="connsiteY24" fmla="*/ 1295400 h 2254250"/>
              <a:gd name="connsiteX25" fmla="*/ 2190934 w 3892734"/>
              <a:gd name="connsiteY25" fmla="*/ 1263650 h 2254250"/>
              <a:gd name="connsiteX26" fmla="*/ 2235384 w 3892734"/>
              <a:gd name="connsiteY26" fmla="*/ 1168400 h 2254250"/>
              <a:gd name="connsiteX27" fmla="*/ 2292534 w 3892734"/>
              <a:gd name="connsiteY27" fmla="*/ 1016000 h 2254250"/>
              <a:gd name="connsiteX28" fmla="*/ 2368734 w 3892734"/>
              <a:gd name="connsiteY28" fmla="*/ 876300 h 2254250"/>
              <a:gd name="connsiteX29" fmla="*/ 2425884 w 3892734"/>
              <a:gd name="connsiteY29" fmla="*/ 787400 h 2254250"/>
              <a:gd name="connsiteX30" fmla="*/ 2476684 w 3892734"/>
              <a:gd name="connsiteY30" fmla="*/ 749300 h 2254250"/>
              <a:gd name="connsiteX31" fmla="*/ 2546534 w 3892734"/>
              <a:gd name="connsiteY31" fmla="*/ 736600 h 2254250"/>
              <a:gd name="connsiteX32" fmla="*/ 2654484 w 3892734"/>
              <a:gd name="connsiteY32" fmla="*/ 781050 h 2254250"/>
              <a:gd name="connsiteX33" fmla="*/ 2756084 w 3892734"/>
              <a:gd name="connsiteY33" fmla="*/ 838200 h 2254250"/>
              <a:gd name="connsiteX34" fmla="*/ 2851334 w 3892734"/>
              <a:gd name="connsiteY34" fmla="*/ 901700 h 2254250"/>
              <a:gd name="connsiteX35" fmla="*/ 2997384 w 3892734"/>
              <a:gd name="connsiteY35" fmla="*/ 920750 h 2254250"/>
              <a:gd name="connsiteX36" fmla="*/ 3175184 w 3892734"/>
              <a:gd name="connsiteY36" fmla="*/ 895350 h 2254250"/>
              <a:gd name="connsiteX37" fmla="*/ 3295834 w 3892734"/>
              <a:gd name="connsiteY37" fmla="*/ 774700 h 2254250"/>
              <a:gd name="connsiteX38" fmla="*/ 3391084 w 3892734"/>
              <a:gd name="connsiteY38" fmla="*/ 628650 h 2254250"/>
              <a:gd name="connsiteX39" fmla="*/ 3486334 w 3892734"/>
              <a:gd name="connsiteY39" fmla="*/ 495300 h 2254250"/>
              <a:gd name="connsiteX40" fmla="*/ 3594284 w 3892734"/>
              <a:gd name="connsiteY40" fmla="*/ 412750 h 2254250"/>
              <a:gd name="connsiteX41" fmla="*/ 3714934 w 3892734"/>
              <a:gd name="connsiteY41" fmla="*/ 406400 h 2254250"/>
              <a:gd name="connsiteX42" fmla="*/ 3892734 w 3892734"/>
              <a:gd name="connsiteY42" fmla="*/ 412750 h 2254250"/>
              <a:gd name="connsiteX43" fmla="*/ 3892734 w 3892734"/>
              <a:gd name="connsiteY43" fmla="*/ 755650 h 2254250"/>
              <a:gd name="connsiteX44" fmla="*/ 3708584 w 3892734"/>
              <a:gd name="connsiteY44" fmla="*/ 958850 h 2254250"/>
              <a:gd name="connsiteX45" fmla="*/ 3568884 w 3892734"/>
              <a:gd name="connsiteY45" fmla="*/ 1098550 h 2254250"/>
              <a:gd name="connsiteX46" fmla="*/ 3499034 w 3892734"/>
              <a:gd name="connsiteY46" fmla="*/ 1155700 h 2254250"/>
              <a:gd name="connsiteX47" fmla="*/ 3340284 w 3892734"/>
              <a:gd name="connsiteY47" fmla="*/ 1155700 h 2254250"/>
              <a:gd name="connsiteX48" fmla="*/ 3219634 w 3892734"/>
              <a:gd name="connsiteY48" fmla="*/ 1181100 h 2254250"/>
              <a:gd name="connsiteX49" fmla="*/ 3111684 w 3892734"/>
              <a:gd name="connsiteY49" fmla="*/ 1295400 h 2254250"/>
              <a:gd name="connsiteX50" fmla="*/ 2952934 w 3892734"/>
              <a:gd name="connsiteY50" fmla="*/ 1587500 h 2254250"/>
              <a:gd name="connsiteX51" fmla="*/ 2813234 w 3892734"/>
              <a:gd name="connsiteY51" fmla="*/ 1847850 h 2254250"/>
              <a:gd name="connsiteX52" fmla="*/ 2629084 w 3892734"/>
              <a:gd name="connsiteY52" fmla="*/ 2127250 h 2254250"/>
              <a:gd name="connsiteX53" fmla="*/ 2463984 w 3892734"/>
              <a:gd name="connsiteY53" fmla="*/ 2228850 h 2254250"/>
              <a:gd name="connsiteX54" fmla="*/ 2356034 w 3892734"/>
              <a:gd name="connsiteY54" fmla="*/ 2254250 h 2254250"/>
              <a:gd name="connsiteX55" fmla="*/ 2057584 w 3892734"/>
              <a:gd name="connsiteY55" fmla="*/ 2178050 h 2254250"/>
              <a:gd name="connsiteX56" fmla="*/ 1822634 w 3892734"/>
              <a:gd name="connsiteY56" fmla="*/ 2070100 h 2254250"/>
              <a:gd name="connsiteX57" fmla="*/ 1651184 w 3892734"/>
              <a:gd name="connsiteY57" fmla="*/ 1917700 h 2254250"/>
              <a:gd name="connsiteX58" fmla="*/ 1574984 w 3892734"/>
              <a:gd name="connsiteY58" fmla="*/ 1797050 h 2254250"/>
              <a:gd name="connsiteX59" fmla="*/ 1492434 w 3892734"/>
              <a:gd name="connsiteY59" fmla="*/ 1720850 h 2254250"/>
              <a:gd name="connsiteX60" fmla="*/ 1422584 w 3892734"/>
              <a:gd name="connsiteY60" fmla="*/ 1720850 h 2254250"/>
              <a:gd name="connsiteX61" fmla="*/ 1352734 w 3892734"/>
              <a:gd name="connsiteY61" fmla="*/ 1778000 h 2254250"/>
              <a:gd name="connsiteX62" fmla="*/ 1301934 w 3892734"/>
              <a:gd name="connsiteY62" fmla="*/ 1873250 h 2254250"/>
              <a:gd name="connsiteX63" fmla="*/ 1213034 w 3892734"/>
              <a:gd name="connsiteY63" fmla="*/ 2019300 h 2254250"/>
              <a:gd name="connsiteX64" fmla="*/ 1149534 w 3892734"/>
              <a:gd name="connsiteY64" fmla="*/ 2159000 h 2254250"/>
              <a:gd name="connsiteX65" fmla="*/ 1073334 w 3892734"/>
              <a:gd name="connsiteY65" fmla="*/ 2209800 h 2254250"/>
              <a:gd name="connsiteX66" fmla="*/ 990784 w 3892734"/>
              <a:gd name="connsiteY66" fmla="*/ 2209800 h 2254250"/>
              <a:gd name="connsiteX67" fmla="*/ 914584 w 3892734"/>
              <a:gd name="connsiteY67" fmla="*/ 2076450 h 2254250"/>
              <a:gd name="connsiteX68" fmla="*/ 876484 w 3892734"/>
              <a:gd name="connsiteY68" fmla="*/ 1949450 h 2254250"/>
              <a:gd name="connsiteX69" fmla="*/ 812984 w 3892734"/>
              <a:gd name="connsiteY69" fmla="*/ 1822450 h 2254250"/>
              <a:gd name="connsiteX70" fmla="*/ 1101909 w 3892734"/>
              <a:gd name="connsiteY70" fmla="*/ 1573782 h 2254250"/>
              <a:gd name="connsiteX71" fmla="*/ 895535 w 3892734"/>
              <a:gd name="connsiteY71" fmla="*/ 1609913 h 2254250"/>
              <a:gd name="connsiteX72" fmla="*/ 743134 w 3892734"/>
              <a:gd name="connsiteY72" fmla="*/ 1587266 h 2254250"/>
              <a:gd name="connsiteX73" fmla="*/ 538346 w 3892734"/>
              <a:gd name="connsiteY73" fmla="*/ 1642309 h 2254250"/>
              <a:gd name="connsiteX74" fmla="*/ 358959 w 3892734"/>
              <a:gd name="connsiteY74" fmla="*/ 1593072 h 2254250"/>
              <a:gd name="connsiteX75" fmla="*/ 12884 w 3892734"/>
              <a:gd name="connsiteY75" fmla="*/ 1221921 h 2254250"/>
              <a:gd name="connsiteX76" fmla="*/ 184 w 3892734"/>
              <a:gd name="connsiteY76" fmla="*/ 0 h 2254250"/>
              <a:gd name="connsiteX0" fmla="*/ 184 w 3892734"/>
              <a:gd name="connsiteY0" fmla="*/ 0 h 2254250"/>
              <a:gd name="connsiteX1" fmla="*/ 266884 w 3892734"/>
              <a:gd name="connsiteY1" fmla="*/ 1162050 h 2254250"/>
              <a:gd name="connsiteX2" fmla="*/ 317684 w 3892734"/>
              <a:gd name="connsiteY2" fmla="*/ 1308100 h 2254250"/>
              <a:gd name="connsiteX3" fmla="*/ 362134 w 3892734"/>
              <a:gd name="connsiteY3" fmla="*/ 1371600 h 2254250"/>
              <a:gd name="connsiteX4" fmla="*/ 412934 w 3892734"/>
              <a:gd name="connsiteY4" fmla="*/ 1314450 h 2254250"/>
              <a:gd name="connsiteX5" fmla="*/ 514534 w 3892734"/>
              <a:gd name="connsiteY5" fmla="*/ 996950 h 2254250"/>
              <a:gd name="connsiteX6" fmla="*/ 584384 w 3892734"/>
              <a:gd name="connsiteY6" fmla="*/ 641350 h 2254250"/>
              <a:gd name="connsiteX7" fmla="*/ 641534 w 3892734"/>
              <a:gd name="connsiteY7" fmla="*/ 444500 h 2254250"/>
              <a:gd name="connsiteX8" fmla="*/ 692334 w 3892734"/>
              <a:gd name="connsiteY8" fmla="*/ 330200 h 2254250"/>
              <a:gd name="connsiteX9" fmla="*/ 724084 w 3892734"/>
              <a:gd name="connsiteY9" fmla="*/ 279400 h 2254250"/>
              <a:gd name="connsiteX10" fmla="*/ 806634 w 3892734"/>
              <a:gd name="connsiteY10" fmla="*/ 298450 h 2254250"/>
              <a:gd name="connsiteX11" fmla="*/ 927284 w 3892734"/>
              <a:gd name="connsiteY11" fmla="*/ 495300 h 2254250"/>
              <a:gd name="connsiteX12" fmla="*/ 978084 w 3892734"/>
              <a:gd name="connsiteY12" fmla="*/ 622300 h 2254250"/>
              <a:gd name="connsiteX13" fmla="*/ 1060634 w 3892734"/>
              <a:gd name="connsiteY13" fmla="*/ 666750 h 2254250"/>
              <a:gd name="connsiteX14" fmla="*/ 1136834 w 3892734"/>
              <a:gd name="connsiteY14" fmla="*/ 622300 h 2254250"/>
              <a:gd name="connsiteX15" fmla="*/ 1225734 w 3892734"/>
              <a:gd name="connsiteY15" fmla="*/ 495300 h 2254250"/>
              <a:gd name="connsiteX16" fmla="*/ 1289234 w 3892734"/>
              <a:gd name="connsiteY16" fmla="*/ 355600 h 2254250"/>
              <a:gd name="connsiteX17" fmla="*/ 1352734 w 3892734"/>
              <a:gd name="connsiteY17" fmla="*/ 292100 h 2254250"/>
              <a:gd name="connsiteX18" fmla="*/ 1397184 w 3892734"/>
              <a:gd name="connsiteY18" fmla="*/ 254000 h 2254250"/>
              <a:gd name="connsiteX19" fmla="*/ 1486084 w 3892734"/>
              <a:gd name="connsiteY19" fmla="*/ 285750 h 2254250"/>
              <a:gd name="connsiteX20" fmla="*/ 1581334 w 3892734"/>
              <a:gd name="connsiteY20" fmla="*/ 438150 h 2254250"/>
              <a:gd name="connsiteX21" fmla="*/ 1670234 w 3892734"/>
              <a:gd name="connsiteY21" fmla="*/ 654050 h 2254250"/>
              <a:gd name="connsiteX22" fmla="*/ 1905184 w 3892734"/>
              <a:gd name="connsiteY22" fmla="*/ 1066800 h 2254250"/>
              <a:gd name="connsiteX23" fmla="*/ 2006784 w 3892734"/>
              <a:gd name="connsiteY23" fmla="*/ 1212850 h 2254250"/>
              <a:gd name="connsiteX24" fmla="*/ 2082984 w 3892734"/>
              <a:gd name="connsiteY24" fmla="*/ 1295400 h 2254250"/>
              <a:gd name="connsiteX25" fmla="*/ 2190934 w 3892734"/>
              <a:gd name="connsiteY25" fmla="*/ 1263650 h 2254250"/>
              <a:gd name="connsiteX26" fmla="*/ 2235384 w 3892734"/>
              <a:gd name="connsiteY26" fmla="*/ 1168400 h 2254250"/>
              <a:gd name="connsiteX27" fmla="*/ 2292534 w 3892734"/>
              <a:gd name="connsiteY27" fmla="*/ 1016000 h 2254250"/>
              <a:gd name="connsiteX28" fmla="*/ 2368734 w 3892734"/>
              <a:gd name="connsiteY28" fmla="*/ 876300 h 2254250"/>
              <a:gd name="connsiteX29" fmla="*/ 2425884 w 3892734"/>
              <a:gd name="connsiteY29" fmla="*/ 787400 h 2254250"/>
              <a:gd name="connsiteX30" fmla="*/ 2476684 w 3892734"/>
              <a:gd name="connsiteY30" fmla="*/ 749300 h 2254250"/>
              <a:gd name="connsiteX31" fmla="*/ 2546534 w 3892734"/>
              <a:gd name="connsiteY31" fmla="*/ 736600 h 2254250"/>
              <a:gd name="connsiteX32" fmla="*/ 2654484 w 3892734"/>
              <a:gd name="connsiteY32" fmla="*/ 781050 h 2254250"/>
              <a:gd name="connsiteX33" fmla="*/ 2756084 w 3892734"/>
              <a:gd name="connsiteY33" fmla="*/ 838200 h 2254250"/>
              <a:gd name="connsiteX34" fmla="*/ 2851334 w 3892734"/>
              <a:gd name="connsiteY34" fmla="*/ 901700 h 2254250"/>
              <a:gd name="connsiteX35" fmla="*/ 2997384 w 3892734"/>
              <a:gd name="connsiteY35" fmla="*/ 920750 h 2254250"/>
              <a:gd name="connsiteX36" fmla="*/ 3175184 w 3892734"/>
              <a:gd name="connsiteY36" fmla="*/ 895350 h 2254250"/>
              <a:gd name="connsiteX37" fmla="*/ 3295834 w 3892734"/>
              <a:gd name="connsiteY37" fmla="*/ 774700 h 2254250"/>
              <a:gd name="connsiteX38" fmla="*/ 3391084 w 3892734"/>
              <a:gd name="connsiteY38" fmla="*/ 628650 h 2254250"/>
              <a:gd name="connsiteX39" fmla="*/ 3486334 w 3892734"/>
              <a:gd name="connsiteY39" fmla="*/ 495300 h 2254250"/>
              <a:gd name="connsiteX40" fmla="*/ 3594284 w 3892734"/>
              <a:gd name="connsiteY40" fmla="*/ 412750 h 2254250"/>
              <a:gd name="connsiteX41" fmla="*/ 3714934 w 3892734"/>
              <a:gd name="connsiteY41" fmla="*/ 406400 h 2254250"/>
              <a:gd name="connsiteX42" fmla="*/ 3892734 w 3892734"/>
              <a:gd name="connsiteY42" fmla="*/ 412750 h 2254250"/>
              <a:gd name="connsiteX43" fmla="*/ 3892734 w 3892734"/>
              <a:gd name="connsiteY43" fmla="*/ 755650 h 2254250"/>
              <a:gd name="connsiteX44" fmla="*/ 3708584 w 3892734"/>
              <a:gd name="connsiteY44" fmla="*/ 958850 h 2254250"/>
              <a:gd name="connsiteX45" fmla="*/ 3568884 w 3892734"/>
              <a:gd name="connsiteY45" fmla="*/ 1098550 h 2254250"/>
              <a:gd name="connsiteX46" fmla="*/ 3499034 w 3892734"/>
              <a:gd name="connsiteY46" fmla="*/ 1155700 h 2254250"/>
              <a:gd name="connsiteX47" fmla="*/ 3340284 w 3892734"/>
              <a:gd name="connsiteY47" fmla="*/ 1155700 h 2254250"/>
              <a:gd name="connsiteX48" fmla="*/ 3219634 w 3892734"/>
              <a:gd name="connsiteY48" fmla="*/ 1181100 h 2254250"/>
              <a:gd name="connsiteX49" fmla="*/ 3111684 w 3892734"/>
              <a:gd name="connsiteY49" fmla="*/ 1295400 h 2254250"/>
              <a:gd name="connsiteX50" fmla="*/ 2952934 w 3892734"/>
              <a:gd name="connsiteY50" fmla="*/ 1587500 h 2254250"/>
              <a:gd name="connsiteX51" fmla="*/ 2813234 w 3892734"/>
              <a:gd name="connsiteY51" fmla="*/ 1847850 h 2254250"/>
              <a:gd name="connsiteX52" fmla="*/ 2629084 w 3892734"/>
              <a:gd name="connsiteY52" fmla="*/ 2127250 h 2254250"/>
              <a:gd name="connsiteX53" fmla="*/ 2463984 w 3892734"/>
              <a:gd name="connsiteY53" fmla="*/ 2228850 h 2254250"/>
              <a:gd name="connsiteX54" fmla="*/ 2356034 w 3892734"/>
              <a:gd name="connsiteY54" fmla="*/ 2254250 h 2254250"/>
              <a:gd name="connsiteX55" fmla="*/ 2057584 w 3892734"/>
              <a:gd name="connsiteY55" fmla="*/ 2178050 h 2254250"/>
              <a:gd name="connsiteX56" fmla="*/ 1822634 w 3892734"/>
              <a:gd name="connsiteY56" fmla="*/ 2070100 h 2254250"/>
              <a:gd name="connsiteX57" fmla="*/ 1651184 w 3892734"/>
              <a:gd name="connsiteY57" fmla="*/ 1917700 h 2254250"/>
              <a:gd name="connsiteX58" fmla="*/ 1574984 w 3892734"/>
              <a:gd name="connsiteY58" fmla="*/ 1797050 h 2254250"/>
              <a:gd name="connsiteX59" fmla="*/ 1492434 w 3892734"/>
              <a:gd name="connsiteY59" fmla="*/ 1720850 h 2254250"/>
              <a:gd name="connsiteX60" fmla="*/ 1422584 w 3892734"/>
              <a:gd name="connsiteY60" fmla="*/ 1720850 h 2254250"/>
              <a:gd name="connsiteX61" fmla="*/ 1352734 w 3892734"/>
              <a:gd name="connsiteY61" fmla="*/ 1778000 h 2254250"/>
              <a:gd name="connsiteX62" fmla="*/ 1301934 w 3892734"/>
              <a:gd name="connsiteY62" fmla="*/ 1873250 h 2254250"/>
              <a:gd name="connsiteX63" fmla="*/ 1213034 w 3892734"/>
              <a:gd name="connsiteY63" fmla="*/ 2019300 h 2254250"/>
              <a:gd name="connsiteX64" fmla="*/ 1149534 w 3892734"/>
              <a:gd name="connsiteY64" fmla="*/ 2159000 h 2254250"/>
              <a:gd name="connsiteX65" fmla="*/ 1073334 w 3892734"/>
              <a:gd name="connsiteY65" fmla="*/ 2209800 h 2254250"/>
              <a:gd name="connsiteX66" fmla="*/ 990784 w 3892734"/>
              <a:gd name="connsiteY66" fmla="*/ 2209800 h 2254250"/>
              <a:gd name="connsiteX67" fmla="*/ 914584 w 3892734"/>
              <a:gd name="connsiteY67" fmla="*/ 2076450 h 2254250"/>
              <a:gd name="connsiteX68" fmla="*/ 1471796 w 3892734"/>
              <a:gd name="connsiteY68" fmla="*/ 1533952 h 2254250"/>
              <a:gd name="connsiteX69" fmla="*/ 812984 w 3892734"/>
              <a:gd name="connsiteY69" fmla="*/ 1822450 h 2254250"/>
              <a:gd name="connsiteX70" fmla="*/ 1101909 w 3892734"/>
              <a:gd name="connsiteY70" fmla="*/ 1573782 h 2254250"/>
              <a:gd name="connsiteX71" fmla="*/ 895535 w 3892734"/>
              <a:gd name="connsiteY71" fmla="*/ 1609913 h 2254250"/>
              <a:gd name="connsiteX72" fmla="*/ 743134 w 3892734"/>
              <a:gd name="connsiteY72" fmla="*/ 1587266 h 2254250"/>
              <a:gd name="connsiteX73" fmla="*/ 538346 w 3892734"/>
              <a:gd name="connsiteY73" fmla="*/ 1642309 h 2254250"/>
              <a:gd name="connsiteX74" fmla="*/ 358959 w 3892734"/>
              <a:gd name="connsiteY74" fmla="*/ 1593072 h 2254250"/>
              <a:gd name="connsiteX75" fmla="*/ 12884 w 3892734"/>
              <a:gd name="connsiteY75" fmla="*/ 1221921 h 2254250"/>
              <a:gd name="connsiteX76" fmla="*/ 184 w 3892734"/>
              <a:gd name="connsiteY76" fmla="*/ 0 h 2254250"/>
              <a:gd name="connsiteX0" fmla="*/ 184 w 3892734"/>
              <a:gd name="connsiteY0" fmla="*/ 0 h 2254250"/>
              <a:gd name="connsiteX1" fmla="*/ 266884 w 3892734"/>
              <a:gd name="connsiteY1" fmla="*/ 1162050 h 2254250"/>
              <a:gd name="connsiteX2" fmla="*/ 317684 w 3892734"/>
              <a:gd name="connsiteY2" fmla="*/ 1308100 h 2254250"/>
              <a:gd name="connsiteX3" fmla="*/ 362134 w 3892734"/>
              <a:gd name="connsiteY3" fmla="*/ 1371600 h 2254250"/>
              <a:gd name="connsiteX4" fmla="*/ 412934 w 3892734"/>
              <a:gd name="connsiteY4" fmla="*/ 1314450 h 2254250"/>
              <a:gd name="connsiteX5" fmla="*/ 514534 w 3892734"/>
              <a:gd name="connsiteY5" fmla="*/ 996950 h 2254250"/>
              <a:gd name="connsiteX6" fmla="*/ 584384 w 3892734"/>
              <a:gd name="connsiteY6" fmla="*/ 641350 h 2254250"/>
              <a:gd name="connsiteX7" fmla="*/ 641534 w 3892734"/>
              <a:gd name="connsiteY7" fmla="*/ 444500 h 2254250"/>
              <a:gd name="connsiteX8" fmla="*/ 692334 w 3892734"/>
              <a:gd name="connsiteY8" fmla="*/ 330200 h 2254250"/>
              <a:gd name="connsiteX9" fmla="*/ 724084 w 3892734"/>
              <a:gd name="connsiteY9" fmla="*/ 279400 h 2254250"/>
              <a:gd name="connsiteX10" fmla="*/ 806634 w 3892734"/>
              <a:gd name="connsiteY10" fmla="*/ 298450 h 2254250"/>
              <a:gd name="connsiteX11" fmla="*/ 927284 w 3892734"/>
              <a:gd name="connsiteY11" fmla="*/ 495300 h 2254250"/>
              <a:gd name="connsiteX12" fmla="*/ 978084 w 3892734"/>
              <a:gd name="connsiteY12" fmla="*/ 622300 h 2254250"/>
              <a:gd name="connsiteX13" fmla="*/ 1060634 w 3892734"/>
              <a:gd name="connsiteY13" fmla="*/ 666750 h 2254250"/>
              <a:gd name="connsiteX14" fmla="*/ 1136834 w 3892734"/>
              <a:gd name="connsiteY14" fmla="*/ 622300 h 2254250"/>
              <a:gd name="connsiteX15" fmla="*/ 1225734 w 3892734"/>
              <a:gd name="connsiteY15" fmla="*/ 495300 h 2254250"/>
              <a:gd name="connsiteX16" fmla="*/ 1289234 w 3892734"/>
              <a:gd name="connsiteY16" fmla="*/ 355600 h 2254250"/>
              <a:gd name="connsiteX17" fmla="*/ 1352734 w 3892734"/>
              <a:gd name="connsiteY17" fmla="*/ 292100 h 2254250"/>
              <a:gd name="connsiteX18" fmla="*/ 1397184 w 3892734"/>
              <a:gd name="connsiteY18" fmla="*/ 254000 h 2254250"/>
              <a:gd name="connsiteX19" fmla="*/ 1486084 w 3892734"/>
              <a:gd name="connsiteY19" fmla="*/ 285750 h 2254250"/>
              <a:gd name="connsiteX20" fmla="*/ 1581334 w 3892734"/>
              <a:gd name="connsiteY20" fmla="*/ 438150 h 2254250"/>
              <a:gd name="connsiteX21" fmla="*/ 1670234 w 3892734"/>
              <a:gd name="connsiteY21" fmla="*/ 654050 h 2254250"/>
              <a:gd name="connsiteX22" fmla="*/ 1905184 w 3892734"/>
              <a:gd name="connsiteY22" fmla="*/ 1066800 h 2254250"/>
              <a:gd name="connsiteX23" fmla="*/ 2006784 w 3892734"/>
              <a:gd name="connsiteY23" fmla="*/ 1212850 h 2254250"/>
              <a:gd name="connsiteX24" fmla="*/ 2082984 w 3892734"/>
              <a:gd name="connsiteY24" fmla="*/ 1295400 h 2254250"/>
              <a:gd name="connsiteX25" fmla="*/ 2190934 w 3892734"/>
              <a:gd name="connsiteY25" fmla="*/ 1263650 h 2254250"/>
              <a:gd name="connsiteX26" fmla="*/ 2235384 w 3892734"/>
              <a:gd name="connsiteY26" fmla="*/ 1168400 h 2254250"/>
              <a:gd name="connsiteX27" fmla="*/ 2292534 w 3892734"/>
              <a:gd name="connsiteY27" fmla="*/ 1016000 h 2254250"/>
              <a:gd name="connsiteX28" fmla="*/ 2368734 w 3892734"/>
              <a:gd name="connsiteY28" fmla="*/ 876300 h 2254250"/>
              <a:gd name="connsiteX29" fmla="*/ 2425884 w 3892734"/>
              <a:gd name="connsiteY29" fmla="*/ 787400 h 2254250"/>
              <a:gd name="connsiteX30" fmla="*/ 2476684 w 3892734"/>
              <a:gd name="connsiteY30" fmla="*/ 749300 h 2254250"/>
              <a:gd name="connsiteX31" fmla="*/ 2546534 w 3892734"/>
              <a:gd name="connsiteY31" fmla="*/ 736600 h 2254250"/>
              <a:gd name="connsiteX32" fmla="*/ 2654484 w 3892734"/>
              <a:gd name="connsiteY32" fmla="*/ 781050 h 2254250"/>
              <a:gd name="connsiteX33" fmla="*/ 2756084 w 3892734"/>
              <a:gd name="connsiteY33" fmla="*/ 838200 h 2254250"/>
              <a:gd name="connsiteX34" fmla="*/ 2851334 w 3892734"/>
              <a:gd name="connsiteY34" fmla="*/ 901700 h 2254250"/>
              <a:gd name="connsiteX35" fmla="*/ 2997384 w 3892734"/>
              <a:gd name="connsiteY35" fmla="*/ 920750 h 2254250"/>
              <a:gd name="connsiteX36" fmla="*/ 3175184 w 3892734"/>
              <a:gd name="connsiteY36" fmla="*/ 895350 h 2254250"/>
              <a:gd name="connsiteX37" fmla="*/ 3295834 w 3892734"/>
              <a:gd name="connsiteY37" fmla="*/ 774700 h 2254250"/>
              <a:gd name="connsiteX38" fmla="*/ 3391084 w 3892734"/>
              <a:gd name="connsiteY38" fmla="*/ 628650 h 2254250"/>
              <a:gd name="connsiteX39" fmla="*/ 3486334 w 3892734"/>
              <a:gd name="connsiteY39" fmla="*/ 495300 h 2254250"/>
              <a:gd name="connsiteX40" fmla="*/ 3594284 w 3892734"/>
              <a:gd name="connsiteY40" fmla="*/ 412750 h 2254250"/>
              <a:gd name="connsiteX41" fmla="*/ 3714934 w 3892734"/>
              <a:gd name="connsiteY41" fmla="*/ 406400 h 2254250"/>
              <a:gd name="connsiteX42" fmla="*/ 3892734 w 3892734"/>
              <a:gd name="connsiteY42" fmla="*/ 412750 h 2254250"/>
              <a:gd name="connsiteX43" fmla="*/ 3892734 w 3892734"/>
              <a:gd name="connsiteY43" fmla="*/ 755650 h 2254250"/>
              <a:gd name="connsiteX44" fmla="*/ 3708584 w 3892734"/>
              <a:gd name="connsiteY44" fmla="*/ 958850 h 2254250"/>
              <a:gd name="connsiteX45" fmla="*/ 3568884 w 3892734"/>
              <a:gd name="connsiteY45" fmla="*/ 1098550 h 2254250"/>
              <a:gd name="connsiteX46" fmla="*/ 3499034 w 3892734"/>
              <a:gd name="connsiteY46" fmla="*/ 1155700 h 2254250"/>
              <a:gd name="connsiteX47" fmla="*/ 3340284 w 3892734"/>
              <a:gd name="connsiteY47" fmla="*/ 1155700 h 2254250"/>
              <a:gd name="connsiteX48" fmla="*/ 3219634 w 3892734"/>
              <a:gd name="connsiteY48" fmla="*/ 1181100 h 2254250"/>
              <a:gd name="connsiteX49" fmla="*/ 3111684 w 3892734"/>
              <a:gd name="connsiteY49" fmla="*/ 1295400 h 2254250"/>
              <a:gd name="connsiteX50" fmla="*/ 2952934 w 3892734"/>
              <a:gd name="connsiteY50" fmla="*/ 1587500 h 2254250"/>
              <a:gd name="connsiteX51" fmla="*/ 2813234 w 3892734"/>
              <a:gd name="connsiteY51" fmla="*/ 1847850 h 2254250"/>
              <a:gd name="connsiteX52" fmla="*/ 2629084 w 3892734"/>
              <a:gd name="connsiteY52" fmla="*/ 2127250 h 2254250"/>
              <a:gd name="connsiteX53" fmla="*/ 2463984 w 3892734"/>
              <a:gd name="connsiteY53" fmla="*/ 2228850 h 2254250"/>
              <a:gd name="connsiteX54" fmla="*/ 2356034 w 3892734"/>
              <a:gd name="connsiteY54" fmla="*/ 2254250 h 2254250"/>
              <a:gd name="connsiteX55" fmla="*/ 2057584 w 3892734"/>
              <a:gd name="connsiteY55" fmla="*/ 2178050 h 2254250"/>
              <a:gd name="connsiteX56" fmla="*/ 1822634 w 3892734"/>
              <a:gd name="connsiteY56" fmla="*/ 2070100 h 2254250"/>
              <a:gd name="connsiteX57" fmla="*/ 1651184 w 3892734"/>
              <a:gd name="connsiteY57" fmla="*/ 1917700 h 2254250"/>
              <a:gd name="connsiteX58" fmla="*/ 1574984 w 3892734"/>
              <a:gd name="connsiteY58" fmla="*/ 1797050 h 2254250"/>
              <a:gd name="connsiteX59" fmla="*/ 1492434 w 3892734"/>
              <a:gd name="connsiteY59" fmla="*/ 1720850 h 2254250"/>
              <a:gd name="connsiteX60" fmla="*/ 1422584 w 3892734"/>
              <a:gd name="connsiteY60" fmla="*/ 1720850 h 2254250"/>
              <a:gd name="connsiteX61" fmla="*/ 1352734 w 3892734"/>
              <a:gd name="connsiteY61" fmla="*/ 1778000 h 2254250"/>
              <a:gd name="connsiteX62" fmla="*/ 1301934 w 3892734"/>
              <a:gd name="connsiteY62" fmla="*/ 1873250 h 2254250"/>
              <a:gd name="connsiteX63" fmla="*/ 1213034 w 3892734"/>
              <a:gd name="connsiteY63" fmla="*/ 2019300 h 2254250"/>
              <a:gd name="connsiteX64" fmla="*/ 1149534 w 3892734"/>
              <a:gd name="connsiteY64" fmla="*/ 2159000 h 2254250"/>
              <a:gd name="connsiteX65" fmla="*/ 1073334 w 3892734"/>
              <a:gd name="connsiteY65" fmla="*/ 2209800 h 2254250"/>
              <a:gd name="connsiteX66" fmla="*/ 990784 w 3892734"/>
              <a:gd name="connsiteY66" fmla="*/ 2209800 h 2254250"/>
              <a:gd name="connsiteX67" fmla="*/ 914584 w 3892734"/>
              <a:gd name="connsiteY67" fmla="*/ 2076450 h 2254250"/>
              <a:gd name="connsiteX68" fmla="*/ 1471796 w 3892734"/>
              <a:gd name="connsiteY68" fmla="*/ 1533952 h 2254250"/>
              <a:gd name="connsiteX69" fmla="*/ 1101909 w 3892734"/>
              <a:gd name="connsiteY69" fmla="*/ 1573782 h 2254250"/>
              <a:gd name="connsiteX70" fmla="*/ 895535 w 3892734"/>
              <a:gd name="connsiteY70" fmla="*/ 1609913 h 2254250"/>
              <a:gd name="connsiteX71" fmla="*/ 743134 w 3892734"/>
              <a:gd name="connsiteY71" fmla="*/ 1587266 h 2254250"/>
              <a:gd name="connsiteX72" fmla="*/ 538346 w 3892734"/>
              <a:gd name="connsiteY72" fmla="*/ 1642309 h 2254250"/>
              <a:gd name="connsiteX73" fmla="*/ 358959 w 3892734"/>
              <a:gd name="connsiteY73" fmla="*/ 1593072 h 2254250"/>
              <a:gd name="connsiteX74" fmla="*/ 12884 w 3892734"/>
              <a:gd name="connsiteY74" fmla="*/ 1221921 h 2254250"/>
              <a:gd name="connsiteX75" fmla="*/ 184 w 3892734"/>
              <a:gd name="connsiteY75" fmla="*/ 0 h 2254250"/>
              <a:gd name="connsiteX0" fmla="*/ 184 w 3892734"/>
              <a:gd name="connsiteY0" fmla="*/ 0 h 2254250"/>
              <a:gd name="connsiteX1" fmla="*/ 266884 w 3892734"/>
              <a:gd name="connsiteY1" fmla="*/ 1162050 h 2254250"/>
              <a:gd name="connsiteX2" fmla="*/ 317684 w 3892734"/>
              <a:gd name="connsiteY2" fmla="*/ 1308100 h 2254250"/>
              <a:gd name="connsiteX3" fmla="*/ 362134 w 3892734"/>
              <a:gd name="connsiteY3" fmla="*/ 1371600 h 2254250"/>
              <a:gd name="connsiteX4" fmla="*/ 412934 w 3892734"/>
              <a:gd name="connsiteY4" fmla="*/ 1314450 h 2254250"/>
              <a:gd name="connsiteX5" fmla="*/ 514534 w 3892734"/>
              <a:gd name="connsiteY5" fmla="*/ 996950 h 2254250"/>
              <a:gd name="connsiteX6" fmla="*/ 584384 w 3892734"/>
              <a:gd name="connsiteY6" fmla="*/ 641350 h 2254250"/>
              <a:gd name="connsiteX7" fmla="*/ 641534 w 3892734"/>
              <a:gd name="connsiteY7" fmla="*/ 444500 h 2254250"/>
              <a:gd name="connsiteX8" fmla="*/ 692334 w 3892734"/>
              <a:gd name="connsiteY8" fmla="*/ 330200 h 2254250"/>
              <a:gd name="connsiteX9" fmla="*/ 724084 w 3892734"/>
              <a:gd name="connsiteY9" fmla="*/ 279400 h 2254250"/>
              <a:gd name="connsiteX10" fmla="*/ 806634 w 3892734"/>
              <a:gd name="connsiteY10" fmla="*/ 298450 h 2254250"/>
              <a:gd name="connsiteX11" fmla="*/ 927284 w 3892734"/>
              <a:gd name="connsiteY11" fmla="*/ 495300 h 2254250"/>
              <a:gd name="connsiteX12" fmla="*/ 978084 w 3892734"/>
              <a:gd name="connsiteY12" fmla="*/ 622300 h 2254250"/>
              <a:gd name="connsiteX13" fmla="*/ 1060634 w 3892734"/>
              <a:gd name="connsiteY13" fmla="*/ 666750 h 2254250"/>
              <a:gd name="connsiteX14" fmla="*/ 1136834 w 3892734"/>
              <a:gd name="connsiteY14" fmla="*/ 622300 h 2254250"/>
              <a:gd name="connsiteX15" fmla="*/ 1225734 w 3892734"/>
              <a:gd name="connsiteY15" fmla="*/ 495300 h 2254250"/>
              <a:gd name="connsiteX16" fmla="*/ 1289234 w 3892734"/>
              <a:gd name="connsiteY16" fmla="*/ 355600 h 2254250"/>
              <a:gd name="connsiteX17" fmla="*/ 1352734 w 3892734"/>
              <a:gd name="connsiteY17" fmla="*/ 292100 h 2254250"/>
              <a:gd name="connsiteX18" fmla="*/ 1397184 w 3892734"/>
              <a:gd name="connsiteY18" fmla="*/ 254000 h 2254250"/>
              <a:gd name="connsiteX19" fmla="*/ 1486084 w 3892734"/>
              <a:gd name="connsiteY19" fmla="*/ 285750 h 2254250"/>
              <a:gd name="connsiteX20" fmla="*/ 1581334 w 3892734"/>
              <a:gd name="connsiteY20" fmla="*/ 438150 h 2254250"/>
              <a:gd name="connsiteX21" fmla="*/ 1670234 w 3892734"/>
              <a:gd name="connsiteY21" fmla="*/ 654050 h 2254250"/>
              <a:gd name="connsiteX22" fmla="*/ 1905184 w 3892734"/>
              <a:gd name="connsiteY22" fmla="*/ 1066800 h 2254250"/>
              <a:gd name="connsiteX23" fmla="*/ 2006784 w 3892734"/>
              <a:gd name="connsiteY23" fmla="*/ 1212850 h 2254250"/>
              <a:gd name="connsiteX24" fmla="*/ 2082984 w 3892734"/>
              <a:gd name="connsiteY24" fmla="*/ 1295400 h 2254250"/>
              <a:gd name="connsiteX25" fmla="*/ 2190934 w 3892734"/>
              <a:gd name="connsiteY25" fmla="*/ 1263650 h 2254250"/>
              <a:gd name="connsiteX26" fmla="*/ 2235384 w 3892734"/>
              <a:gd name="connsiteY26" fmla="*/ 1168400 h 2254250"/>
              <a:gd name="connsiteX27" fmla="*/ 2292534 w 3892734"/>
              <a:gd name="connsiteY27" fmla="*/ 1016000 h 2254250"/>
              <a:gd name="connsiteX28" fmla="*/ 2368734 w 3892734"/>
              <a:gd name="connsiteY28" fmla="*/ 876300 h 2254250"/>
              <a:gd name="connsiteX29" fmla="*/ 2425884 w 3892734"/>
              <a:gd name="connsiteY29" fmla="*/ 787400 h 2254250"/>
              <a:gd name="connsiteX30" fmla="*/ 2476684 w 3892734"/>
              <a:gd name="connsiteY30" fmla="*/ 749300 h 2254250"/>
              <a:gd name="connsiteX31" fmla="*/ 2546534 w 3892734"/>
              <a:gd name="connsiteY31" fmla="*/ 736600 h 2254250"/>
              <a:gd name="connsiteX32" fmla="*/ 2654484 w 3892734"/>
              <a:gd name="connsiteY32" fmla="*/ 781050 h 2254250"/>
              <a:gd name="connsiteX33" fmla="*/ 2756084 w 3892734"/>
              <a:gd name="connsiteY33" fmla="*/ 838200 h 2254250"/>
              <a:gd name="connsiteX34" fmla="*/ 2851334 w 3892734"/>
              <a:gd name="connsiteY34" fmla="*/ 901700 h 2254250"/>
              <a:gd name="connsiteX35" fmla="*/ 2997384 w 3892734"/>
              <a:gd name="connsiteY35" fmla="*/ 920750 h 2254250"/>
              <a:gd name="connsiteX36" fmla="*/ 3175184 w 3892734"/>
              <a:gd name="connsiteY36" fmla="*/ 895350 h 2254250"/>
              <a:gd name="connsiteX37" fmla="*/ 3295834 w 3892734"/>
              <a:gd name="connsiteY37" fmla="*/ 774700 h 2254250"/>
              <a:gd name="connsiteX38" fmla="*/ 3391084 w 3892734"/>
              <a:gd name="connsiteY38" fmla="*/ 628650 h 2254250"/>
              <a:gd name="connsiteX39" fmla="*/ 3486334 w 3892734"/>
              <a:gd name="connsiteY39" fmla="*/ 495300 h 2254250"/>
              <a:gd name="connsiteX40" fmla="*/ 3594284 w 3892734"/>
              <a:gd name="connsiteY40" fmla="*/ 412750 h 2254250"/>
              <a:gd name="connsiteX41" fmla="*/ 3714934 w 3892734"/>
              <a:gd name="connsiteY41" fmla="*/ 406400 h 2254250"/>
              <a:gd name="connsiteX42" fmla="*/ 3892734 w 3892734"/>
              <a:gd name="connsiteY42" fmla="*/ 412750 h 2254250"/>
              <a:gd name="connsiteX43" fmla="*/ 3892734 w 3892734"/>
              <a:gd name="connsiteY43" fmla="*/ 755650 h 2254250"/>
              <a:gd name="connsiteX44" fmla="*/ 3708584 w 3892734"/>
              <a:gd name="connsiteY44" fmla="*/ 958850 h 2254250"/>
              <a:gd name="connsiteX45" fmla="*/ 3568884 w 3892734"/>
              <a:gd name="connsiteY45" fmla="*/ 1098550 h 2254250"/>
              <a:gd name="connsiteX46" fmla="*/ 3499034 w 3892734"/>
              <a:gd name="connsiteY46" fmla="*/ 1155700 h 2254250"/>
              <a:gd name="connsiteX47" fmla="*/ 3340284 w 3892734"/>
              <a:gd name="connsiteY47" fmla="*/ 1155700 h 2254250"/>
              <a:gd name="connsiteX48" fmla="*/ 3219634 w 3892734"/>
              <a:gd name="connsiteY48" fmla="*/ 1181100 h 2254250"/>
              <a:gd name="connsiteX49" fmla="*/ 3111684 w 3892734"/>
              <a:gd name="connsiteY49" fmla="*/ 1295400 h 2254250"/>
              <a:gd name="connsiteX50" fmla="*/ 2952934 w 3892734"/>
              <a:gd name="connsiteY50" fmla="*/ 1587500 h 2254250"/>
              <a:gd name="connsiteX51" fmla="*/ 2813234 w 3892734"/>
              <a:gd name="connsiteY51" fmla="*/ 1847850 h 2254250"/>
              <a:gd name="connsiteX52" fmla="*/ 2629084 w 3892734"/>
              <a:gd name="connsiteY52" fmla="*/ 2127250 h 2254250"/>
              <a:gd name="connsiteX53" fmla="*/ 2463984 w 3892734"/>
              <a:gd name="connsiteY53" fmla="*/ 2228850 h 2254250"/>
              <a:gd name="connsiteX54" fmla="*/ 2356034 w 3892734"/>
              <a:gd name="connsiteY54" fmla="*/ 2254250 h 2254250"/>
              <a:gd name="connsiteX55" fmla="*/ 2057584 w 3892734"/>
              <a:gd name="connsiteY55" fmla="*/ 2178050 h 2254250"/>
              <a:gd name="connsiteX56" fmla="*/ 1822634 w 3892734"/>
              <a:gd name="connsiteY56" fmla="*/ 2070100 h 2254250"/>
              <a:gd name="connsiteX57" fmla="*/ 1651184 w 3892734"/>
              <a:gd name="connsiteY57" fmla="*/ 1917700 h 2254250"/>
              <a:gd name="connsiteX58" fmla="*/ 1574984 w 3892734"/>
              <a:gd name="connsiteY58" fmla="*/ 1797050 h 2254250"/>
              <a:gd name="connsiteX59" fmla="*/ 1492434 w 3892734"/>
              <a:gd name="connsiteY59" fmla="*/ 1720850 h 2254250"/>
              <a:gd name="connsiteX60" fmla="*/ 1422584 w 3892734"/>
              <a:gd name="connsiteY60" fmla="*/ 1720850 h 2254250"/>
              <a:gd name="connsiteX61" fmla="*/ 1352734 w 3892734"/>
              <a:gd name="connsiteY61" fmla="*/ 1778000 h 2254250"/>
              <a:gd name="connsiteX62" fmla="*/ 1301934 w 3892734"/>
              <a:gd name="connsiteY62" fmla="*/ 1873250 h 2254250"/>
              <a:gd name="connsiteX63" fmla="*/ 1213034 w 3892734"/>
              <a:gd name="connsiteY63" fmla="*/ 2019300 h 2254250"/>
              <a:gd name="connsiteX64" fmla="*/ 1149534 w 3892734"/>
              <a:gd name="connsiteY64" fmla="*/ 2159000 h 2254250"/>
              <a:gd name="connsiteX65" fmla="*/ 1073334 w 3892734"/>
              <a:gd name="connsiteY65" fmla="*/ 2209800 h 2254250"/>
              <a:gd name="connsiteX66" fmla="*/ 990784 w 3892734"/>
              <a:gd name="connsiteY66" fmla="*/ 2209800 h 2254250"/>
              <a:gd name="connsiteX67" fmla="*/ 914584 w 3892734"/>
              <a:gd name="connsiteY67" fmla="*/ 2076450 h 2254250"/>
              <a:gd name="connsiteX68" fmla="*/ 1443221 w 3892734"/>
              <a:gd name="connsiteY68" fmla="*/ 1443627 h 2254250"/>
              <a:gd name="connsiteX69" fmla="*/ 1101909 w 3892734"/>
              <a:gd name="connsiteY69" fmla="*/ 1573782 h 2254250"/>
              <a:gd name="connsiteX70" fmla="*/ 895535 w 3892734"/>
              <a:gd name="connsiteY70" fmla="*/ 1609913 h 2254250"/>
              <a:gd name="connsiteX71" fmla="*/ 743134 w 3892734"/>
              <a:gd name="connsiteY71" fmla="*/ 1587266 h 2254250"/>
              <a:gd name="connsiteX72" fmla="*/ 538346 w 3892734"/>
              <a:gd name="connsiteY72" fmla="*/ 1642309 h 2254250"/>
              <a:gd name="connsiteX73" fmla="*/ 358959 w 3892734"/>
              <a:gd name="connsiteY73" fmla="*/ 1593072 h 2254250"/>
              <a:gd name="connsiteX74" fmla="*/ 12884 w 3892734"/>
              <a:gd name="connsiteY74" fmla="*/ 1221921 h 2254250"/>
              <a:gd name="connsiteX75" fmla="*/ 184 w 3892734"/>
              <a:gd name="connsiteY75" fmla="*/ 0 h 2254250"/>
              <a:gd name="connsiteX0" fmla="*/ 184 w 3892734"/>
              <a:gd name="connsiteY0" fmla="*/ 0 h 2254250"/>
              <a:gd name="connsiteX1" fmla="*/ 266884 w 3892734"/>
              <a:gd name="connsiteY1" fmla="*/ 1162050 h 2254250"/>
              <a:gd name="connsiteX2" fmla="*/ 317684 w 3892734"/>
              <a:gd name="connsiteY2" fmla="*/ 1308100 h 2254250"/>
              <a:gd name="connsiteX3" fmla="*/ 362134 w 3892734"/>
              <a:gd name="connsiteY3" fmla="*/ 1371600 h 2254250"/>
              <a:gd name="connsiteX4" fmla="*/ 412934 w 3892734"/>
              <a:gd name="connsiteY4" fmla="*/ 1314450 h 2254250"/>
              <a:gd name="connsiteX5" fmla="*/ 514534 w 3892734"/>
              <a:gd name="connsiteY5" fmla="*/ 996950 h 2254250"/>
              <a:gd name="connsiteX6" fmla="*/ 584384 w 3892734"/>
              <a:gd name="connsiteY6" fmla="*/ 641350 h 2254250"/>
              <a:gd name="connsiteX7" fmla="*/ 641534 w 3892734"/>
              <a:gd name="connsiteY7" fmla="*/ 444500 h 2254250"/>
              <a:gd name="connsiteX8" fmla="*/ 692334 w 3892734"/>
              <a:gd name="connsiteY8" fmla="*/ 330200 h 2254250"/>
              <a:gd name="connsiteX9" fmla="*/ 724084 w 3892734"/>
              <a:gd name="connsiteY9" fmla="*/ 279400 h 2254250"/>
              <a:gd name="connsiteX10" fmla="*/ 806634 w 3892734"/>
              <a:gd name="connsiteY10" fmla="*/ 298450 h 2254250"/>
              <a:gd name="connsiteX11" fmla="*/ 927284 w 3892734"/>
              <a:gd name="connsiteY11" fmla="*/ 495300 h 2254250"/>
              <a:gd name="connsiteX12" fmla="*/ 978084 w 3892734"/>
              <a:gd name="connsiteY12" fmla="*/ 622300 h 2254250"/>
              <a:gd name="connsiteX13" fmla="*/ 1060634 w 3892734"/>
              <a:gd name="connsiteY13" fmla="*/ 666750 h 2254250"/>
              <a:gd name="connsiteX14" fmla="*/ 1136834 w 3892734"/>
              <a:gd name="connsiteY14" fmla="*/ 622300 h 2254250"/>
              <a:gd name="connsiteX15" fmla="*/ 1225734 w 3892734"/>
              <a:gd name="connsiteY15" fmla="*/ 495300 h 2254250"/>
              <a:gd name="connsiteX16" fmla="*/ 1289234 w 3892734"/>
              <a:gd name="connsiteY16" fmla="*/ 355600 h 2254250"/>
              <a:gd name="connsiteX17" fmla="*/ 1352734 w 3892734"/>
              <a:gd name="connsiteY17" fmla="*/ 292100 h 2254250"/>
              <a:gd name="connsiteX18" fmla="*/ 1397184 w 3892734"/>
              <a:gd name="connsiteY18" fmla="*/ 254000 h 2254250"/>
              <a:gd name="connsiteX19" fmla="*/ 1486084 w 3892734"/>
              <a:gd name="connsiteY19" fmla="*/ 285750 h 2254250"/>
              <a:gd name="connsiteX20" fmla="*/ 1581334 w 3892734"/>
              <a:gd name="connsiteY20" fmla="*/ 438150 h 2254250"/>
              <a:gd name="connsiteX21" fmla="*/ 1670234 w 3892734"/>
              <a:gd name="connsiteY21" fmla="*/ 654050 h 2254250"/>
              <a:gd name="connsiteX22" fmla="*/ 1905184 w 3892734"/>
              <a:gd name="connsiteY22" fmla="*/ 1066800 h 2254250"/>
              <a:gd name="connsiteX23" fmla="*/ 2006784 w 3892734"/>
              <a:gd name="connsiteY23" fmla="*/ 1212850 h 2254250"/>
              <a:gd name="connsiteX24" fmla="*/ 2082984 w 3892734"/>
              <a:gd name="connsiteY24" fmla="*/ 1295400 h 2254250"/>
              <a:gd name="connsiteX25" fmla="*/ 2190934 w 3892734"/>
              <a:gd name="connsiteY25" fmla="*/ 1263650 h 2254250"/>
              <a:gd name="connsiteX26" fmla="*/ 2235384 w 3892734"/>
              <a:gd name="connsiteY26" fmla="*/ 1168400 h 2254250"/>
              <a:gd name="connsiteX27" fmla="*/ 2292534 w 3892734"/>
              <a:gd name="connsiteY27" fmla="*/ 1016000 h 2254250"/>
              <a:gd name="connsiteX28" fmla="*/ 2368734 w 3892734"/>
              <a:gd name="connsiteY28" fmla="*/ 876300 h 2254250"/>
              <a:gd name="connsiteX29" fmla="*/ 2425884 w 3892734"/>
              <a:gd name="connsiteY29" fmla="*/ 787400 h 2254250"/>
              <a:gd name="connsiteX30" fmla="*/ 2476684 w 3892734"/>
              <a:gd name="connsiteY30" fmla="*/ 749300 h 2254250"/>
              <a:gd name="connsiteX31" fmla="*/ 2546534 w 3892734"/>
              <a:gd name="connsiteY31" fmla="*/ 736600 h 2254250"/>
              <a:gd name="connsiteX32" fmla="*/ 2654484 w 3892734"/>
              <a:gd name="connsiteY32" fmla="*/ 781050 h 2254250"/>
              <a:gd name="connsiteX33" fmla="*/ 2756084 w 3892734"/>
              <a:gd name="connsiteY33" fmla="*/ 838200 h 2254250"/>
              <a:gd name="connsiteX34" fmla="*/ 2851334 w 3892734"/>
              <a:gd name="connsiteY34" fmla="*/ 901700 h 2254250"/>
              <a:gd name="connsiteX35" fmla="*/ 2997384 w 3892734"/>
              <a:gd name="connsiteY35" fmla="*/ 920750 h 2254250"/>
              <a:gd name="connsiteX36" fmla="*/ 3175184 w 3892734"/>
              <a:gd name="connsiteY36" fmla="*/ 895350 h 2254250"/>
              <a:gd name="connsiteX37" fmla="*/ 3295834 w 3892734"/>
              <a:gd name="connsiteY37" fmla="*/ 774700 h 2254250"/>
              <a:gd name="connsiteX38" fmla="*/ 3391084 w 3892734"/>
              <a:gd name="connsiteY38" fmla="*/ 628650 h 2254250"/>
              <a:gd name="connsiteX39" fmla="*/ 3486334 w 3892734"/>
              <a:gd name="connsiteY39" fmla="*/ 495300 h 2254250"/>
              <a:gd name="connsiteX40" fmla="*/ 3594284 w 3892734"/>
              <a:gd name="connsiteY40" fmla="*/ 412750 h 2254250"/>
              <a:gd name="connsiteX41" fmla="*/ 3714934 w 3892734"/>
              <a:gd name="connsiteY41" fmla="*/ 406400 h 2254250"/>
              <a:gd name="connsiteX42" fmla="*/ 3892734 w 3892734"/>
              <a:gd name="connsiteY42" fmla="*/ 412750 h 2254250"/>
              <a:gd name="connsiteX43" fmla="*/ 3892734 w 3892734"/>
              <a:gd name="connsiteY43" fmla="*/ 755650 h 2254250"/>
              <a:gd name="connsiteX44" fmla="*/ 3708584 w 3892734"/>
              <a:gd name="connsiteY44" fmla="*/ 958850 h 2254250"/>
              <a:gd name="connsiteX45" fmla="*/ 3568884 w 3892734"/>
              <a:gd name="connsiteY45" fmla="*/ 1098550 h 2254250"/>
              <a:gd name="connsiteX46" fmla="*/ 3499034 w 3892734"/>
              <a:gd name="connsiteY46" fmla="*/ 1155700 h 2254250"/>
              <a:gd name="connsiteX47" fmla="*/ 3340284 w 3892734"/>
              <a:gd name="connsiteY47" fmla="*/ 1155700 h 2254250"/>
              <a:gd name="connsiteX48" fmla="*/ 3219634 w 3892734"/>
              <a:gd name="connsiteY48" fmla="*/ 1181100 h 2254250"/>
              <a:gd name="connsiteX49" fmla="*/ 3111684 w 3892734"/>
              <a:gd name="connsiteY49" fmla="*/ 1295400 h 2254250"/>
              <a:gd name="connsiteX50" fmla="*/ 2952934 w 3892734"/>
              <a:gd name="connsiteY50" fmla="*/ 1587500 h 2254250"/>
              <a:gd name="connsiteX51" fmla="*/ 2813234 w 3892734"/>
              <a:gd name="connsiteY51" fmla="*/ 1847850 h 2254250"/>
              <a:gd name="connsiteX52" fmla="*/ 2629084 w 3892734"/>
              <a:gd name="connsiteY52" fmla="*/ 2127250 h 2254250"/>
              <a:gd name="connsiteX53" fmla="*/ 2463984 w 3892734"/>
              <a:gd name="connsiteY53" fmla="*/ 2228850 h 2254250"/>
              <a:gd name="connsiteX54" fmla="*/ 2356034 w 3892734"/>
              <a:gd name="connsiteY54" fmla="*/ 2254250 h 2254250"/>
              <a:gd name="connsiteX55" fmla="*/ 2057584 w 3892734"/>
              <a:gd name="connsiteY55" fmla="*/ 2178050 h 2254250"/>
              <a:gd name="connsiteX56" fmla="*/ 1822634 w 3892734"/>
              <a:gd name="connsiteY56" fmla="*/ 2070100 h 2254250"/>
              <a:gd name="connsiteX57" fmla="*/ 1651184 w 3892734"/>
              <a:gd name="connsiteY57" fmla="*/ 1917700 h 2254250"/>
              <a:gd name="connsiteX58" fmla="*/ 1574984 w 3892734"/>
              <a:gd name="connsiteY58" fmla="*/ 1797050 h 2254250"/>
              <a:gd name="connsiteX59" fmla="*/ 1492434 w 3892734"/>
              <a:gd name="connsiteY59" fmla="*/ 1720850 h 2254250"/>
              <a:gd name="connsiteX60" fmla="*/ 1422584 w 3892734"/>
              <a:gd name="connsiteY60" fmla="*/ 1720850 h 2254250"/>
              <a:gd name="connsiteX61" fmla="*/ 1352734 w 3892734"/>
              <a:gd name="connsiteY61" fmla="*/ 1778000 h 2254250"/>
              <a:gd name="connsiteX62" fmla="*/ 1301934 w 3892734"/>
              <a:gd name="connsiteY62" fmla="*/ 1873250 h 2254250"/>
              <a:gd name="connsiteX63" fmla="*/ 1213034 w 3892734"/>
              <a:gd name="connsiteY63" fmla="*/ 2019300 h 2254250"/>
              <a:gd name="connsiteX64" fmla="*/ 1149534 w 3892734"/>
              <a:gd name="connsiteY64" fmla="*/ 2159000 h 2254250"/>
              <a:gd name="connsiteX65" fmla="*/ 1073334 w 3892734"/>
              <a:gd name="connsiteY65" fmla="*/ 2209800 h 2254250"/>
              <a:gd name="connsiteX66" fmla="*/ 990784 w 3892734"/>
              <a:gd name="connsiteY66" fmla="*/ 2209800 h 2254250"/>
              <a:gd name="connsiteX67" fmla="*/ 914584 w 3892734"/>
              <a:gd name="connsiteY67" fmla="*/ 2076450 h 2254250"/>
              <a:gd name="connsiteX68" fmla="*/ 1443221 w 3892734"/>
              <a:gd name="connsiteY68" fmla="*/ 1339752 h 2254250"/>
              <a:gd name="connsiteX69" fmla="*/ 1101909 w 3892734"/>
              <a:gd name="connsiteY69" fmla="*/ 1573782 h 2254250"/>
              <a:gd name="connsiteX70" fmla="*/ 895535 w 3892734"/>
              <a:gd name="connsiteY70" fmla="*/ 1609913 h 2254250"/>
              <a:gd name="connsiteX71" fmla="*/ 743134 w 3892734"/>
              <a:gd name="connsiteY71" fmla="*/ 1587266 h 2254250"/>
              <a:gd name="connsiteX72" fmla="*/ 538346 w 3892734"/>
              <a:gd name="connsiteY72" fmla="*/ 1642309 h 2254250"/>
              <a:gd name="connsiteX73" fmla="*/ 358959 w 3892734"/>
              <a:gd name="connsiteY73" fmla="*/ 1593072 h 2254250"/>
              <a:gd name="connsiteX74" fmla="*/ 12884 w 3892734"/>
              <a:gd name="connsiteY74" fmla="*/ 1221921 h 2254250"/>
              <a:gd name="connsiteX75" fmla="*/ 184 w 3892734"/>
              <a:gd name="connsiteY75" fmla="*/ 0 h 2254250"/>
              <a:gd name="connsiteX0" fmla="*/ 184 w 3892734"/>
              <a:gd name="connsiteY0" fmla="*/ 0 h 2254250"/>
              <a:gd name="connsiteX1" fmla="*/ 266884 w 3892734"/>
              <a:gd name="connsiteY1" fmla="*/ 1162050 h 2254250"/>
              <a:gd name="connsiteX2" fmla="*/ 317684 w 3892734"/>
              <a:gd name="connsiteY2" fmla="*/ 1308100 h 2254250"/>
              <a:gd name="connsiteX3" fmla="*/ 362134 w 3892734"/>
              <a:gd name="connsiteY3" fmla="*/ 1371600 h 2254250"/>
              <a:gd name="connsiteX4" fmla="*/ 412934 w 3892734"/>
              <a:gd name="connsiteY4" fmla="*/ 1314450 h 2254250"/>
              <a:gd name="connsiteX5" fmla="*/ 514534 w 3892734"/>
              <a:gd name="connsiteY5" fmla="*/ 996950 h 2254250"/>
              <a:gd name="connsiteX6" fmla="*/ 584384 w 3892734"/>
              <a:gd name="connsiteY6" fmla="*/ 641350 h 2254250"/>
              <a:gd name="connsiteX7" fmla="*/ 641534 w 3892734"/>
              <a:gd name="connsiteY7" fmla="*/ 444500 h 2254250"/>
              <a:gd name="connsiteX8" fmla="*/ 692334 w 3892734"/>
              <a:gd name="connsiteY8" fmla="*/ 330200 h 2254250"/>
              <a:gd name="connsiteX9" fmla="*/ 724084 w 3892734"/>
              <a:gd name="connsiteY9" fmla="*/ 279400 h 2254250"/>
              <a:gd name="connsiteX10" fmla="*/ 806634 w 3892734"/>
              <a:gd name="connsiteY10" fmla="*/ 298450 h 2254250"/>
              <a:gd name="connsiteX11" fmla="*/ 927284 w 3892734"/>
              <a:gd name="connsiteY11" fmla="*/ 495300 h 2254250"/>
              <a:gd name="connsiteX12" fmla="*/ 978084 w 3892734"/>
              <a:gd name="connsiteY12" fmla="*/ 622300 h 2254250"/>
              <a:gd name="connsiteX13" fmla="*/ 1060634 w 3892734"/>
              <a:gd name="connsiteY13" fmla="*/ 666750 h 2254250"/>
              <a:gd name="connsiteX14" fmla="*/ 1136834 w 3892734"/>
              <a:gd name="connsiteY14" fmla="*/ 622300 h 2254250"/>
              <a:gd name="connsiteX15" fmla="*/ 1225734 w 3892734"/>
              <a:gd name="connsiteY15" fmla="*/ 495300 h 2254250"/>
              <a:gd name="connsiteX16" fmla="*/ 1289234 w 3892734"/>
              <a:gd name="connsiteY16" fmla="*/ 355600 h 2254250"/>
              <a:gd name="connsiteX17" fmla="*/ 1352734 w 3892734"/>
              <a:gd name="connsiteY17" fmla="*/ 292100 h 2254250"/>
              <a:gd name="connsiteX18" fmla="*/ 1397184 w 3892734"/>
              <a:gd name="connsiteY18" fmla="*/ 254000 h 2254250"/>
              <a:gd name="connsiteX19" fmla="*/ 1486084 w 3892734"/>
              <a:gd name="connsiteY19" fmla="*/ 285750 h 2254250"/>
              <a:gd name="connsiteX20" fmla="*/ 1581334 w 3892734"/>
              <a:gd name="connsiteY20" fmla="*/ 438150 h 2254250"/>
              <a:gd name="connsiteX21" fmla="*/ 1670234 w 3892734"/>
              <a:gd name="connsiteY21" fmla="*/ 654050 h 2254250"/>
              <a:gd name="connsiteX22" fmla="*/ 1905184 w 3892734"/>
              <a:gd name="connsiteY22" fmla="*/ 1066800 h 2254250"/>
              <a:gd name="connsiteX23" fmla="*/ 2006784 w 3892734"/>
              <a:gd name="connsiteY23" fmla="*/ 1212850 h 2254250"/>
              <a:gd name="connsiteX24" fmla="*/ 2082984 w 3892734"/>
              <a:gd name="connsiteY24" fmla="*/ 1295400 h 2254250"/>
              <a:gd name="connsiteX25" fmla="*/ 2190934 w 3892734"/>
              <a:gd name="connsiteY25" fmla="*/ 1263650 h 2254250"/>
              <a:gd name="connsiteX26" fmla="*/ 2235384 w 3892734"/>
              <a:gd name="connsiteY26" fmla="*/ 1168400 h 2254250"/>
              <a:gd name="connsiteX27" fmla="*/ 2292534 w 3892734"/>
              <a:gd name="connsiteY27" fmla="*/ 1016000 h 2254250"/>
              <a:gd name="connsiteX28" fmla="*/ 2368734 w 3892734"/>
              <a:gd name="connsiteY28" fmla="*/ 876300 h 2254250"/>
              <a:gd name="connsiteX29" fmla="*/ 2425884 w 3892734"/>
              <a:gd name="connsiteY29" fmla="*/ 787400 h 2254250"/>
              <a:gd name="connsiteX30" fmla="*/ 2476684 w 3892734"/>
              <a:gd name="connsiteY30" fmla="*/ 749300 h 2254250"/>
              <a:gd name="connsiteX31" fmla="*/ 2546534 w 3892734"/>
              <a:gd name="connsiteY31" fmla="*/ 736600 h 2254250"/>
              <a:gd name="connsiteX32" fmla="*/ 2654484 w 3892734"/>
              <a:gd name="connsiteY32" fmla="*/ 781050 h 2254250"/>
              <a:gd name="connsiteX33" fmla="*/ 2756084 w 3892734"/>
              <a:gd name="connsiteY33" fmla="*/ 838200 h 2254250"/>
              <a:gd name="connsiteX34" fmla="*/ 2851334 w 3892734"/>
              <a:gd name="connsiteY34" fmla="*/ 901700 h 2254250"/>
              <a:gd name="connsiteX35" fmla="*/ 2997384 w 3892734"/>
              <a:gd name="connsiteY35" fmla="*/ 920750 h 2254250"/>
              <a:gd name="connsiteX36" fmla="*/ 3175184 w 3892734"/>
              <a:gd name="connsiteY36" fmla="*/ 895350 h 2254250"/>
              <a:gd name="connsiteX37" fmla="*/ 3295834 w 3892734"/>
              <a:gd name="connsiteY37" fmla="*/ 774700 h 2254250"/>
              <a:gd name="connsiteX38" fmla="*/ 3391084 w 3892734"/>
              <a:gd name="connsiteY38" fmla="*/ 628650 h 2254250"/>
              <a:gd name="connsiteX39" fmla="*/ 3486334 w 3892734"/>
              <a:gd name="connsiteY39" fmla="*/ 495300 h 2254250"/>
              <a:gd name="connsiteX40" fmla="*/ 3594284 w 3892734"/>
              <a:gd name="connsiteY40" fmla="*/ 412750 h 2254250"/>
              <a:gd name="connsiteX41" fmla="*/ 3714934 w 3892734"/>
              <a:gd name="connsiteY41" fmla="*/ 406400 h 2254250"/>
              <a:gd name="connsiteX42" fmla="*/ 3892734 w 3892734"/>
              <a:gd name="connsiteY42" fmla="*/ 412750 h 2254250"/>
              <a:gd name="connsiteX43" fmla="*/ 3892734 w 3892734"/>
              <a:gd name="connsiteY43" fmla="*/ 755650 h 2254250"/>
              <a:gd name="connsiteX44" fmla="*/ 3708584 w 3892734"/>
              <a:gd name="connsiteY44" fmla="*/ 958850 h 2254250"/>
              <a:gd name="connsiteX45" fmla="*/ 3568884 w 3892734"/>
              <a:gd name="connsiteY45" fmla="*/ 1098550 h 2254250"/>
              <a:gd name="connsiteX46" fmla="*/ 3499034 w 3892734"/>
              <a:gd name="connsiteY46" fmla="*/ 1155700 h 2254250"/>
              <a:gd name="connsiteX47" fmla="*/ 3340284 w 3892734"/>
              <a:gd name="connsiteY47" fmla="*/ 1155700 h 2254250"/>
              <a:gd name="connsiteX48" fmla="*/ 3219634 w 3892734"/>
              <a:gd name="connsiteY48" fmla="*/ 1181100 h 2254250"/>
              <a:gd name="connsiteX49" fmla="*/ 3111684 w 3892734"/>
              <a:gd name="connsiteY49" fmla="*/ 1295400 h 2254250"/>
              <a:gd name="connsiteX50" fmla="*/ 2952934 w 3892734"/>
              <a:gd name="connsiteY50" fmla="*/ 1587500 h 2254250"/>
              <a:gd name="connsiteX51" fmla="*/ 2813234 w 3892734"/>
              <a:gd name="connsiteY51" fmla="*/ 1847850 h 2254250"/>
              <a:gd name="connsiteX52" fmla="*/ 2629084 w 3892734"/>
              <a:gd name="connsiteY52" fmla="*/ 2127250 h 2254250"/>
              <a:gd name="connsiteX53" fmla="*/ 2463984 w 3892734"/>
              <a:gd name="connsiteY53" fmla="*/ 2228850 h 2254250"/>
              <a:gd name="connsiteX54" fmla="*/ 2356034 w 3892734"/>
              <a:gd name="connsiteY54" fmla="*/ 2254250 h 2254250"/>
              <a:gd name="connsiteX55" fmla="*/ 2057584 w 3892734"/>
              <a:gd name="connsiteY55" fmla="*/ 2178050 h 2254250"/>
              <a:gd name="connsiteX56" fmla="*/ 1822634 w 3892734"/>
              <a:gd name="connsiteY56" fmla="*/ 2070100 h 2254250"/>
              <a:gd name="connsiteX57" fmla="*/ 1651184 w 3892734"/>
              <a:gd name="connsiteY57" fmla="*/ 1917700 h 2254250"/>
              <a:gd name="connsiteX58" fmla="*/ 1574984 w 3892734"/>
              <a:gd name="connsiteY58" fmla="*/ 1797050 h 2254250"/>
              <a:gd name="connsiteX59" fmla="*/ 1492434 w 3892734"/>
              <a:gd name="connsiteY59" fmla="*/ 1720850 h 2254250"/>
              <a:gd name="connsiteX60" fmla="*/ 1422584 w 3892734"/>
              <a:gd name="connsiteY60" fmla="*/ 1720850 h 2254250"/>
              <a:gd name="connsiteX61" fmla="*/ 1352734 w 3892734"/>
              <a:gd name="connsiteY61" fmla="*/ 1778000 h 2254250"/>
              <a:gd name="connsiteX62" fmla="*/ 1301934 w 3892734"/>
              <a:gd name="connsiteY62" fmla="*/ 1873250 h 2254250"/>
              <a:gd name="connsiteX63" fmla="*/ 1213034 w 3892734"/>
              <a:gd name="connsiteY63" fmla="*/ 2019300 h 2254250"/>
              <a:gd name="connsiteX64" fmla="*/ 1149534 w 3892734"/>
              <a:gd name="connsiteY64" fmla="*/ 2159000 h 2254250"/>
              <a:gd name="connsiteX65" fmla="*/ 1073334 w 3892734"/>
              <a:gd name="connsiteY65" fmla="*/ 2209800 h 2254250"/>
              <a:gd name="connsiteX66" fmla="*/ 990784 w 3892734"/>
              <a:gd name="connsiteY66" fmla="*/ 2209800 h 2254250"/>
              <a:gd name="connsiteX67" fmla="*/ 914584 w 3892734"/>
              <a:gd name="connsiteY67" fmla="*/ 2076450 h 2254250"/>
              <a:gd name="connsiteX68" fmla="*/ 1447984 w 3892734"/>
              <a:gd name="connsiteY68" fmla="*/ 1208780 h 2254250"/>
              <a:gd name="connsiteX69" fmla="*/ 1101909 w 3892734"/>
              <a:gd name="connsiteY69" fmla="*/ 1573782 h 2254250"/>
              <a:gd name="connsiteX70" fmla="*/ 895535 w 3892734"/>
              <a:gd name="connsiteY70" fmla="*/ 1609913 h 2254250"/>
              <a:gd name="connsiteX71" fmla="*/ 743134 w 3892734"/>
              <a:gd name="connsiteY71" fmla="*/ 1587266 h 2254250"/>
              <a:gd name="connsiteX72" fmla="*/ 538346 w 3892734"/>
              <a:gd name="connsiteY72" fmla="*/ 1642309 h 2254250"/>
              <a:gd name="connsiteX73" fmla="*/ 358959 w 3892734"/>
              <a:gd name="connsiteY73" fmla="*/ 1593072 h 2254250"/>
              <a:gd name="connsiteX74" fmla="*/ 12884 w 3892734"/>
              <a:gd name="connsiteY74" fmla="*/ 1221921 h 2254250"/>
              <a:gd name="connsiteX75" fmla="*/ 184 w 3892734"/>
              <a:gd name="connsiteY75" fmla="*/ 0 h 2254250"/>
              <a:gd name="connsiteX0" fmla="*/ 184 w 3892734"/>
              <a:gd name="connsiteY0" fmla="*/ 0 h 2254250"/>
              <a:gd name="connsiteX1" fmla="*/ 266884 w 3892734"/>
              <a:gd name="connsiteY1" fmla="*/ 1162050 h 2254250"/>
              <a:gd name="connsiteX2" fmla="*/ 317684 w 3892734"/>
              <a:gd name="connsiteY2" fmla="*/ 1308100 h 2254250"/>
              <a:gd name="connsiteX3" fmla="*/ 362134 w 3892734"/>
              <a:gd name="connsiteY3" fmla="*/ 1371600 h 2254250"/>
              <a:gd name="connsiteX4" fmla="*/ 412934 w 3892734"/>
              <a:gd name="connsiteY4" fmla="*/ 1314450 h 2254250"/>
              <a:gd name="connsiteX5" fmla="*/ 514534 w 3892734"/>
              <a:gd name="connsiteY5" fmla="*/ 996950 h 2254250"/>
              <a:gd name="connsiteX6" fmla="*/ 584384 w 3892734"/>
              <a:gd name="connsiteY6" fmla="*/ 641350 h 2254250"/>
              <a:gd name="connsiteX7" fmla="*/ 641534 w 3892734"/>
              <a:gd name="connsiteY7" fmla="*/ 444500 h 2254250"/>
              <a:gd name="connsiteX8" fmla="*/ 692334 w 3892734"/>
              <a:gd name="connsiteY8" fmla="*/ 330200 h 2254250"/>
              <a:gd name="connsiteX9" fmla="*/ 724084 w 3892734"/>
              <a:gd name="connsiteY9" fmla="*/ 279400 h 2254250"/>
              <a:gd name="connsiteX10" fmla="*/ 806634 w 3892734"/>
              <a:gd name="connsiteY10" fmla="*/ 298450 h 2254250"/>
              <a:gd name="connsiteX11" fmla="*/ 927284 w 3892734"/>
              <a:gd name="connsiteY11" fmla="*/ 495300 h 2254250"/>
              <a:gd name="connsiteX12" fmla="*/ 978084 w 3892734"/>
              <a:gd name="connsiteY12" fmla="*/ 622300 h 2254250"/>
              <a:gd name="connsiteX13" fmla="*/ 1060634 w 3892734"/>
              <a:gd name="connsiteY13" fmla="*/ 666750 h 2254250"/>
              <a:gd name="connsiteX14" fmla="*/ 1136834 w 3892734"/>
              <a:gd name="connsiteY14" fmla="*/ 622300 h 2254250"/>
              <a:gd name="connsiteX15" fmla="*/ 1225734 w 3892734"/>
              <a:gd name="connsiteY15" fmla="*/ 495300 h 2254250"/>
              <a:gd name="connsiteX16" fmla="*/ 1289234 w 3892734"/>
              <a:gd name="connsiteY16" fmla="*/ 355600 h 2254250"/>
              <a:gd name="connsiteX17" fmla="*/ 1352734 w 3892734"/>
              <a:gd name="connsiteY17" fmla="*/ 292100 h 2254250"/>
              <a:gd name="connsiteX18" fmla="*/ 1397184 w 3892734"/>
              <a:gd name="connsiteY18" fmla="*/ 254000 h 2254250"/>
              <a:gd name="connsiteX19" fmla="*/ 1486084 w 3892734"/>
              <a:gd name="connsiteY19" fmla="*/ 285750 h 2254250"/>
              <a:gd name="connsiteX20" fmla="*/ 1581334 w 3892734"/>
              <a:gd name="connsiteY20" fmla="*/ 438150 h 2254250"/>
              <a:gd name="connsiteX21" fmla="*/ 1670234 w 3892734"/>
              <a:gd name="connsiteY21" fmla="*/ 654050 h 2254250"/>
              <a:gd name="connsiteX22" fmla="*/ 1905184 w 3892734"/>
              <a:gd name="connsiteY22" fmla="*/ 1066800 h 2254250"/>
              <a:gd name="connsiteX23" fmla="*/ 2006784 w 3892734"/>
              <a:gd name="connsiteY23" fmla="*/ 1212850 h 2254250"/>
              <a:gd name="connsiteX24" fmla="*/ 2082984 w 3892734"/>
              <a:gd name="connsiteY24" fmla="*/ 1295400 h 2254250"/>
              <a:gd name="connsiteX25" fmla="*/ 2190934 w 3892734"/>
              <a:gd name="connsiteY25" fmla="*/ 1263650 h 2254250"/>
              <a:gd name="connsiteX26" fmla="*/ 2235384 w 3892734"/>
              <a:gd name="connsiteY26" fmla="*/ 1168400 h 2254250"/>
              <a:gd name="connsiteX27" fmla="*/ 2292534 w 3892734"/>
              <a:gd name="connsiteY27" fmla="*/ 1016000 h 2254250"/>
              <a:gd name="connsiteX28" fmla="*/ 2368734 w 3892734"/>
              <a:gd name="connsiteY28" fmla="*/ 876300 h 2254250"/>
              <a:gd name="connsiteX29" fmla="*/ 2425884 w 3892734"/>
              <a:gd name="connsiteY29" fmla="*/ 787400 h 2254250"/>
              <a:gd name="connsiteX30" fmla="*/ 2476684 w 3892734"/>
              <a:gd name="connsiteY30" fmla="*/ 749300 h 2254250"/>
              <a:gd name="connsiteX31" fmla="*/ 2546534 w 3892734"/>
              <a:gd name="connsiteY31" fmla="*/ 736600 h 2254250"/>
              <a:gd name="connsiteX32" fmla="*/ 2654484 w 3892734"/>
              <a:gd name="connsiteY32" fmla="*/ 781050 h 2254250"/>
              <a:gd name="connsiteX33" fmla="*/ 2756084 w 3892734"/>
              <a:gd name="connsiteY33" fmla="*/ 838200 h 2254250"/>
              <a:gd name="connsiteX34" fmla="*/ 2851334 w 3892734"/>
              <a:gd name="connsiteY34" fmla="*/ 901700 h 2254250"/>
              <a:gd name="connsiteX35" fmla="*/ 2997384 w 3892734"/>
              <a:gd name="connsiteY35" fmla="*/ 920750 h 2254250"/>
              <a:gd name="connsiteX36" fmla="*/ 3175184 w 3892734"/>
              <a:gd name="connsiteY36" fmla="*/ 895350 h 2254250"/>
              <a:gd name="connsiteX37" fmla="*/ 3295834 w 3892734"/>
              <a:gd name="connsiteY37" fmla="*/ 774700 h 2254250"/>
              <a:gd name="connsiteX38" fmla="*/ 3391084 w 3892734"/>
              <a:gd name="connsiteY38" fmla="*/ 628650 h 2254250"/>
              <a:gd name="connsiteX39" fmla="*/ 3486334 w 3892734"/>
              <a:gd name="connsiteY39" fmla="*/ 495300 h 2254250"/>
              <a:gd name="connsiteX40" fmla="*/ 3594284 w 3892734"/>
              <a:gd name="connsiteY40" fmla="*/ 412750 h 2254250"/>
              <a:gd name="connsiteX41" fmla="*/ 3714934 w 3892734"/>
              <a:gd name="connsiteY41" fmla="*/ 406400 h 2254250"/>
              <a:gd name="connsiteX42" fmla="*/ 3892734 w 3892734"/>
              <a:gd name="connsiteY42" fmla="*/ 412750 h 2254250"/>
              <a:gd name="connsiteX43" fmla="*/ 3892734 w 3892734"/>
              <a:gd name="connsiteY43" fmla="*/ 755650 h 2254250"/>
              <a:gd name="connsiteX44" fmla="*/ 3708584 w 3892734"/>
              <a:gd name="connsiteY44" fmla="*/ 958850 h 2254250"/>
              <a:gd name="connsiteX45" fmla="*/ 3568884 w 3892734"/>
              <a:gd name="connsiteY45" fmla="*/ 1098550 h 2254250"/>
              <a:gd name="connsiteX46" fmla="*/ 3499034 w 3892734"/>
              <a:gd name="connsiteY46" fmla="*/ 1155700 h 2254250"/>
              <a:gd name="connsiteX47" fmla="*/ 3340284 w 3892734"/>
              <a:gd name="connsiteY47" fmla="*/ 1155700 h 2254250"/>
              <a:gd name="connsiteX48" fmla="*/ 3219634 w 3892734"/>
              <a:gd name="connsiteY48" fmla="*/ 1181100 h 2254250"/>
              <a:gd name="connsiteX49" fmla="*/ 3111684 w 3892734"/>
              <a:gd name="connsiteY49" fmla="*/ 1295400 h 2254250"/>
              <a:gd name="connsiteX50" fmla="*/ 2952934 w 3892734"/>
              <a:gd name="connsiteY50" fmla="*/ 1587500 h 2254250"/>
              <a:gd name="connsiteX51" fmla="*/ 2813234 w 3892734"/>
              <a:gd name="connsiteY51" fmla="*/ 1847850 h 2254250"/>
              <a:gd name="connsiteX52" fmla="*/ 2629084 w 3892734"/>
              <a:gd name="connsiteY52" fmla="*/ 2127250 h 2254250"/>
              <a:gd name="connsiteX53" fmla="*/ 2463984 w 3892734"/>
              <a:gd name="connsiteY53" fmla="*/ 2228850 h 2254250"/>
              <a:gd name="connsiteX54" fmla="*/ 2356034 w 3892734"/>
              <a:gd name="connsiteY54" fmla="*/ 2254250 h 2254250"/>
              <a:gd name="connsiteX55" fmla="*/ 2057584 w 3892734"/>
              <a:gd name="connsiteY55" fmla="*/ 2178050 h 2254250"/>
              <a:gd name="connsiteX56" fmla="*/ 1822634 w 3892734"/>
              <a:gd name="connsiteY56" fmla="*/ 2070100 h 2254250"/>
              <a:gd name="connsiteX57" fmla="*/ 1651184 w 3892734"/>
              <a:gd name="connsiteY57" fmla="*/ 1917700 h 2254250"/>
              <a:gd name="connsiteX58" fmla="*/ 1574984 w 3892734"/>
              <a:gd name="connsiteY58" fmla="*/ 1797050 h 2254250"/>
              <a:gd name="connsiteX59" fmla="*/ 1492434 w 3892734"/>
              <a:gd name="connsiteY59" fmla="*/ 1720850 h 2254250"/>
              <a:gd name="connsiteX60" fmla="*/ 1422584 w 3892734"/>
              <a:gd name="connsiteY60" fmla="*/ 1720850 h 2254250"/>
              <a:gd name="connsiteX61" fmla="*/ 1352734 w 3892734"/>
              <a:gd name="connsiteY61" fmla="*/ 1778000 h 2254250"/>
              <a:gd name="connsiteX62" fmla="*/ 1301934 w 3892734"/>
              <a:gd name="connsiteY62" fmla="*/ 1873250 h 2254250"/>
              <a:gd name="connsiteX63" fmla="*/ 1213034 w 3892734"/>
              <a:gd name="connsiteY63" fmla="*/ 2019300 h 2254250"/>
              <a:gd name="connsiteX64" fmla="*/ 1149534 w 3892734"/>
              <a:gd name="connsiteY64" fmla="*/ 2159000 h 2254250"/>
              <a:gd name="connsiteX65" fmla="*/ 1073334 w 3892734"/>
              <a:gd name="connsiteY65" fmla="*/ 2209800 h 2254250"/>
              <a:gd name="connsiteX66" fmla="*/ 990784 w 3892734"/>
              <a:gd name="connsiteY66" fmla="*/ 2209800 h 2254250"/>
              <a:gd name="connsiteX67" fmla="*/ 914584 w 3892734"/>
              <a:gd name="connsiteY67" fmla="*/ 2076450 h 2254250"/>
              <a:gd name="connsiteX68" fmla="*/ 1462272 w 3892734"/>
              <a:gd name="connsiteY68" fmla="*/ 1281040 h 2254250"/>
              <a:gd name="connsiteX69" fmla="*/ 1101909 w 3892734"/>
              <a:gd name="connsiteY69" fmla="*/ 1573782 h 2254250"/>
              <a:gd name="connsiteX70" fmla="*/ 895535 w 3892734"/>
              <a:gd name="connsiteY70" fmla="*/ 1609913 h 2254250"/>
              <a:gd name="connsiteX71" fmla="*/ 743134 w 3892734"/>
              <a:gd name="connsiteY71" fmla="*/ 1587266 h 2254250"/>
              <a:gd name="connsiteX72" fmla="*/ 538346 w 3892734"/>
              <a:gd name="connsiteY72" fmla="*/ 1642309 h 2254250"/>
              <a:gd name="connsiteX73" fmla="*/ 358959 w 3892734"/>
              <a:gd name="connsiteY73" fmla="*/ 1593072 h 2254250"/>
              <a:gd name="connsiteX74" fmla="*/ 12884 w 3892734"/>
              <a:gd name="connsiteY74" fmla="*/ 1221921 h 2254250"/>
              <a:gd name="connsiteX75" fmla="*/ 184 w 3892734"/>
              <a:gd name="connsiteY75" fmla="*/ 0 h 2254250"/>
              <a:gd name="connsiteX0" fmla="*/ 184 w 3892734"/>
              <a:gd name="connsiteY0" fmla="*/ 0 h 2254250"/>
              <a:gd name="connsiteX1" fmla="*/ 266884 w 3892734"/>
              <a:gd name="connsiteY1" fmla="*/ 1162050 h 2254250"/>
              <a:gd name="connsiteX2" fmla="*/ 317684 w 3892734"/>
              <a:gd name="connsiteY2" fmla="*/ 1308100 h 2254250"/>
              <a:gd name="connsiteX3" fmla="*/ 362134 w 3892734"/>
              <a:gd name="connsiteY3" fmla="*/ 1371600 h 2254250"/>
              <a:gd name="connsiteX4" fmla="*/ 412934 w 3892734"/>
              <a:gd name="connsiteY4" fmla="*/ 1314450 h 2254250"/>
              <a:gd name="connsiteX5" fmla="*/ 514534 w 3892734"/>
              <a:gd name="connsiteY5" fmla="*/ 996950 h 2254250"/>
              <a:gd name="connsiteX6" fmla="*/ 584384 w 3892734"/>
              <a:gd name="connsiteY6" fmla="*/ 641350 h 2254250"/>
              <a:gd name="connsiteX7" fmla="*/ 641534 w 3892734"/>
              <a:gd name="connsiteY7" fmla="*/ 444500 h 2254250"/>
              <a:gd name="connsiteX8" fmla="*/ 692334 w 3892734"/>
              <a:gd name="connsiteY8" fmla="*/ 330200 h 2254250"/>
              <a:gd name="connsiteX9" fmla="*/ 724084 w 3892734"/>
              <a:gd name="connsiteY9" fmla="*/ 279400 h 2254250"/>
              <a:gd name="connsiteX10" fmla="*/ 806634 w 3892734"/>
              <a:gd name="connsiteY10" fmla="*/ 298450 h 2254250"/>
              <a:gd name="connsiteX11" fmla="*/ 927284 w 3892734"/>
              <a:gd name="connsiteY11" fmla="*/ 495300 h 2254250"/>
              <a:gd name="connsiteX12" fmla="*/ 978084 w 3892734"/>
              <a:gd name="connsiteY12" fmla="*/ 622300 h 2254250"/>
              <a:gd name="connsiteX13" fmla="*/ 1060634 w 3892734"/>
              <a:gd name="connsiteY13" fmla="*/ 666750 h 2254250"/>
              <a:gd name="connsiteX14" fmla="*/ 1136834 w 3892734"/>
              <a:gd name="connsiteY14" fmla="*/ 622300 h 2254250"/>
              <a:gd name="connsiteX15" fmla="*/ 1225734 w 3892734"/>
              <a:gd name="connsiteY15" fmla="*/ 495300 h 2254250"/>
              <a:gd name="connsiteX16" fmla="*/ 1289234 w 3892734"/>
              <a:gd name="connsiteY16" fmla="*/ 355600 h 2254250"/>
              <a:gd name="connsiteX17" fmla="*/ 1352734 w 3892734"/>
              <a:gd name="connsiteY17" fmla="*/ 292100 h 2254250"/>
              <a:gd name="connsiteX18" fmla="*/ 1397184 w 3892734"/>
              <a:gd name="connsiteY18" fmla="*/ 254000 h 2254250"/>
              <a:gd name="connsiteX19" fmla="*/ 1486084 w 3892734"/>
              <a:gd name="connsiteY19" fmla="*/ 285750 h 2254250"/>
              <a:gd name="connsiteX20" fmla="*/ 1581334 w 3892734"/>
              <a:gd name="connsiteY20" fmla="*/ 438150 h 2254250"/>
              <a:gd name="connsiteX21" fmla="*/ 1670234 w 3892734"/>
              <a:gd name="connsiteY21" fmla="*/ 654050 h 2254250"/>
              <a:gd name="connsiteX22" fmla="*/ 1905184 w 3892734"/>
              <a:gd name="connsiteY22" fmla="*/ 1066800 h 2254250"/>
              <a:gd name="connsiteX23" fmla="*/ 2006784 w 3892734"/>
              <a:gd name="connsiteY23" fmla="*/ 1212850 h 2254250"/>
              <a:gd name="connsiteX24" fmla="*/ 2082984 w 3892734"/>
              <a:gd name="connsiteY24" fmla="*/ 1295400 h 2254250"/>
              <a:gd name="connsiteX25" fmla="*/ 2190934 w 3892734"/>
              <a:gd name="connsiteY25" fmla="*/ 1263650 h 2254250"/>
              <a:gd name="connsiteX26" fmla="*/ 2235384 w 3892734"/>
              <a:gd name="connsiteY26" fmla="*/ 1168400 h 2254250"/>
              <a:gd name="connsiteX27" fmla="*/ 2292534 w 3892734"/>
              <a:gd name="connsiteY27" fmla="*/ 1016000 h 2254250"/>
              <a:gd name="connsiteX28" fmla="*/ 2368734 w 3892734"/>
              <a:gd name="connsiteY28" fmla="*/ 876300 h 2254250"/>
              <a:gd name="connsiteX29" fmla="*/ 2425884 w 3892734"/>
              <a:gd name="connsiteY29" fmla="*/ 787400 h 2254250"/>
              <a:gd name="connsiteX30" fmla="*/ 2476684 w 3892734"/>
              <a:gd name="connsiteY30" fmla="*/ 749300 h 2254250"/>
              <a:gd name="connsiteX31" fmla="*/ 2546534 w 3892734"/>
              <a:gd name="connsiteY31" fmla="*/ 736600 h 2254250"/>
              <a:gd name="connsiteX32" fmla="*/ 2654484 w 3892734"/>
              <a:gd name="connsiteY32" fmla="*/ 781050 h 2254250"/>
              <a:gd name="connsiteX33" fmla="*/ 2756084 w 3892734"/>
              <a:gd name="connsiteY33" fmla="*/ 838200 h 2254250"/>
              <a:gd name="connsiteX34" fmla="*/ 2851334 w 3892734"/>
              <a:gd name="connsiteY34" fmla="*/ 901700 h 2254250"/>
              <a:gd name="connsiteX35" fmla="*/ 2997384 w 3892734"/>
              <a:gd name="connsiteY35" fmla="*/ 920750 h 2254250"/>
              <a:gd name="connsiteX36" fmla="*/ 3175184 w 3892734"/>
              <a:gd name="connsiteY36" fmla="*/ 895350 h 2254250"/>
              <a:gd name="connsiteX37" fmla="*/ 3295834 w 3892734"/>
              <a:gd name="connsiteY37" fmla="*/ 774700 h 2254250"/>
              <a:gd name="connsiteX38" fmla="*/ 3391084 w 3892734"/>
              <a:gd name="connsiteY38" fmla="*/ 628650 h 2254250"/>
              <a:gd name="connsiteX39" fmla="*/ 3486334 w 3892734"/>
              <a:gd name="connsiteY39" fmla="*/ 495300 h 2254250"/>
              <a:gd name="connsiteX40" fmla="*/ 3594284 w 3892734"/>
              <a:gd name="connsiteY40" fmla="*/ 412750 h 2254250"/>
              <a:gd name="connsiteX41" fmla="*/ 3714934 w 3892734"/>
              <a:gd name="connsiteY41" fmla="*/ 406400 h 2254250"/>
              <a:gd name="connsiteX42" fmla="*/ 3892734 w 3892734"/>
              <a:gd name="connsiteY42" fmla="*/ 412750 h 2254250"/>
              <a:gd name="connsiteX43" fmla="*/ 3892734 w 3892734"/>
              <a:gd name="connsiteY43" fmla="*/ 755650 h 2254250"/>
              <a:gd name="connsiteX44" fmla="*/ 3708584 w 3892734"/>
              <a:gd name="connsiteY44" fmla="*/ 958850 h 2254250"/>
              <a:gd name="connsiteX45" fmla="*/ 3568884 w 3892734"/>
              <a:gd name="connsiteY45" fmla="*/ 1098550 h 2254250"/>
              <a:gd name="connsiteX46" fmla="*/ 3499034 w 3892734"/>
              <a:gd name="connsiteY46" fmla="*/ 1155700 h 2254250"/>
              <a:gd name="connsiteX47" fmla="*/ 3340284 w 3892734"/>
              <a:gd name="connsiteY47" fmla="*/ 1155700 h 2254250"/>
              <a:gd name="connsiteX48" fmla="*/ 3219634 w 3892734"/>
              <a:gd name="connsiteY48" fmla="*/ 1181100 h 2254250"/>
              <a:gd name="connsiteX49" fmla="*/ 3111684 w 3892734"/>
              <a:gd name="connsiteY49" fmla="*/ 1295400 h 2254250"/>
              <a:gd name="connsiteX50" fmla="*/ 2952934 w 3892734"/>
              <a:gd name="connsiteY50" fmla="*/ 1587500 h 2254250"/>
              <a:gd name="connsiteX51" fmla="*/ 2813234 w 3892734"/>
              <a:gd name="connsiteY51" fmla="*/ 1847850 h 2254250"/>
              <a:gd name="connsiteX52" fmla="*/ 2629084 w 3892734"/>
              <a:gd name="connsiteY52" fmla="*/ 2127250 h 2254250"/>
              <a:gd name="connsiteX53" fmla="*/ 2463984 w 3892734"/>
              <a:gd name="connsiteY53" fmla="*/ 2228850 h 2254250"/>
              <a:gd name="connsiteX54" fmla="*/ 2356034 w 3892734"/>
              <a:gd name="connsiteY54" fmla="*/ 2254250 h 2254250"/>
              <a:gd name="connsiteX55" fmla="*/ 2057584 w 3892734"/>
              <a:gd name="connsiteY55" fmla="*/ 2178050 h 2254250"/>
              <a:gd name="connsiteX56" fmla="*/ 1822634 w 3892734"/>
              <a:gd name="connsiteY56" fmla="*/ 2070100 h 2254250"/>
              <a:gd name="connsiteX57" fmla="*/ 1651184 w 3892734"/>
              <a:gd name="connsiteY57" fmla="*/ 1917700 h 2254250"/>
              <a:gd name="connsiteX58" fmla="*/ 1574984 w 3892734"/>
              <a:gd name="connsiteY58" fmla="*/ 1797050 h 2254250"/>
              <a:gd name="connsiteX59" fmla="*/ 1492434 w 3892734"/>
              <a:gd name="connsiteY59" fmla="*/ 1720850 h 2254250"/>
              <a:gd name="connsiteX60" fmla="*/ 1422584 w 3892734"/>
              <a:gd name="connsiteY60" fmla="*/ 1720850 h 2254250"/>
              <a:gd name="connsiteX61" fmla="*/ 1352734 w 3892734"/>
              <a:gd name="connsiteY61" fmla="*/ 1778000 h 2254250"/>
              <a:gd name="connsiteX62" fmla="*/ 1301934 w 3892734"/>
              <a:gd name="connsiteY62" fmla="*/ 1873250 h 2254250"/>
              <a:gd name="connsiteX63" fmla="*/ 1213034 w 3892734"/>
              <a:gd name="connsiteY63" fmla="*/ 2019300 h 2254250"/>
              <a:gd name="connsiteX64" fmla="*/ 1149534 w 3892734"/>
              <a:gd name="connsiteY64" fmla="*/ 2159000 h 2254250"/>
              <a:gd name="connsiteX65" fmla="*/ 1073334 w 3892734"/>
              <a:gd name="connsiteY65" fmla="*/ 2209800 h 2254250"/>
              <a:gd name="connsiteX66" fmla="*/ 914584 w 3892734"/>
              <a:gd name="connsiteY66" fmla="*/ 2076450 h 2254250"/>
              <a:gd name="connsiteX67" fmla="*/ 1462272 w 3892734"/>
              <a:gd name="connsiteY67" fmla="*/ 1281040 h 2254250"/>
              <a:gd name="connsiteX68" fmla="*/ 1101909 w 3892734"/>
              <a:gd name="connsiteY68" fmla="*/ 1573782 h 2254250"/>
              <a:gd name="connsiteX69" fmla="*/ 895535 w 3892734"/>
              <a:gd name="connsiteY69" fmla="*/ 1609913 h 2254250"/>
              <a:gd name="connsiteX70" fmla="*/ 743134 w 3892734"/>
              <a:gd name="connsiteY70" fmla="*/ 1587266 h 2254250"/>
              <a:gd name="connsiteX71" fmla="*/ 538346 w 3892734"/>
              <a:gd name="connsiteY71" fmla="*/ 1642309 h 2254250"/>
              <a:gd name="connsiteX72" fmla="*/ 358959 w 3892734"/>
              <a:gd name="connsiteY72" fmla="*/ 1593072 h 2254250"/>
              <a:gd name="connsiteX73" fmla="*/ 12884 w 3892734"/>
              <a:gd name="connsiteY73" fmla="*/ 1221921 h 2254250"/>
              <a:gd name="connsiteX74" fmla="*/ 184 w 3892734"/>
              <a:gd name="connsiteY74" fmla="*/ 0 h 2254250"/>
              <a:gd name="connsiteX0" fmla="*/ 184 w 3892734"/>
              <a:gd name="connsiteY0" fmla="*/ 0 h 2254250"/>
              <a:gd name="connsiteX1" fmla="*/ 266884 w 3892734"/>
              <a:gd name="connsiteY1" fmla="*/ 1162050 h 2254250"/>
              <a:gd name="connsiteX2" fmla="*/ 317684 w 3892734"/>
              <a:gd name="connsiteY2" fmla="*/ 1308100 h 2254250"/>
              <a:gd name="connsiteX3" fmla="*/ 362134 w 3892734"/>
              <a:gd name="connsiteY3" fmla="*/ 1371600 h 2254250"/>
              <a:gd name="connsiteX4" fmla="*/ 412934 w 3892734"/>
              <a:gd name="connsiteY4" fmla="*/ 1314450 h 2254250"/>
              <a:gd name="connsiteX5" fmla="*/ 514534 w 3892734"/>
              <a:gd name="connsiteY5" fmla="*/ 996950 h 2254250"/>
              <a:gd name="connsiteX6" fmla="*/ 584384 w 3892734"/>
              <a:gd name="connsiteY6" fmla="*/ 641350 h 2254250"/>
              <a:gd name="connsiteX7" fmla="*/ 641534 w 3892734"/>
              <a:gd name="connsiteY7" fmla="*/ 444500 h 2254250"/>
              <a:gd name="connsiteX8" fmla="*/ 692334 w 3892734"/>
              <a:gd name="connsiteY8" fmla="*/ 330200 h 2254250"/>
              <a:gd name="connsiteX9" fmla="*/ 724084 w 3892734"/>
              <a:gd name="connsiteY9" fmla="*/ 279400 h 2254250"/>
              <a:gd name="connsiteX10" fmla="*/ 806634 w 3892734"/>
              <a:gd name="connsiteY10" fmla="*/ 298450 h 2254250"/>
              <a:gd name="connsiteX11" fmla="*/ 927284 w 3892734"/>
              <a:gd name="connsiteY11" fmla="*/ 495300 h 2254250"/>
              <a:gd name="connsiteX12" fmla="*/ 978084 w 3892734"/>
              <a:gd name="connsiteY12" fmla="*/ 622300 h 2254250"/>
              <a:gd name="connsiteX13" fmla="*/ 1060634 w 3892734"/>
              <a:gd name="connsiteY13" fmla="*/ 666750 h 2254250"/>
              <a:gd name="connsiteX14" fmla="*/ 1136834 w 3892734"/>
              <a:gd name="connsiteY14" fmla="*/ 622300 h 2254250"/>
              <a:gd name="connsiteX15" fmla="*/ 1225734 w 3892734"/>
              <a:gd name="connsiteY15" fmla="*/ 495300 h 2254250"/>
              <a:gd name="connsiteX16" fmla="*/ 1289234 w 3892734"/>
              <a:gd name="connsiteY16" fmla="*/ 355600 h 2254250"/>
              <a:gd name="connsiteX17" fmla="*/ 1352734 w 3892734"/>
              <a:gd name="connsiteY17" fmla="*/ 292100 h 2254250"/>
              <a:gd name="connsiteX18" fmla="*/ 1397184 w 3892734"/>
              <a:gd name="connsiteY18" fmla="*/ 254000 h 2254250"/>
              <a:gd name="connsiteX19" fmla="*/ 1486084 w 3892734"/>
              <a:gd name="connsiteY19" fmla="*/ 285750 h 2254250"/>
              <a:gd name="connsiteX20" fmla="*/ 1581334 w 3892734"/>
              <a:gd name="connsiteY20" fmla="*/ 438150 h 2254250"/>
              <a:gd name="connsiteX21" fmla="*/ 1670234 w 3892734"/>
              <a:gd name="connsiteY21" fmla="*/ 654050 h 2254250"/>
              <a:gd name="connsiteX22" fmla="*/ 1905184 w 3892734"/>
              <a:gd name="connsiteY22" fmla="*/ 1066800 h 2254250"/>
              <a:gd name="connsiteX23" fmla="*/ 2006784 w 3892734"/>
              <a:gd name="connsiteY23" fmla="*/ 1212850 h 2254250"/>
              <a:gd name="connsiteX24" fmla="*/ 2082984 w 3892734"/>
              <a:gd name="connsiteY24" fmla="*/ 1295400 h 2254250"/>
              <a:gd name="connsiteX25" fmla="*/ 2190934 w 3892734"/>
              <a:gd name="connsiteY25" fmla="*/ 1263650 h 2254250"/>
              <a:gd name="connsiteX26" fmla="*/ 2235384 w 3892734"/>
              <a:gd name="connsiteY26" fmla="*/ 1168400 h 2254250"/>
              <a:gd name="connsiteX27" fmla="*/ 2292534 w 3892734"/>
              <a:gd name="connsiteY27" fmla="*/ 1016000 h 2254250"/>
              <a:gd name="connsiteX28" fmla="*/ 2368734 w 3892734"/>
              <a:gd name="connsiteY28" fmla="*/ 876300 h 2254250"/>
              <a:gd name="connsiteX29" fmla="*/ 2425884 w 3892734"/>
              <a:gd name="connsiteY29" fmla="*/ 787400 h 2254250"/>
              <a:gd name="connsiteX30" fmla="*/ 2476684 w 3892734"/>
              <a:gd name="connsiteY30" fmla="*/ 749300 h 2254250"/>
              <a:gd name="connsiteX31" fmla="*/ 2546534 w 3892734"/>
              <a:gd name="connsiteY31" fmla="*/ 736600 h 2254250"/>
              <a:gd name="connsiteX32" fmla="*/ 2654484 w 3892734"/>
              <a:gd name="connsiteY32" fmla="*/ 781050 h 2254250"/>
              <a:gd name="connsiteX33" fmla="*/ 2756084 w 3892734"/>
              <a:gd name="connsiteY33" fmla="*/ 838200 h 2254250"/>
              <a:gd name="connsiteX34" fmla="*/ 2851334 w 3892734"/>
              <a:gd name="connsiteY34" fmla="*/ 901700 h 2254250"/>
              <a:gd name="connsiteX35" fmla="*/ 2997384 w 3892734"/>
              <a:gd name="connsiteY35" fmla="*/ 920750 h 2254250"/>
              <a:gd name="connsiteX36" fmla="*/ 3175184 w 3892734"/>
              <a:gd name="connsiteY36" fmla="*/ 895350 h 2254250"/>
              <a:gd name="connsiteX37" fmla="*/ 3295834 w 3892734"/>
              <a:gd name="connsiteY37" fmla="*/ 774700 h 2254250"/>
              <a:gd name="connsiteX38" fmla="*/ 3391084 w 3892734"/>
              <a:gd name="connsiteY38" fmla="*/ 628650 h 2254250"/>
              <a:gd name="connsiteX39" fmla="*/ 3486334 w 3892734"/>
              <a:gd name="connsiteY39" fmla="*/ 495300 h 2254250"/>
              <a:gd name="connsiteX40" fmla="*/ 3594284 w 3892734"/>
              <a:gd name="connsiteY40" fmla="*/ 412750 h 2254250"/>
              <a:gd name="connsiteX41" fmla="*/ 3714934 w 3892734"/>
              <a:gd name="connsiteY41" fmla="*/ 406400 h 2254250"/>
              <a:gd name="connsiteX42" fmla="*/ 3892734 w 3892734"/>
              <a:gd name="connsiteY42" fmla="*/ 412750 h 2254250"/>
              <a:gd name="connsiteX43" fmla="*/ 3892734 w 3892734"/>
              <a:gd name="connsiteY43" fmla="*/ 755650 h 2254250"/>
              <a:gd name="connsiteX44" fmla="*/ 3708584 w 3892734"/>
              <a:gd name="connsiteY44" fmla="*/ 958850 h 2254250"/>
              <a:gd name="connsiteX45" fmla="*/ 3568884 w 3892734"/>
              <a:gd name="connsiteY45" fmla="*/ 1098550 h 2254250"/>
              <a:gd name="connsiteX46" fmla="*/ 3499034 w 3892734"/>
              <a:gd name="connsiteY46" fmla="*/ 1155700 h 2254250"/>
              <a:gd name="connsiteX47" fmla="*/ 3340284 w 3892734"/>
              <a:gd name="connsiteY47" fmla="*/ 1155700 h 2254250"/>
              <a:gd name="connsiteX48" fmla="*/ 3219634 w 3892734"/>
              <a:gd name="connsiteY48" fmla="*/ 1181100 h 2254250"/>
              <a:gd name="connsiteX49" fmla="*/ 3111684 w 3892734"/>
              <a:gd name="connsiteY49" fmla="*/ 1295400 h 2254250"/>
              <a:gd name="connsiteX50" fmla="*/ 2952934 w 3892734"/>
              <a:gd name="connsiteY50" fmla="*/ 1587500 h 2254250"/>
              <a:gd name="connsiteX51" fmla="*/ 2813234 w 3892734"/>
              <a:gd name="connsiteY51" fmla="*/ 1847850 h 2254250"/>
              <a:gd name="connsiteX52" fmla="*/ 2629084 w 3892734"/>
              <a:gd name="connsiteY52" fmla="*/ 2127250 h 2254250"/>
              <a:gd name="connsiteX53" fmla="*/ 2463984 w 3892734"/>
              <a:gd name="connsiteY53" fmla="*/ 2228850 h 2254250"/>
              <a:gd name="connsiteX54" fmla="*/ 2356034 w 3892734"/>
              <a:gd name="connsiteY54" fmla="*/ 2254250 h 2254250"/>
              <a:gd name="connsiteX55" fmla="*/ 2057584 w 3892734"/>
              <a:gd name="connsiteY55" fmla="*/ 2178050 h 2254250"/>
              <a:gd name="connsiteX56" fmla="*/ 1822634 w 3892734"/>
              <a:gd name="connsiteY56" fmla="*/ 2070100 h 2254250"/>
              <a:gd name="connsiteX57" fmla="*/ 1651184 w 3892734"/>
              <a:gd name="connsiteY57" fmla="*/ 1917700 h 2254250"/>
              <a:gd name="connsiteX58" fmla="*/ 1574984 w 3892734"/>
              <a:gd name="connsiteY58" fmla="*/ 1797050 h 2254250"/>
              <a:gd name="connsiteX59" fmla="*/ 1492434 w 3892734"/>
              <a:gd name="connsiteY59" fmla="*/ 1720850 h 2254250"/>
              <a:gd name="connsiteX60" fmla="*/ 1422584 w 3892734"/>
              <a:gd name="connsiteY60" fmla="*/ 1720850 h 2254250"/>
              <a:gd name="connsiteX61" fmla="*/ 1352734 w 3892734"/>
              <a:gd name="connsiteY61" fmla="*/ 1778000 h 2254250"/>
              <a:gd name="connsiteX62" fmla="*/ 1301934 w 3892734"/>
              <a:gd name="connsiteY62" fmla="*/ 1873250 h 2254250"/>
              <a:gd name="connsiteX63" fmla="*/ 1213034 w 3892734"/>
              <a:gd name="connsiteY63" fmla="*/ 2019300 h 2254250"/>
              <a:gd name="connsiteX64" fmla="*/ 1149534 w 3892734"/>
              <a:gd name="connsiteY64" fmla="*/ 2159000 h 2254250"/>
              <a:gd name="connsiteX65" fmla="*/ 1073334 w 3892734"/>
              <a:gd name="connsiteY65" fmla="*/ 2209800 h 2254250"/>
              <a:gd name="connsiteX66" fmla="*/ 1462272 w 3892734"/>
              <a:gd name="connsiteY66" fmla="*/ 1281040 h 2254250"/>
              <a:gd name="connsiteX67" fmla="*/ 1101909 w 3892734"/>
              <a:gd name="connsiteY67" fmla="*/ 1573782 h 2254250"/>
              <a:gd name="connsiteX68" fmla="*/ 895535 w 3892734"/>
              <a:gd name="connsiteY68" fmla="*/ 1609913 h 2254250"/>
              <a:gd name="connsiteX69" fmla="*/ 743134 w 3892734"/>
              <a:gd name="connsiteY69" fmla="*/ 1587266 h 2254250"/>
              <a:gd name="connsiteX70" fmla="*/ 538346 w 3892734"/>
              <a:gd name="connsiteY70" fmla="*/ 1642309 h 2254250"/>
              <a:gd name="connsiteX71" fmla="*/ 358959 w 3892734"/>
              <a:gd name="connsiteY71" fmla="*/ 1593072 h 2254250"/>
              <a:gd name="connsiteX72" fmla="*/ 12884 w 3892734"/>
              <a:gd name="connsiteY72" fmla="*/ 1221921 h 2254250"/>
              <a:gd name="connsiteX73" fmla="*/ 184 w 3892734"/>
              <a:gd name="connsiteY73" fmla="*/ 0 h 2254250"/>
              <a:gd name="connsiteX0" fmla="*/ 184 w 3892734"/>
              <a:gd name="connsiteY0" fmla="*/ 0 h 2254250"/>
              <a:gd name="connsiteX1" fmla="*/ 266884 w 3892734"/>
              <a:gd name="connsiteY1" fmla="*/ 1162050 h 2254250"/>
              <a:gd name="connsiteX2" fmla="*/ 317684 w 3892734"/>
              <a:gd name="connsiteY2" fmla="*/ 1308100 h 2254250"/>
              <a:gd name="connsiteX3" fmla="*/ 362134 w 3892734"/>
              <a:gd name="connsiteY3" fmla="*/ 1371600 h 2254250"/>
              <a:gd name="connsiteX4" fmla="*/ 412934 w 3892734"/>
              <a:gd name="connsiteY4" fmla="*/ 1314450 h 2254250"/>
              <a:gd name="connsiteX5" fmla="*/ 514534 w 3892734"/>
              <a:gd name="connsiteY5" fmla="*/ 996950 h 2254250"/>
              <a:gd name="connsiteX6" fmla="*/ 584384 w 3892734"/>
              <a:gd name="connsiteY6" fmla="*/ 641350 h 2254250"/>
              <a:gd name="connsiteX7" fmla="*/ 641534 w 3892734"/>
              <a:gd name="connsiteY7" fmla="*/ 444500 h 2254250"/>
              <a:gd name="connsiteX8" fmla="*/ 692334 w 3892734"/>
              <a:gd name="connsiteY8" fmla="*/ 330200 h 2254250"/>
              <a:gd name="connsiteX9" fmla="*/ 724084 w 3892734"/>
              <a:gd name="connsiteY9" fmla="*/ 279400 h 2254250"/>
              <a:gd name="connsiteX10" fmla="*/ 806634 w 3892734"/>
              <a:gd name="connsiteY10" fmla="*/ 298450 h 2254250"/>
              <a:gd name="connsiteX11" fmla="*/ 927284 w 3892734"/>
              <a:gd name="connsiteY11" fmla="*/ 495300 h 2254250"/>
              <a:gd name="connsiteX12" fmla="*/ 978084 w 3892734"/>
              <a:gd name="connsiteY12" fmla="*/ 622300 h 2254250"/>
              <a:gd name="connsiteX13" fmla="*/ 1060634 w 3892734"/>
              <a:gd name="connsiteY13" fmla="*/ 666750 h 2254250"/>
              <a:gd name="connsiteX14" fmla="*/ 1136834 w 3892734"/>
              <a:gd name="connsiteY14" fmla="*/ 622300 h 2254250"/>
              <a:gd name="connsiteX15" fmla="*/ 1225734 w 3892734"/>
              <a:gd name="connsiteY15" fmla="*/ 495300 h 2254250"/>
              <a:gd name="connsiteX16" fmla="*/ 1289234 w 3892734"/>
              <a:gd name="connsiteY16" fmla="*/ 355600 h 2254250"/>
              <a:gd name="connsiteX17" fmla="*/ 1352734 w 3892734"/>
              <a:gd name="connsiteY17" fmla="*/ 292100 h 2254250"/>
              <a:gd name="connsiteX18" fmla="*/ 1397184 w 3892734"/>
              <a:gd name="connsiteY18" fmla="*/ 254000 h 2254250"/>
              <a:gd name="connsiteX19" fmla="*/ 1486084 w 3892734"/>
              <a:gd name="connsiteY19" fmla="*/ 285750 h 2254250"/>
              <a:gd name="connsiteX20" fmla="*/ 1581334 w 3892734"/>
              <a:gd name="connsiteY20" fmla="*/ 438150 h 2254250"/>
              <a:gd name="connsiteX21" fmla="*/ 1670234 w 3892734"/>
              <a:gd name="connsiteY21" fmla="*/ 654050 h 2254250"/>
              <a:gd name="connsiteX22" fmla="*/ 1905184 w 3892734"/>
              <a:gd name="connsiteY22" fmla="*/ 1066800 h 2254250"/>
              <a:gd name="connsiteX23" fmla="*/ 2006784 w 3892734"/>
              <a:gd name="connsiteY23" fmla="*/ 1212850 h 2254250"/>
              <a:gd name="connsiteX24" fmla="*/ 2082984 w 3892734"/>
              <a:gd name="connsiteY24" fmla="*/ 1295400 h 2254250"/>
              <a:gd name="connsiteX25" fmla="*/ 2190934 w 3892734"/>
              <a:gd name="connsiteY25" fmla="*/ 1263650 h 2254250"/>
              <a:gd name="connsiteX26" fmla="*/ 2235384 w 3892734"/>
              <a:gd name="connsiteY26" fmla="*/ 1168400 h 2254250"/>
              <a:gd name="connsiteX27" fmla="*/ 2292534 w 3892734"/>
              <a:gd name="connsiteY27" fmla="*/ 1016000 h 2254250"/>
              <a:gd name="connsiteX28" fmla="*/ 2368734 w 3892734"/>
              <a:gd name="connsiteY28" fmla="*/ 876300 h 2254250"/>
              <a:gd name="connsiteX29" fmla="*/ 2425884 w 3892734"/>
              <a:gd name="connsiteY29" fmla="*/ 787400 h 2254250"/>
              <a:gd name="connsiteX30" fmla="*/ 2476684 w 3892734"/>
              <a:gd name="connsiteY30" fmla="*/ 749300 h 2254250"/>
              <a:gd name="connsiteX31" fmla="*/ 2546534 w 3892734"/>
              <a:gd name="connsiteY31" fmla="*/ 736600 h 2254250"/>
              <a:gd name="connsiteX32" fmla="*/ 2654484 w 3892734"/>
              <a:gd name="connsiteY32" fmla="*/ 781050 h 2254250"/>
              <a:gd name="connsiteX33" fmla="*/ 2756084 w 3892734"/>
              <a:gd name="connsiteY33" fmla="*/ 838200 h 2254250"/>
              <a:gd name="connsiteX34" fmla="*/ 2851334 w 3892734"/>
              <a:gd name="connsiteY34" fmla="*/ 901700 h 2254250"/>
              <a:gd name="connsiteX35" fmla="*/ 2997384 w 3892734"/>
              <a:gd name="connsiteY35" fmla="*/ 920750 h 2254250"/>
              <a:gd name="connsiteX36" fmla="*/ 3175184 w 3892734"/>
              <a:gd name="connsiteY36" fmla="*/ 895350 h 2254250"/>
              <a:gd name="connsiteX37" fmla="*/ 3295834 w 3892734"/>
              <a:gd name="connsiteY37" fmla="*/ 774700 h 2254250"/>
              <a:gd name="connsiteX38" fmla="*/ 3391084 w 3892734"/>
              <a:gd name="connsiteY38" fmla="*/ 628650 h 2254250"/>
              <a:gd name="connsiteX39" fmla="*/ 3486334 w 3892734"/>
              <a:gd name="connsiteY39" fmla="*/ 495300 h 2254250"/>
              <a:gd name="connsiteX40" fmla="*/ 3594284 w 3892734"/>
              <a:gd name="connsiteY40" fmla="*/ 412750 h 2254250"/>
              <a:gd name="connsiteX41" fmla="*/ 3714934 w 3892734"/>
              <a:gd name="connsiteY41" fmla="*/ 406400 h 2254250"/>
              <a:gd name="connsiteX42" fmla="*/ 3892734 w 3892734"/>
              <a:gd name="connsiteY42" fmla="*/ 412750 h 2254250"/>
              <a:gd name="connsiteX43" fmla="*/ 3892734 w 3892734"/>
              <a:gd name="connsiteY43" fmla="*/ 755650 h 2254250"/>
              <a:gd name="connsiteX44" fmla="*/ 3708584 w 3892734"/>
              <a:gd name="connsiteY44" fmla="*/ 958850 h 2254250"/>
              <a:gd name="connsiteX45" fmla="*/ 3568884 w 3892734"/>
              <a:gd name="connsiteY45" fmla="*/ 1098550 h 2254250"/>
              <a:gd name="connsiteX46" fmla="*/ 3499034 w 3892734"/>
              <a:gd name="connsiteY46" fmla="*/ 1155700 h 2254250"/>
              <a:gd name="connsiteX47" fmla="*/ 3340284 w 3892734"/>
              <a:gd name="connsiteY47" fmla="*/ 1155700 h 2254250"/>
              <a:gd name="connsiteX48" fmla="*/ 3219634 w 3892734"/>
              <a:gd name="connsiteY48" fmla="*/ 1181100 h 2254250"/>
              <a:gd name="connsiteX49" fmla="*/ 3111684 w 3892734"/>
              <a:gd name="connsiteY49" fmla="*/ 1295400 h 2254250"/>
              <a:gd name="connsiteX50" fmla="*/ 2952934 w 3892734"/>
              <a:gd name="connsiteY50" fmla="*/ 1587500 h 2254250"/>
              <a:gd name="connsiteX51" fmla="*/ 2813234 w 3892734"/>
              <a:gd name="connsiteY51" fmla="*/ 1847850 h 2254250"/>
              <a:gd name="connsiteX52" fmla="*/ 2629084 w 3892734"/>
              <a:gd name="connsiteY52" fmla="*/ 2127250 h 2254250"/>
              <a:gd name="connsiteX53" fmla="*/ 2463984 w 3892734"/>
              <a:gd name="connsiteY53" fmla="*/ 2228850 h 2254250"/>
              <a:gd name="connsiteX54" fmla="*/ 2356034 w 3892734"/>
              <a:gd name="connsiteY54" fmla="*/ 2254250 h 2254250"/>
              <a:gd name="connsiteX55" fmla="*/ 2057584 w 3892734"/>
              <a:gd name="connsiteY55" fmla="*/ 2178050 h 2254250"/>
              <a:gd name="connsiteX56" fmla="*/ 1822634 w 3892734"/>
              <a:gd name="connsiteY56" fmla="*/ 2070100 h 2254250"/>
              <a:gd name="connsiteX57" fmla="*/ 1651184 w 3892734"/>
              <a:gd name="connsiteY57" fmla="*/ 1917700 h 2254250"/>
              <a:gd name="connsiteX58" fmla="*/ 1574984 w 3892734"/>
              <a:gd name="connsiteY58" fmla="*/ 1797050 h 2254250"/>
              <a:gd name="connsiteX59" fmla="*/ 1492434 w 3892734"/>
              <a:gd name="connsiteY59" fmla="*/ 1720850 h 2254250"/>
              <a:gd name="connsiteX60" fmla="*/ 1422584 w 3892734"/>
              <a:gd name="connsiteY60" fmla="*/ 1720850 h 2254250"/>
              <a:gd name="connsiteX61" fmla="*/ 1352734 w 3892734"/>
              <a:gd name="connsiteY61" fmla="*/ 1778000 h 2254250"/>
              <a:gd name="connsiteX62" fmla="*/ 1301934 w 3892734"/>
              <a:gd name="connsiteY62" fmla="*/ 1873250 h 2254250"/>
              <a:gd name="connsiteX63" fmla="*/ 1213034 w 3892734"/>
              <a:gd name="connsiteY63" fmla="*/ 2019300 h 2254250"/>
              <a:gd name="connsiteX64" fmla="*/ 1073334 w 3892734"/>
              <a:gd name="connsiteY64" fmla="*/ 2209800 h 2254250"/>
              <a:gd name="connsiteX65" fmla="*/ 1462272 w 3892734"/>
              <a:gd name="connsiteY65" fmla="*/ 1281040 h 2254250"/>
              <a:gd name="connsiteX66" fmla="*/ 1101909 w 3892734"/>
              <a:gd name="connsiteY66" fmla="*/ 1573782 h 2254250"/>
              <a:gd name="connsiteX67" fmla="*/ 895535 w 3892734"/>
              <a:gd name="connsiteY67" fmla="*/ 1609913 h 2254250"/>
              <a:gd name="connsiteX68" fmla="*/ 743134 w 3892734"/>
              <a:gd name="connsiteY68" fmla="*/ 1587266 h 2254250"/>
              <a:gd name="connsiteX69" fmla="*/ 538346 w 3892734"/>
              <a:gd name="connsiteY69" fmla="*/ 1642309 h 2254250"/>
              <a:gd name="connsiteX70" fmla="*/ 358959 w 3892734"/>
              <a:gd name="connsiteY70" fmla="*/ 1593072 h 2254250"/>
              <a:gd name="connsiteX71" fmla="*/ 12884 w 3892734"/>
              <a:gd name="connsiteY71" fmla="*/ 1221921 h 2254250"/>
              <a:gd name="connsiteX72" fmla="*/ 184 w 3892734"/>
              <a:gd name="connsiteY72" fmla="*/ 0 h 2254250"/>
              <a:gd name="connsiteX0" fmla="*/ 184 w 3892734"/>
              <a:gd name="connsiteY0" fmla="*/ 0 h 2254250"/>
              <a:gd name="connsiteX1" fmla="*/ 266884 w 3892734"/>
              <a:gd name="connsiteY1" fmla="*/ 1162050 h 2254250"/>
              <a:gd name="connsiteX2" fmla="*/ 317684 w 3892734"/>
              <a:gd name="connsiteY2" fmla="*/ 1308100 h 2254250"/>
              <a:gd name="connsiteX3" fmla="*/ 362134 w 3892734"/>
              <a:gd name="connsiteY3" fmla="*/ 1371600 h 2254250"/>
              <a:gd name="connsiteX4" fmla="*/ 412934 w 3892734"/>
              <a:gd name="connsiteY4" fmla="*/ 1314450 h 2254250"/>
              <a:gd name="connsiteX5" fmla="*/ 514534 w 3892734"/>
              <a:gd name="connsiteY5" fmla="*/ 996950 h 2254250"/>
              <a:gd name="connsiteX6" fmla="*/ 584384 w 3892734"/>
              <a:gd name="connsiteY6" fmla="*/ 641350 h 2254250"/>
              <a:gd name="connsiteX7" fmla="*/ 641534 w 3892734"/>
              <a:gd name="connsiteY7" fmla="*/ 444500 h 2254250"/>
              <a:gd name="connsiteX8" fmla="*/ 692334 w 3892734"/>
              <a:gd name="connsiteY8" fmla="*/ 330200 h 2254250"/>
              <a:gd name="connsiteX9" fmla="*/ 724084 w 3892734"/>
              <a:gd name="connsiteY9" fmla="*/ 279400 h 2254250"/>
              <a:gd name="connsiteX10" fmla="*/ 806634 w 3892734"/>
              <a:gd name="connsiteY10" fmla="*/ 298450 h 2254250"/>
              <a:gd name="connsiteX11" fmla="*/ 927284 w 3892734"/>
              <a:gd name="connsiteY11" fmla="*/ 495300 h 2254250"/>
              <a:gd name="connsiteX12" fmla="*/ 978084 w 3892734"/>
              <a:gd name="connsiteY12" fmla="*/ 622300 h 2254250"/>
              <a:gd name="connsiteX13" fmla="*/ 1060634 w 3892734"/>
              <a:gd name="connsiteY13" fmla="*/ 666750 h 2254250"/>
              <a:gd name="connsiteX14" fmla="*/ 1136834 w 3892734"/>
              <a:gd name="connsiteY14" fmla="*/ 622300 h 2254250"/>
              <a:gd name="connsiteX15" fmla="*/ 1225734 w 3892734"/>
              <a:gd name="connsiteY15" fmla="*/ 495300 h 2254250"/>
              <a:gd name="connsiteX16" fmla="*/ 1289234 w 3892734"/>
              <a:gd name="connsiteY16" fmla="*/ 355600 h 2254250"/>
              <a:gd name="connsiteX17" fmla="*/ 1352734 w 3892734"/>
              <a:gd name="connsiteY17" fmla="*/ 292100 h 2254250"/>
              <a:gd name="connsiteX18" fmla="*/ 1397184 w 3892734"/>
              <a:gd name="connsiteY18" fmla="*/ 254000 h 2254250"/>
              <a:gd name="connsiteX19" fmla="*/ 1486084 w 3892734"/>
              <a:gd name="connsiteY19" fmla="*/ 285750 h 2254250"/>
              <a:gd name="connsiteX20" fmla="*/ 1581334 w 3892734"/>
              <a:gd name="connsiteY20" fmla="*/ 438150 h 2254250"/>
              <a:gd name="connsiteX21" fmla="*/ 1670234 w 3892734"/>
              <a:gd name="connsiteY21" fmla="*/ 654050 h 2254250"/>
              <a:gd name="connsiteX22" fmla="*/ 1905184 w 3892734"/>
              <a:gd name="connsiteY22" fmla="*/ 1066800 h 2254250"/>
              <a:gd name="connsiteX23" fmla="*/ 2006784 w 3892734"/>
              <a:gd name="connsiteY23" fmla="*/ 1212850 h 2254250"/>
              <a:gd name="connsiteX24" fmla="*/ 2082984 w 3892734"/>
              <a:gd name="connsiteY24" fmla="*/ 1295400 h 2254250"/>
              <a:gd name="connsiteX25" fmla="*/ 2190934 w 3892734"/>
              <a:gd name="connsiteY25" fmla="*/ 1263650 h 2254250"/>
              <a:gd name="connsiteX26" fmla="*/ 2235384 w 3892734"/>
              <a:gd name="connsiteY26" fmla="*/ 1168400 h 2254250"/>
              <a:gd name="connsiteX27" fmla="*/ 2292534 w 3892734"/>
              <a:gd name="connsiteY27" fmla="*/ 1016000 h 2254250"/>
              <a:gd name="connsiteX28" fmla="*/ 2368734 w 3892734"/>
              <a:gd name="connsiteY28" fmla="*/ 876300 h 2254250"/>
              <a:gd name="connsiteX29" fmla="*/ 2425884 w 3892734"/>
              <a:gd name="connsiteY29" fmla="*/ 787400 h 2254250"/>
              <a:gd name="connsiteX30" fmla="*/ 2476684 w 3892734"/>
              <a:gd name="connsiteY30" fmla="*/ 749300 h 2254250"/>
              <a:gd name="connsiteX31" fmla="*/ 2546534 w 3892734"/>
              <a:gd name="connsiteY31" fmla="*/ 736600 h 2254250"/>
              <a:gd name="connsiteX32" fmla="*/ 2654484 w 3892734"/>
              <a:gd name="connsiteY32" fmla="*/ 781050 h 2254250"/>
              <a:gd name="connsiteX33" fmla="*/ 2756084 w 3892734"/>
              <a:gd name="connsiteY33" fmla="*/ 838200 h 2254250"/>
              <a:gd name="connsiteX34" fmla="*/ 2851334 w 3892734"/>
              <a:gd name="connsiteY34" fmla="*/ 901700 h 2254250"/>
              <a:gd name="connsiteX35" fmla="*/ 2997384 w 3892734"/>
              <a:gd name="connsiteY35" fmla="*/ 920750 h 2254250"/>
              <a:gd name="connsiteX36" fmla="*/ 3175184 w 3892734"/>
              <a:gd name="connsiteY36" fmla="*/ 895350 h 2254250"/>
              <a:gd name="connsiteX37" fmla="*/ 3295834 w 3892734"/>
              <a:gd name="connsiteY37" fmla="*/ 774700 h 2254250"/>
              <a:gd name="connsiteX38" fmla="*/ 3391084 w 3892734"/>
              <a:gd name="connsiteY38" fmla="*/ 628650 h 2254250"/>
              <a:gd name="connsiteX39" fmla="*/ 3486334 w 3892734"/>
              <a:gd name="connsiteY39" fmla="*/ 495300 h 2254250"/>
              <a:gd name="connsiteX40" fmla="*/ 3594284 w 3892734"/>
              <a:gd name="connsiteY40" fmla="*/ 412750 h 2254250"/>
              <a:gd name="connsiteX41" fmla="*/ 3714934 w 3892734"/>
              <a:gd name="connsiteY41" fmla="*/ 406400 h 2254250"/>
              <a:gd name="connsiteX42" fmla="*/ 3892734 w 3892734"/>
              <a:gd name="connsiteY42" fmla="*/ 412750 h 2254250"/>
              <a:gd name="connsiteX43" fmla="*/ 3892734 w 3892734"/>
              <a:gd name="connsiteY43" fmla="*/ 755650 h 2254250"/>
              <a:gd name="connsiteX44" fmla="*/ 3708584 w 3892734"/>
              <a:gd name="connsiteY44" fmla="*/ 958850 h 2254250"/>
              <a:gd name="connsiteX45" fmla="*/ 3568884 w 3892734"/>
              <a:gd name="connsiteY45" fmla="*/ 1098550 h 2254250"/>
              <a:gd name="connsiteX46" fmla="*/ 3499034 w 3892734"/>
              <a:gd name="connsiteY46" fmla="*/ 1155700 h 2254250"/>
              <a:gd name="connsiteX47" fmla="*/ 3340284 w 3892734"/>
              <a:gd name="connsiteY47" fmla="*/ 1155700 h 2254250"/>
              <a:gd name="connsiteX48" fmla="*/ 3219634 w 3892734"/>
              <a:gd name="connsiteY48" fmla="*/ 1181100 h 2254250"/>
              <a:gd name="connsiteX49" fmla="*/ 3111684 w 3892734"/>
              <a:gd name="connsiteY49" fmla="*/ 1295400 h 2254250"/>
              <a:gd name="connsiteX50" fmla="*/ 2952934 w 3892734"/>
              <a:gd name="connsiteY50" fmla="*/ 1587500 h 2254250"/>
              <a:gd name="connsiteX51" fmla="*/ 2813234 w 3892734"/>
              <a:gd name="connsiteY51" fmla="*/ 1847850 h 2254250"/>
              <a:gd name="connsiteX52" fmla="*/ 2629084 w 3892734"/>
              <a:gd name="connsiteY52" fmla="*/ 2127250 h 2254250"/>
              <a:gd name="connsiteX53" fmla="*/ 2463984 w 3892734"/>
              <a:gd name="connsiteY53" fmla="*/ 2228850 h 2254250"/>
              <a:gd name="connsiteX54" fmla="*/ 2356034 w 3892734"/>
              <a:gd name="connsiteY54" fmla="*/ 2254250 h 2254250"/>
              <a:gd name="connsiteX55" fmla="*/ 2057584 w 3892734"/>
              <a:gd name="connsiteY55" fmla="*/ 2178050 h 2254250"/>
              <a:gd name="connsiteX56" fmla="*/ 1822634 w 3892734"/>
              <a:gd name="connsiteY56" fmla="*/ 2070100 h 2254250"/>
              <a:gd name="connsiteX57" fmla="*/ 1651184 w 3892734"/>
              <a:gd name="connsiteY57" fmla="*/ 1917700 h 2254250"/>
              <a:gd name="connsiteX58" fmla="*/ 1574984 w 3892734"/>
              <a:gd name="connsiteY58" fmla="*/ 1797050 h 2254250"/>
              <a:gd name="connsiteX59" fmla="*/ 1492434 w 3892734"/>
              <a:gd name="connsiteY59" fmla="*/ 1720850 h 2254250"/>
              <a:gd name="connsiteX60" fmla="*/ 1422584 w 3892734"/>
              <a:gd name="connsiteY60" fmla="*/ 1720850 h 2254250"/>
              <a:gd name="connsiteX61" fmla="*/ 1352734 w 3892734"/>
              <a:gd name="connsiteY61" fmla="*/ 1778000 h 2254250"/>
              <a:gd name="connsiteX62" fmla="*/ 1301934 w 3892734"/>
              <a:gd name="connsiteY62" fmla="*/ 1873250 h 2254250"/>
              <a:gd name="connsiteX63" fmla="*/ 1213034 w 3892734"/>
              <a:gd name="connsiteY63" fmla="*/ 2019300 h 2254250"/>
              <a:gd name="connsiteX64" fmla="*/ 1462272 w 3892734"/>
              <a:gd name="connsiteY64" fmla="*/ 1281040 h 2254250"/>
              <a:gd name="connsiteX65" fmla="*/ 1101909 w 3892734"/>
              <a:gd name="connsiteY65" fmla="*/ 1573782 h 2254250"/>
              <a:gd name="connsiteX66" fmla="*/ 895535 w 3892734"/>
              <a:gd name="connsiteY66" fmla="*/ 1609913 h 2254250"/>
              <a:gd name="connsiteX67" fmla="*/ 743134 w 3892734"/>
              <a:gd name="connsiteY67" fmla="*/ 1587266 h 2254250"/>
              <a:gd name="connsiteX68" fmla="*/ 538346 w 3892734"/>
              <a:gd name="connsiteY68" fmla="*/ 1642309 h 2254250"/>
              <a:gd name="connsiteX69" fmla="*/ 358959 w 3892734"/>
              <a:gd name="connsiteY69" fmla="*/ 1593072 h 2254250"/>
              <a:gd name="connsiteX70" fmla="*/ 12884 w 3892734"/>
              <a:gd name="connsiteY70" fmla="*/ 1221921 h 2254250"/>
              <a:gd name="connsiteX71" fmla="*/ 184 w 3892734"/>
              <a:gd name="connsiteY71" fmla="*/ 0 h 2254250"/>
              <a:gd name="connsiteX0" fmla="*/ 184 w 3892734"/>
              <a:gd name="connsiteY0" fmla="*/ 0 h 2254250"/>
              <a:gd name="connsiteX1" fmla="*/ 266884 w 3892734"/>
              <a:gd name="connsiteY1" fmla="*/ 1162050 h 2254250"/>
              <a:gd name="connsiteX2" fmla="*/ 317684 w 3892734"/>
              <a:gd name="connsiteY2" fmla="*/ 1308100 h 2254250"/>
              <a:gd name="connsiteX3" fmla="*/ 362134 w 3892734"/>
              <a:gd name="connsiteY3" fmla="*/ 1371600 h 2254250"/>
              <a:gd name="connsiteX4" fmla="*/ 412934 w 3892734"/>
              <a:gd name="connsiteY4" fmla="*/ 1314450 h 2254250"/>
              <a:gd name="connsiteX5" fmla="*/ 514534 w 3892734"/>
              <a:gd name="connsiteY5" fmla="*/ 996950 h 2254250"/>
              <a:gd name="connsiteX6" fmla="*/ 584384 w 3892734"/>
              <a:gd name="connsiteY6" fmla="*/ 641350 h 2254250"/>
              <a:gd name="connsiteX7" fmla="*/ 641534 w 3892734"/>
              <a:gd name="connsiteY7" fmla="*/ 444500 h 2254250"/>
              <a:gd name="connsiteX8" fmla="*/ 692334 w 3892734"/>
              <a:gd name="connsiteY8" fmla="*/ 330200 h 2254250"/>
              <a:gd name="connsiteX9" fmla="*/ 724084 w 3892734"/>
              <a:gd name="connsiteY9" fmla="*/ 279400 h 2254250"/>
              <a:gd name="connsiteX10" fmla="*/ 806634 w 3892734"/>
              <a:gd name="connsiteY10" fmla="*/ 298450 h 2254250"/>
              <a:gd name="connsiteX11" fmla="*/ 927284 w 3892734"/>
              <a:gd name="connsiteY11" fmla="*/ 495300 h 2254250"/>
              <a:gd name="connsiteX12" fmla="*/ 978084 w 3892734"/>
              <a:gd name="connsiteY12" fmla="*/ 622300 h 2254250"/>
              <a:gd name="connsiteX13" fmla="*/ 1060634 w 3892734"/>
              <a:gd name="connsiteY13" fmla="*/ 666750 h 2254250"/>
              <a:gd name="connsiteX14" fmla="*/ 1136834 w 3892734"/>
              <a:gd name="connsiteY14" fmla="*/ 622300 h 2254250"/>
              <a:gd name="connsiteX15" fmla="*/ 1225734 w 3892734"/>
              <a:gd name="connsiteY15" fmla="*/ 495300 h 2254250"/>
              <a:gd name="connsiteX16" fmla="*/ 1289234 w 3892734"/>
              <a:gd name="connsiteY16" fmla="*/ 355600 h 2254250"/>
              <a:gd name="connsiteX17" fmla="*/ 1352734 w 3892734"/>
              <a:gd name="connsiteY17" fmla="*/ 292100 h 2254250"/>
              <a:gd name="connsiteX18" fmla="*/ 1397184 w 3892734"/>
              <a:gd name="connsiteY18" fmla="*/ 254000 h 2254250"/>
              <a:gd name="connsiteX19" fmla="*/ 1486084 w 3892734"/>
              <a:gd name="connsiteY19" fmla="*/ 285750 h 2254250"/>
              <a:gd name="connsiteX20" fmla="*/ 1581334 w 3892734"/>
              <a:gd name="connsiteY20" fmla="*/ 438150 h 2254250"/>
              <a:gd name="connsiteX21" fmla="*/ 1670234 w 3892734"/>
              <a:gd name="connsiteY21" fmla="*/ 654050 h 2254250"/>
              <a:gd name="connsiteX22" fmla="*/ 1905184 w 3892734"/>
              <a:gd name="connsiteY22" fmla="*/ 1066800 h 2254250"/>
              <a:gd name="connsiteX23" fmla="*/ 2006784 w 3892734"/>
              <a:gd name="connsiteY23" fmla="*/ 1212850 h 2254250"/>
              <a:gd name="connsiteX24" fmla="*/ 2082984 w 3892734"/>
              <a:gd name="connsiteY24" fmla="*/ 1295400 h 2254250"/>
              <a:gd name="connsiteX25" fmla="*/ 2190934 w 3892734"/>
              <a:gd name="connsiteY25" fmla="*/ 1263650 h 2254250"/>
              <a:gd name="connsiteX26" fmla="*/ 2235384 w 3892734"/>
              <a:gd name="connsiteY26" fmla="*/ 1168400 h 2254250"/>
              <a:gd name="connsiteX27" fmla="*/ 2292534 w 3892734"/>
              <a:gd name="connsiteY27" fmla="*/ 1016000 h 2254250"/>
              <a:gd name="connsiteX28" fmla="*/ 2368734 w 3892734"/>
              <a:gd name="connsiteY28" fmla="*/ 876300 h 2254250"/>
              <a:gd name="connsiteX29" fmla="*/ 2425884 w 3892734"/>
              <a:gd name="connsiteY29" fmla="*/ 787400 h 2254250"/>
              <a:gd name="connsiteX30" fmla="*/ 2476684 w 3892734"/>
              <a:gd name="connsiteY30" fmla="*/ 749300 h 2254250"/>
              <a:gd name="connsiteX31" fmla="*/ 2546534 w 3892734"/>
              <a:gd name="connsiteY31" fmla="*/ 736600 h 2254250"/>
              <a:gd name="connsiteX32" fmla="*/ 2654484 w 3892734"/>
              <a:gd name="connsiteY32" fmla="*/ 781050 h 2254250"/>
              <a:gd name="connsiteX33" fmla="*/ 2756084 w 3892734"/>
              <a:gd name="connsiteY33" fmla="*/ 838200 h 2254250"/>
              <a:gd name="connsiteX34" fmla="*/ 2851334 w 3892734"/>
              <a:gd name="connsiteY34" fmla="*/ 901700 h 2254250"/>
              <a:gd name="connsiteX35" fmla="*/ 2997384 w 3892734"/>
              <a:gd name="connsiteY35" fmla="*/ 920750 h 2254250"/>
              <a:gd name="connsiteX36" fmla="*/ 3175184 w 3892734"/>
              <a:gd name="connsiteY36" fmla="*/ 895350 h 2254250"/>
              <a:gd name="connsiteX37" fmla="*/ 3295834 w 3892734"/>
              <a:gd name="connsiteY37" fmla="*/ 774700 h 2254250"/>
              <a:gd name="connsiteX38" fmla="*/ 3391084 w 3892734"/>
              <a:gd name="connsiteY38" fmla="*/ 628650 h 2254250"/>
              <a:gd name="connsiteX39" fmla="*/ 3486334 w 3892734"/>
              <a:gd name="connsiteY39" fmla="*/ 495300 h 2254250"/>
              <a:gd name="connsiteX40" fmla="*/ 3594284 w 3892734"/>
              <a:gd name="connsiteY40" fmla="*/ 412750 h 2254250"/>
              <a:gd name="connsiteX41" fmla="*/ 3714934 w 3892734"/>
              <a:gd name="connsiteY41" fmla="*/ 406400 h 2254250"/>
              <a:gd name="connsiteX42" fmla="*/ 3892734 w 3892734"/>
              <a:gd name="connsiteY42" fmla="*/ 412750 h 2254250"/>
              <a:gd name="connsiteX43" fmla="*/ 3892734 w 3892734"/>
              <a:gd name="connsiteY43" fmla="*/ 755650 h 2254250"/>
              <a:gd name="connsiteX44" fmla="*/ 3708584 w 3892734"/>
              <a:gd name="connsiteY44" fmla="*/ 958850 h 2254250"/>
              <a:gd name="connsiteX45" fmla="*/ 3568884 w 3892734"/>
              <a:gd name="connsiteY45" fmla="*/ 1098550 h 2254250"/>
              <a:gd name="connsiteX46" fmla="*/ 3499034 w 3892734"/>
              <a:gd name="connsiteY46" fmla="*/ 1155700 h 2254250"/>
              <a:gd name="connsiteX47" fmla="*/ 3340284 w 3892734"/>
              <a:gd name="connsiteY47" fmla="*/ 1155700 h 2254250"/>
              <a:gd name="connsiteX48" fmla="*/ 3219634 w 3892734"/>
              <a:gd name="connsiteY48" fmla="*/ 1181100 h 2254250"/>
              <a:gd name="connsiteX49" fmla="*/ 3111684 w 3892734"/>
              <a:gd name="connsiteY49" fmla="*/ 1295400 h 2254250"/>
              <a:gd name="connsiteX50" fmla="*/ 2952934 w 3892734"/>
              <a:gd name="connsiteY50" fmla="*/ 1587500 h 2254250"/>
              <a:gd name="connsiteX51" fmla="*/ 2813234 w 3892734"/>
              <a:gd name="connsiteY51" fmla="*/ 1847850 h 2254250"/>
              <a:gd name="connsiteX52" fmla="*/ 2629084 w 3892734"/>
              <a:gd name="connsiteY52" fmla="*/ 2127250 h 2254250"/>
              <a:gd name="connsiteX53" fmla="*/ 2463984 w 3892734"/>
              <a:gd name="connsiteY53" fmla="*/ 2228850 h 2254250"/>
              <a:gd name="connsiteX54" fmla="*/ 2356034 w 3892734"/>
              <a:gd name="connsiteY54" fmla="*/ 2254250 h 2254250"/>
              <a:gd name="connsiteX55" fmla="*/ 2057584 w 3892734"/>
              <a:gd name="connsiteY55" fmla="*/ 2178050 h 2254250"/>
              <a:gd name="connsiteX56" fmla="*/ 1822634 w 3892734"/>
              <a:gd name="connsiteY56" fmla="*/ 2070100 h 2254250"/>
              <a:gd name="connsiteX57" fmla="*/ 1651184 w 3892734"/>
              <a:gd name="connsiteY57" fmla="*/ 1917700 h 2254250"/>
              <a:gd name="connsiteX58" fmla="*/ 1574984 w 3892734"/>
              <a:gd name="connsiteY58" fmla="*/ 1797050 h 2254250"/>
              <a:gd name="connsiteX59" fmla="*/ 1492434 w 3892734"/>
              <a:gd name="connsiteY59" fmla="*/ 1720850 h 2254250"/>
              <a:gd name="connsiteX60" fmla="*/ 1422584 w 3892734"/>
              <a:gd name="connsiteY60" fmla="*/ 1720850 h 2254250"/>
              <a:gd name="connsiteX61" fmla="*/ 1352734 w 3892734"/>
              <a:gd name="connsiteY61" fmla="*/ 1778000 h 2254250"/>
              <a:gd name="connsiteX62" fmla="*/ 1301934 w 3892734"/>
              <a:gd name="connsiteY62" fmla="*/ 1873250 h 2254250"/>
              <a:gd name="connsiteX63" fmla="*/ 1462272 w 3892734"/>
              <a:gd name="connsiteY63" fmla="*/ 1281040 h 2254250"/>
              <a:gd name="connsiteX64" fmla="*/ 1101909 w 3892734"/>
              <a:gd name="connsiteY64" fmla="*/ 1573782 h 2254250"/>
              <a:gd name="connsiteX65" fmla="*/ 895535 w 3892734"/>
              <a:gd name="connsiteY65" fmla="*/ 1609913 h 2254250"/>
              <a:gd name="connsiteX66" fmla="*/ 743134 w 3892734"/>
              <a:gd name="connsiteY66" fmla="*/ 1587266 h 2254250"/>
              <a:gd name="connsiteX67" fmla="*/ 538346 w 3892734"/>
              <a:gd name="connsiteY67" fmla="*/ 1642309 h 2254250"/>
              <a:gd name="connsiteX68" fmla="*/ 358959 w 3892734"/>
              <a:gd name="connsiteY68" fmla="*/ 1593072 h 2254250"/>
              <a:gd name="connsiteX69" fmla="*/ 12884 w 3892734"/>
              <a:gd name="connsiteY69" fmla="*/ 1221921 h 2254250"/>
              <a:gd name="connsiteX70" fmla="*/ 184 w 3892734"/>
              <a:gd name="connsiteY70" fmla="*/ 0 h 2254250"/>
              <a:gd name="connsiteX0" fmla="*/ 184 w 3892734"/>
              <a:gd name="connsiteY0" fmla="*/ 0 h 2254250"/>
              <a:gd name="connsiteX1" fmla="*/ 266884 w 3892734"/>
              <a:gd name="connsiteY1" fmla="*/ 1162050 h 2254250"/>
              <a:gd name="connsiteX2" fmla="*/ 317684 w 3892734"/>
              <a:gd name="connsiteY2" fmla="*/ 1308100 h 2254250"/>
              <a:gd name="connsiteX3" fmla="*/ 362134 w 3892734"/>
              <a:gd name="connsiteY3" fmla="*/ 1371600 h 2254250"/>
              <a:gd name="connsiteX4" fmla="*/ 412934 w 3892734"/>
              <a:gd name="connsiteY4" fmla="*/ 1314450 h 2254250"/>
              <a:gd name="connsiteX5" fmla="*/ 514534 w 3892734"/>
              <a:gd name="connsiteY5" fmla="*/ 996950 h 2254250"/>
              <a:gd name="connsiteX6" fmla="*/ 584384 w 3892734"/>
              <a:gd name="connsiteY6" fmla="*/ 641350 h 2254250"/>
              <a:gd name="connsiteX7" fmla="*/ 641534 w 3892734"/>
              <a:gd name="connsiteY7" fmla="*/ 444500 h 2254250"/>
              <a:gd name="connsiteX8" fmla="*/ 692334 w 3892734"/>
              <a:gd name="connsiteY8" fmla="*/ 330200 h 2254250"/>
              <a:gd name="connsiteX9" fmla="*/ 724084 w 3892734"/>
              <a:gd name="connsiteY9" fmla="*/ 279400 h 2254250"/>
              <a:gd name="connsiteX10" fmla="*/ 806634 w 3892734"/>
              <a:gd name="connsiteY10" fmla="*/ 298450 h 2254250"/>
              <a:gd name="connsiteX11" fmla="*/ 927284 w 3892734"/>
              <a:gd name="connsiteY11" fmla="*/ 495300 h 2254250"/>
              <a:gd name="connsiteX12" fmla="*/ 978084 w 3892734"/>
              <a:gd name="connsiteY12" fmla="*/ 622300 h 2254250"/>
              <a:gd name="connsiteX13" fmla="*/ 1060634 w 3892734"/>
              <a:gd name="connsiteY13" fmla="*/ 666750 h 2254250"/>
              <a:gd name="connsiteX14" fmla="*/ 1136834 w 3892734"/>
              <a:gd name="connsiteY14" fmla="*/ 622300 h 2254250"/>
              <a:gd name="connsiteX15" fmla="*/ 1225734 w 3892734"/>
              <a:gd name="connsiteY15" fmla="*/ 495300 h 2254250"/>
              <a:gd name="connsiteX16" fmla="*/ 1289234 w 3892734"/>
              <a:gd name="connsiteY16" fmla="*/ 355600 h 2254250"/>
              <a:gd name="connsiteX17" fmla="*/ 1352734 w 3892734"/>
              <a:gd name="connsiteY17" fmla="*/ 292100 h 2254250"/>
              <a:gd name="connsiteX18" fmla="*/ 1397184 w 3892734"/>
              <a:gd name="connsiteY18" fmla="*/ 254000 h 2254250"/>
              <a:gd name="connsiteX19" fmla="*/ 1486084 w 3892734"/>
              <a:gd name="connsiteY19" fmla="*/ 285750 h 2254250"/>
              <a:gd name="connsiteX20" fmla="*/ 1581334 w 3892734"/>
              <a:gd name="connsiteY20" fmla="*/ 438150 h 2254250"/>
              <a:gd name="connsiteX21" fmla="*/ 1670234 w 3892734"/>
              <a:gd name="connsiteY21" fmla="*/ 654050 h 2254250"/>
              <a:gd name="connsiteX22" fmla="*/ 1905184 w 3892734"/>
              <a:gd name="connsiteY22" fmla="*/ 1066800 h 2254250"/>
              <a:gd name="connsiteX23" fmla="*/ 2006784 w 3892734"/>
              <a:gd name="connsiteY23" fmla="*/ 1212850 h 2254250"/>
              <a:gd name="connsiteX24" fmla="*/ 2082984 w 3892734"/>
              <a:gd name="connsiteY24" fmla="*/ 1295400 h 2254250"/>
              <a:gd name="connsiteX25" fmla="*/ 2190934 w 3892734"/>
              <a:gd name="connsiteY25" fmla="*/ 1263650 h 2254250"/>
              <a:gd name="connsiteX26" fmla="*/ 2235384 w 3892734"/>
              <a:gd name="connsiteY26" fmla="*/ 1168400 h 2254250"/>
              <a:gd name="connsiteX27" fmla="*/ 2292534 w 3892734"/>
              <a:gd name="connsiteY27" fmla="*/ 1016000 h 2254250"/>
              <a:gd name="connsiteX28" fmla="*/ 2368734 w 3892734"/>
              <a:gd name="connsiteY28" fmla="*/ 876300 h 2254250"/>
              <a:gd name="connsiteX29" fmla="*/ 2425884 w 3892734"/>
              <a:gd name="connsiteY29" fmla="*/ 787400 h 2254250"/>
              <a:gd name="connsiteX30" fmla="*/ 2476684 w 3892734"/>
              <a:gd name="connsiteY30" fmla="*/ 749300 h 2254250"/>
              <a:gd name="connsiteX31" fmla="*/ 2546534 w 3892734"/>
              <a:gd name="connsiteY31" fmla="*/ 736600 h 2254250"/>
              <a:gd name="connsiteX32" fmla="*/ 2654484 w 3892734"/>
              <a:gd name="connsiteY32" fmla="*/ 781050 h 2254250"/>
              <a:gd name="connsiteX33" fmla="*/ 2756084 w 3892734"/>
              <a:gd name="connsiteY33" fmla="*/ 838200 h 2254250"/>
              <a:gd name="connsiteX34" fmla="*/ 2851334 w 3892734"/>
              <a:gd name="connsiteY34" fmla="*/ 901700 h 2254250"/>
              <a:gd name="connsiteX35" fmla="*/ 2997384 w 3892734"/>
              <a:gd name="connsiteY35" fmla="*/ 920750 h 2254250"/>
              <a:gd name="connsiteX36" fmla="*/ 3175184 w 3892734"/>
              <a:gd name="connsiteY36" fmla="*/ 895350 h 2254250"/>
              <a:gd name="connsiteX37" fmla="*/ 3295834 w 3892734"/>
              <a:gd name="connsiteY37" fmla="*/ 774700 h 2254250"/>
              <a:gd name="connsiteX38" fmla="*/ 3391084 w 3892734"/>
              <a:gd name="connsiteY38" fmla="*/ 628650 h 2254250"/>
              <a:gd name="connsiteX39" fmla="*/ 3486334 w 3892734"/>
              <a:gd name="connsiteY39" fmla="*/ 495300 h 2254250"/>
              <a:gd name="connsiteX40" fmla="*/ 3594284 w 3892734"/>
              <a:gd name="connsiteY40" fmla="*/ 412750 h 2254250"/>
              <a:gd name="connsiteX41" fmla="*/ 3714934 w 3892734"/>
              <a:gd name="connsiteY41" fmla="*/ 406400 h 2254250"/>
              <a:gd name="connsiteX42" fmla="*/ 3892734 w 3892734"/>
              <a:gd name="connsiteY42" fmla="*/ 412750 h 2254250"/>
              <a:gd name="connsiteX43" fmla="*/ 3892734 w 3892734"/>
              <a:gd name="connsiteY43" fmla="*/ 755650 h 2254250"/>
              <a:gd name="connsiteX44" fmla="*/ 3708584 w 3892734"/>
              <a:gd name="connsiteY44" fmla="*/ 958850 h 2254250"/>
              <a:gd name="connsiteX45" fmla="*/ 3568884 w 3892734"/>
              <a:gd name="connsiteY45" fmla="*/ 1098550 h 2254250"/>
              <a:gd name="connsiteX46" fmla="*/ 3499034 w 3892734"/>
              <a:gd name="connsiteY46" fmla="*/ 1155700 h 2254250"/>
              <a:gd name="connsiteX47" fmla="*/ 3340284 w 3892734"/>
              <a:gd name="connsiteY47" fmla="*/ 1155700 h 2254250"/>
              <a:gd name="connsiteX48" fmla="*/ 3219634 w 3892734"/>
              <a:gd name="connsiteY48" fmla="*/ 1181100 h 2254250"/>
              <a:gd name="connsiteX49" fmla="*/ 3111684 w 3892734"/>
              <a:gd name="connsiteY49" fmla="*/ 1295400 h 2254250"/>
              <a:gd name="connsiteX50" fmla="*/ 2952934 w 3892734"/>
              <a:gd name="connsiteY50" fmla="*/ 1587500 h 2254250"/>
              <a:gd name="connsiteX51" fmla="*/ 2813234 w 3892734"/>
              <a:gd name="connsiteY51" fmla="*/ 1847850 h 2254250"/>
              <a:gd name="connsiteX52" fmla="*/ 2629084 w 3892734"/>
              <a:gd name="connsiteY52" fmla="*/ 2127250 h 2254250"/>
              <a:gd name="connsiteX53" fmla="*/ 2463984 w 3892734"/>
              <a:gd name="connsiteY53" fmla="*/ 2228850 h 2254250"/>
              <a:gd name="connsiteX54" fmla="*/ 2356034 w 3892734"/>
              <a:gd name="connsiteY54" fmla="*/ 2254250 h 2254250"/>
              <a:gd name="connsiteX55" fmla="*/ 2057584 w 3892734"/>
              <a:gd name="connsiteY55" fmla="*/ 2178050 h 2254250"/>
              <a:gd name="connsiteX56" fmla="*/ 1822634 w 3892734"/>
              <a:gd name="connsiteY56" fmla="*/ 2070100 h 2254250"/>
              <a:gd name="connsiteX57" fmla="*/ 1651184 w 3892734"/>
              <a:gd name="connsiteY57" fmla="*/ 1917700 h 2254250"/>
              <a:gd name="connsiteX58" fmla="*/ 1574984 w 3892734"/>
              <a:gd name="connsiteY58" fmla="*/ 1797050 h 2254250"/>
              <a:gd name="connsiteX59" fmla="*/ 1492434 w 3892734"/>
              <a:gd name="connsiteY59" fmla="*/ 1720850 h 2254250"/>
              <a:gd name="connsiteX60" fmla="*/ 1422584 w 3892734"/>
              <a:gd name="connsiteY60" fmla="*/ 1720850 h 2254250"/>
              <a:gd name="connsiteX61" fmla="*/ 1352734 w 3892734"/>
              <a:gd name="connsiteY61" fmla="*/ 1778000 h 2254250"/>
              <a:gd name="connsiteX62" fmla="*/ 1821047 w 3892734"/>
              <a:gd name="connsiteY62" fmla="*/ 1299681 h 2254250"/>
              <a:gd name="connsiteX63" fmla="*/ 1462272 w 3892734"/>
              <a:gd name="connsiteY63" fmla="*/ 1281040 h 2254250"/>
              <a:gd name="connsiteX64" fmla="*/ 1101909 w 3892734"/>
              <a:gd name="connsiteY64" fmla="*/ 1573782 h 2254250"/>
              <a:gd name="connsiteX65" fmla="*/ 895535 w 3892734"/>
              <a:gd name="connsiteY65" fmla="*/ 1609913 h 2254250"/>
              <a:gd name="connsiteX66" fmla="*/ 743134 w 3892734"/>
              <a:gd name="connsiteY66" fmla="*/ 1587266 h 2254250"/>
              <a:gd name="connsiteX67" fmla="*/ 538346 w 3892734"/>
              <a:gd name="connsiteY67" fmla="*/ 1642309 h 2254250"/>
              <a:gd name="connsiteX68" fmla="*/ 358959 w 3892734"/>
              <a:gd name="connsiteY68" fmla="*/ 1593072 h 2254250"/>
              <a:gd name="connsiteX69" fmla="*/ 12884 w 3892734"/>
              <a:gd name="connsiteY69" fmla="*/ 1221921 h 2254250"/>
              <a:gd name="connsiteX70" fmla="*/ 184 w 3892734"/>
              <a:gd name="connsiteY70" fmla="*/ 0 h 2254250"/>
              <a:gd name="connsiteX0" fmla="*/ 184 w 3892734"/>
              <a:gd name="connsiteY0" fmla="*/ 0 h 2254250"/>
              <a:gd name="connsiteX1" fmla="*/ 266884 w 3892734"/>
              <a:gd name="connsiteY1" fmla="*/ 1162050 h 2254250"/>
              <a:gd name="connsiteX2" fmla="*/ 317684 w 3892734"/>
              <a:gd name="connsiteY2" fmla="*/ 1308100 h 2254250"/>
              <a:gd name="connsiteX3" fmla="*/ 362134 w 3892734"/>
              <a:gd name="connsiteY3" fmla="*/ 1371600 h 2254250"/>
              <a:gd name="connsiteX4" fmla="*/ 412934 w 3892734"/>
              <a:gd name="connsiteY4" fmla="*/ 1314450 h 2254250"/>
              <a:gd name="connsiteX5" fmla="*/ 514534 w 3892734"/>
              <a:gd name="connsiteY5" fmla="*/ 996950 h 2254250"/>
              <a:gd name="connsiteX6" fmla="*/ 584384 w 3892734"/>
              <a:gd name="connsiteY6" fmla="*/ 641350 h 2254250"/>
              <a:gd name="connsiteX7" fmla="*/ 641534 w 3892734"/>
              <a:gd name="connsiteY7" fmla="*/ 444500 h 2254250"/>
              <a:gd name="connsiteX8" fmla="*/ 692334 w 3892734"/>
              <a:gd name="connsiteY8" fmla="*/ 330200 h 2254250"/>
              <a:gd name="connsiteX9" fmla="*/ 724084 w 3892734"/>
              <a:gd name="connsiteY9" fmla="*/ 279400 h 2254250"/>
              <a:gd name="connsiteX10" fmla="*/ 806634 w 3892734"/>
              <a:gd name="connsiteY10" fmla="*/ 298450 h 2254250"/>
              <a:gd name="connsiteX11" fmla="*/ 927284 w 3892734"/>
              <a:gd name="connsiteY11" fmla="*/ 495300 h 2254250"/>
              <a:gd name="connsiteX12" fmla="*/ 978084 w 3892734"/>
              <a:gd name="connsiteY12" fmla="*/ 622300 h 2254250"/>
              <a:gd name="connsiteX13" fmla="*/ 1060634 w 3892734"/>
              <a:gd name="connsiteY13" fmla="*/ 666750 h 2254250"/>
              <a:gd name="connsiteX14" fmla="*/ 1136834 w 3892734"/>
              <a:gd name="connsiteY14" fmla="*/ 622300 h 2254250"/>
              <a:gd name="connsiteX15" fmla="*/ 1225734 w 3892734"/>
              <a:gd name="connsiteY15" fmla="*/ 495300 h 2254250"/>
              <a:gd name="connsiteX16" fmla="*/ 1289234 w 3892734"/>
              <a:gd name="connsiteY16" fmla="*/ 355600 h 2254250"/>
              <a:gd name="connsiteX17" fmla="*/ 1352734 w 3892734"/>
              <a:gd name="connsiteY17" fmla="*/ 292100 h 2254250"/>
              <a:gd name="connsiteX18" fmla="*/ 1397184 w 3892734"/>
              <a:gd name="connsiteY18" fmla="*/ 254000 h 2254250"/>
              <a:gd name="connsiteX19" fmla="*/ 1486084 w 3892734"/>
              <a:gd name="connsiteY19" fmla="*/ 285750 h 2254250"/>
              <a:gd name="connsiteX20" fmla="*/ 1581334 w 3892734"/>
              <a:gd name="connsiteY20" fmla="*/ 438150 h 2254250"/>
              <a:gd name="connsiteX21" fmla="*/ 1670234 w 3892734"/>
              <a:gd name="connsiteY21" fmla="*/ 654050 h 2254250"/>
              <a:gd name="connsiteX22" fmla="*/ 1905184 w 3892734"/>
              <a:gd name="connsiteY22" fmla="*/ 1066800 h 2254250"/>
              <a:gd name="connsiteX23" fmla="*/ 2006784 w 3892734"/>
              <a:gd name="connsiteY23" fmla="*/ 1212850 h 2254250"/>
              <a:gd name="connsiteX24" fmla="*/ 2082984 w 3892734"/>
              <a:gd name="connsiteY24" fmla="*/ 1295400 h 2254250"/>
              <a:gd name="connsiteX25" fmla="*/ 2190934 w 3892734"/>
              <a:gd name="connsiteY25" fmla="*/ 1263650 h 2254250"/>
              <a:gd name="connsiteX26" fmla="*/ 2235384 w 3892734"/>
              <a:gd name="connsiteY26" fmla="*/ 1168400 h 2254250"/>
              <a:gd name="connsiteX27" fmla="*/ 2292534 w 3892734"/>
              <a:gd name="connsiteY27" fmla="*/ 1016000 h 2254250"/>
              <a:gd name="connsiteX28" fmla="*/ 2368734 w 3892734"/>
              <a:gd name="connsiteY28" fmla="*/ 876300 h 2254250"/>
              <a:gd name="connsiteX29" fmla="*/ 2425884 w 3892734"/>
              <a:gd name="connsiteY29" fmla="*/ 787400 h 2254250"/>
              <a:gd name="connsiteX30" fmla="*/ 2476684 w 3892734"/>
              <a:gd name="connsiteY30" fmla="*/ 749300 h 2254250"/>
              <a:gd name="connsiteX31" fmla="*/ 2546534 w 3892734"/>
              <a:gd name="connsiteY31" fmla="*/ 736600 h 2254250"/>
              <a:gd name="connsiteX32" fmla="*/ 2654484 w 3892734"/>
              <a:gd name="connsiteY32" fmla="*/ 781050 h 2254250"/>
              <a:gd name="connsiteX33" fmla="*/ 2756084 w 3892734"/>
              <a:gd name="connsiteY33" fmla="*/ 838200 h 2254250"/>
              <a:gd name="connsiteX34" fmla="*/ 2851334 w 3892734"/>
              <a:gd name="connsiteY34" fmla="*/ 901700 h 2254250"/>
              <a:gd name="connsiteX35" fmla="*/ 2997384 w 3892734"/>
              <a:gd name="connsiteY35" fmla="*/ 920750 h 2254250"/>
              <a:gd name="connsiteX36" fmla="*/ 3175184 w 3892734"/>
              <a:gd name="connsiteY36" fmla="*/ 895350 h 2254250"/>
              <a:gd name="connsiteX37" fmla="*/ 3295834 w 3892734"/>
              <a:gd name="connsiteY37" fmla="*/ 774700 h 2254250"/>
              <a:gd name="connsiteX38" fmla="*/ 3391084 w 3892734"/>
              <a:gd name="connsiteY38" fmla="*/ 628650 h 2254250"/>
              <a:gd name="connsiteX39" fmla="*/ 3486334 w 3892734"/>
              <a:gd name="connsiteY39" fmla="*/ 495300 h 2254250"/>
              <a:gd name="connsiteX40" fmla="*/ 3594284 w 3892734"/>
              <a:gd name="connsiteY40" fmla="*/ 412750 h 2254250"/>
              <a:gd name="connsiteX41" fmla="*/ 3714934 w 3892734"/>
              <a:gd name="connsiteY41" fmla="*/ 406400 h 2254250"/>
              <a:gd name="connsiteX42" fmla="*/ 3892734 w 3892734"/>
              <a:gd name="connsiteY42" fmla="*/ 412750 h 2254250"/>
              <a:gd name="connsiteX43" fmla="*/ 3892734 w 3892734"/>
              <a:gd name="connsiteY43" fmla="*/ 755650 h 2254250"/>
              <a:gd name="connsiteX44" fmla="*/ 3708584 w 3892734"/>
              <a:gd name="connsiteY44" fmla="*/ 958850 h 2254250"/>
              <a:gd name="connsiteX45" fmla="*/ 3568884 w 3892734"/>
              <a:gd name="connsiteY45" fmla="*/ 1098550 h 2254250"/>
              <a:gd name="connsiteX46" fmla="*/ 3499034 w 3892734"/>
              <a:gd name="connsiteY46" fmla="*/ 1155700 h 2254250"/>
              <a:gd name="connsiteX47" fmla="*/ 3340284 w 3892734"/>
              <a:gd name="connsiteY47" fmla="*/ 1155700 h 2254250"/>
              <a:gd name="connsiteX48" fmla="*/ 3219634 w 3892734"/>
              <a:gd name="connsiteY48" fmla="*/ 1181100 h 2254250"/>
              <a:gd name="connsiteX49" fmla="*/ 3111684 w 3892734"/>
              <a:gd name="connsiteY49" fmla="*/ 1295400 h 2254250"/>
              <a:gd name="connsiteX50" fmla="*/ 2952934 w 3892734"/>
              <a:gd name="connsiteY50" fmla="*/ 1587500 h 2254250"/>
              <a:gd name="connsiteX51" fmla="*/ 2813234 w 3892734"/>
              <a:gd name="connsiteY51" fmla="*/ 1847850 h 2254250"/>
              <a:gd name="connsiteX52" fmla="*/ 2629084 w 3892734"/>
              <a:gd name="connsiteY52" fmla="*/ 2127250 h 2254250"/>
              <a:gd name="connsiteX53" fmla="*/ 2463984 w 3892734"/>
              <a:gd name="connsiteY53" fmla="*/ 2228850 h 2254250"/>
              <a:gd name="connsiteX54" fmla="*/ 2356034 w 3892734"/>
              <a:gd name="connsiteY54" fmla="*/ 2254250 h 2254250"/>
              <a:gd name="connsiteX55" fmla="*/ 2057584 w 3892734"/>
              <a:gd name="connsiteY55" fmla="*/ 2178050 h 2254250"/>
              <a:gd name="connsiteX56" fmla="*/ 1822634 w 3892734"/>
              <a:gd name="connsiteY56" fmla="*/ 2070100 h 2254250"/>
              <a:gd name="connsiteX57" fmla="*/ 1651184 w 3892734"/>
              <a:gd name="connsiteY57" fmla="*/ 1917700 h 2254250"/>
              <a:gd name="connsiteX58" fmla="*/ 1574984 w 3892734"/>
              <a:gd name="connsiteY58" fmla="*/ 1797050 h 2254250"/>
              <a:gd name="connsiteX59" fmla="*/ 1492434 w 3892734"/>
              <a:gd name="connsiteY59" fmla="*/ 1720850 h 2254250"/>
              <a:gd name="connsiteX60" fmla="*/ 1422584 w 3892734"/>
              <a:gd name="connsiteY60" fmla="*/ 1720850 h 2254250"/>
              <a:gd name="connsiteX61" fmla="*/ 1352734 w 3892734"/>
              <a:gd name="connsiteY61" fmla="*/ 1778000 h 2254250"/>
              <a:gd name="connsiteX62" fmla="*/ 1578160 w 3892734"/>
              <a:gd name="connsiteY62" fmla="*/ 1426137 h 2254250"/>
              <a:gd name="connsiteX63" fmla="*/ 1462272 w 3892734"/>
              <a:gd name="connsiteY63" fmla="*/ 1281040 h 2254250"/>
              <a:gd name="connsiteX64" fmla="*/ 1101909 w 3892734"/>
              <a:gd name="connsiteY64" fmla="*/ 1573782 h 2254250"/>
              <a:gd name="connsiteX65" fmla="*/ 895535 w 3892734"/>
              <a:gd name="connsiteY65" fmla="*/ 1609913 h 2254250"/>
              <a:gd name="connsiteX66" fmla="*/ 743134 w 3892734"/>
              <a:gd name="connsiteY66" fmla="*/ 1587266 h 2254250"/>
              <a:gd name="connsiteX67" fmla="*/ 538346 w 3892734"/>
              <a:gd name="connsiteY67" fmla="*/ 1642309 h 2254250"/>
              <a:gd name="connsiteX68" fmla="*/ 358959 w 3892734"/>
              <a:gd name="connsiteY68" fmla="*/ 1593072 h 2254250"/>
              <a:gd name="connsiteX69" fmla="*/ 12884 w 3892734"/>
              <a:gd name="connsiteY69" fmla="*/ 1221921 h 2254250"/>
              <a:gd name="connsiteX70" fmla="*/ 184 w 3892734"/>
              <a:gd name="connsiteY70" fmla="*/ 0 h 2254250"/>
              <a:gd name="connsiteX0" fmla="*/ 184 w 3892734"/>
              <a:gd name="connsiteY0" fmla="*/ 0 h 2254250"/>
              <a:gd name="connsiteX1" fmla="*/ 266884 w 3892734"/>
              <a:gd name="connsiteY1" fmla="*/ 1162050 h 2254250"/>
              <a:gd name="connsiteX2" fmla="*/ 317684 w 3892734"/>
              <a:gd name="connsiteY2" fmla="*/ 1308100 h 2254250"/>
              <a:gd name="connsiteX3" fmla="*/ 362134 w 3892734"/>
              <a:gd name="connsiteY3" fmla="*/ 1371600 h 2254250"/>
              <a:gd name="connsiteX4" fmla="*/ 412934 w 3892734"/>
              <a:gd name="connsiteY4" fmla="*/ 1314450 h 2254250"/>
              <a:gd name="connsiteX5" fmla="*/ 514534 w 3892734"/>
              <a:gd name="connsiteY5" fmla="*/ 996950 h 2254250"/>
              <a:gd name="connsiteX6" fmla="*/ 584384 w 3892734"/>
              <a:gd name="connsiteY6" fmla="*/ 641350 h 2254250"/>
              <a:gd name="connsiteX7" fmla="*/ 641534 w 3892734"/>
              <a:gd name="connsiteY7" fmla="*/ 444500 h 2254250"/>
              <a:gd name="connsiteX8" fmla="*/ 692334 w 3892734"/>
              <a:gd name="connsiteY8" fmla="*/ 330200 h 2254250"/>
              <a:gd name="connsiteX9" fmla="*/ 724084 w 3892734"/>
              <a:gd name="connsiteY9" fmla="*/ 279400 h 2254250"/>
              <a:gd name="connsiteX10" fmla="*/ 806634 w 3892734"/>
              <a:gd name="connsiteY10" fmla="*/ 298450 h 2254250"/>
              <a:gd name="connsiteX11" fmla="*/ 927284 w 3892734"/>
              <a:gd name="connsiteY11" fmla="*/ 495300 h 2254250"/>
              <a:gd name="connsiteX12" fmla="*/ 978084 w 3892734"/>
              <a:gd name="connsiteY12" fmla="*/ 622300 h 2254250"/>
              <a:gd name="connsiteX13" fmla="*/ 1060634 w 3892734"/>
              <a:gd name="connsiteY13" fmla="*/ 666750 h 2254250"/>
              <a:gd name="connsiteX14" fmla="*/ 1136834 w 3892734"/>
              <a:gd name="connsiteY14" fmla="*/ 622300 h 2254250"/>
              <a:gd name="connsiteX15" fmla="*/ 1225734 w 3892734"/>
              <a:gd name="connsiteY15" fmla="*/ 495300 h 2254250"/>
              <a:gd name="connsiteX16" fmla="*/ 1289234 w 3892734"/>
              <a:gd name="connsiteY16" fmla="*/ 355600 h 2254250"/>
              <a:gd name="connsiteX17" fmla="*/ 1352734 w 3892734"/>
              <a:gd name="connsiteY17" fmla="*/ 292100 h 2254250"/>
              <a:gd name="connsiteX18" fmla="*/ 1397184 w 3892734"/>
              <a:gd name="connsiteY18" fmla="*/ 254000 h 2254250"/>
              <a:gd name="connsiteX19" fmla="*/ 1486084 w 3892734"/>
              <a:gd name="connsiteY19" fmla="*/ 285750 h 2254250"/>
              <a:gd name="connsiteX20" fmla="*/ 1581334 w 3892734"/>
              <a:gd name="connsiteY20" fmla="*/ 438150 h 2254250"/>
              <a:gd name="connsiteX21" fmla="*/ 1670234 w 3892734"/>
              <a:gd name="connsiteY21" fmla="*/ 654050 h 2254250"/>
              <a:gd name="connsiteX22" fmla="*/ 1905184 w 3892734"/>
              <a:gd name="connsiteY22" fmla="*/ 1066800 h 2254250"/>
              <a:gd name="connsiteX23" fmla="*/ 2006784 w 3892734"/>
              <a:gd name="connsiteY23" fmla="*/ 1212850 h 2254250"/>
              <a:gd name="connsiteX24" fmla="*/ 2082984 w 3892734"/>
              <a:gd name="connsiteY24" fmla="*/ 1295400 h 2254250"/>
              <a:gd name="connsiteX25" fmla="*/ 2190934 w 3892734"/>
              <a:gd name="connsiteY25" fmla="*/ 1263650 h 2254250"/>
              <a:gd name="connsiteX26" fmla="*/ 2235384 w 3892734"/>
              <a:gd name="connsiteY26" fmla="*/ 1168400 h 2254250"/>
              <a:gd name="connsiteX27" fmla="*/ 2292534 w 3892734"/>
              <a:gd name="connsiteY27" fmla="*/ 1016000 h 2254250"/>
              <a:gd name="connsiteX28" fmla="*/ 2368734 w 3892734"/>
              <a:gd name="connsiteY28" fmla="*/ 876300 h 2254250"/>
              <a:gd name="connsiteX29" fmla="*/ 2425884 w 3892734"/>
              <a:gd name="connsiteY29" fmla="*/ 787400 h 2254250"/>
              <a:gd name="connsiteX30" fmla="*/ 2476684 w 3892734"/>
              <a:gd name="connsiteY30" fmla="*/ 749300 h 2254250"/>
              <a:gd name="connsiteX31" fmla="*/ 2546534 w 3892734"/>
              <a:gd name="connsiteY31" fmla="*/ 736600 h 2254250"/>
              <a:gd name="connsiteX32" fmla="*/ 2654484 w 3892734"/>
              <a:gd name="connsiteY32" fmla="*/ 781050 h 2254250"/>
              <a:gd name="connsiteX33" fmla="*/ 2756084 w 3892734"/>
              <a:gd name="connsiteY33" fmla="*/ 838200 h 2254250"/>
              <a:gd name="connsiteX34" fmla="*/ 2851334 w 3892734"/>
              <a:gd name="connsiteY34" fmla="*/ 901700 h 2254250"/>
              <a:gd name="connsiteX35" fmla="*/ 2997384 w 3892734"/>
              <a:gd name="connsiteY35" fmla="*/ 920750 h 2254250"/>
              <a:gd name="connsiteX36" fmla="*/ 3175184 w 3892734"/>
              <a:gd name="connsiteY36" fmla="*/ 895350 h 2254250"/>
              <a:gd name="connsiteX37" fmla="*/ 3295834 w 3892734"/>
              <a:gd name="connsiteY37" fmla="*/ 774700 h 2254250"/>
              <a:gd name="connsiteX38" fmla="*/ 3391084 w 3892734"/>
              <a:gd name="connsiteY38" fmla="*/ 628650 h 2254250"/>
              <a:gd name="connsiteX39" fmla="*/ 3486334 w 3892734"/>
              <a:gd name="connsiteY39" fmla="*/ 495300 h 2254250"/>
              <a:gd name="connsiteX40" fmla="*/ 3594284 w 3892734"/>
              <a:gd name="connsiteY40" fmla="*/ 412750 h 2254250"/>
              <a:gd name="connsiteX41" fmla="*/ 3714934 w 3892734"/>
              <a:gd name="connsiteY41" fmla="*/ 406400 h 2254250"/>
              <a:gd name="connsiteX42" fmla="*/ 3892734 w 3892734"/>
              <a:gd name="connsiteY42" fmla="*/ 412750 h 2254250"/>
              <a:gd name="connsiteX43" fmla="*/ 3892734 w 3892734"/>
              <a:gd name="connsiteY43" fmla="*/ 755650 h 2254250"/>
              <a:gd name="connsiteX44" fmla="*/ 3708584 w 3892734"/>
              <a:gd name="connsiteY44" fmla="*/ 958850 h 2254250"/>
              <a:gd name="connsiteX45" fmla="*/ 3568884 w 3892734"/>
              <a:gd name="connsiteY45" fmla="*/ 1098550 h 2254250"/>
              <a:gd name="connsiteX46" fmla="*/ 3499034 w 3892734"/>
              <a:gd name="connsiteY46" fmla="*/ 1155700 h 2254250"/>
              <a:gd name="connsiteX47" fmla="*/ 3340284 w 3892734"/>
              <a:gd name="connsiteY47" fmla="*/ 1155700 h 2254250"/>
              <a:gd name="connsiteX48" fmla="*/ 3219634 w 3892734"/>
              <a:gd name="connsiteY48" fmla="*/ 1181100 h 2254250"/>
              <a:gd name="connsiteX49" fmla="*/ 3111684 w 3892734"/>
              <a:gd name="connsiteY49" fmla="*/ 1295400 h 2254250"/>
              <a:gd name="connsiteX50" fmla="*/ 2952934 w 3892734"/>
              <a:gd name="connsiteY50" fmla="*/ 1587500 h 2254250"/>
              <a:gd name="connsiteX51" fmla="*/ 2813234 w 3892734"/>
              <a:gd name="connsiteY51" fmla="*/ 1847850 h 2254250"/>
              <a:gd name="connsiteX52" fmla="*/ 2629084 w 3892734"/>
              <a:gd name="connsiteY52" fmla="*/ 2127250 h 2254250"/>
              <a:gd name="connsiteX53" fmla="*/ 2463984 w 3892734"/>
              <a:gd name="connsiteY53" fmla="*/ 2228850 h 2254250"/>
              <a:gd name="connsiteX54" fmla="*/ 2356034 w 3892734"/>
              <a:gd name="connsiteY54" fmla="*/ 2254250 h 2254250"/>
              <a:gd name="connsiteX55" fmla="*/ 2057584 w 3892734"/>
              <a:gd name="connsiteY55" fmla="*/ 2178050 h 2254250"/>
              <a:gd name="connsiteX56" fmla="*/ 1822634 w 3892734"/>
              <a:gd name="connsiteY56" fmla="*/ 2070100 h 2254250"/>
              <a:gd name="connsiteX57" fmla="*/ 1651184 w 3892734"/>
              <a:gd name="connsiteY57" fmla="*/ 1917700 h 2254250"/>
              <a:gd name="connsiteX58" fmla="*/ 1574984 w 3892734"/>
              <a:gd name="connsiteY58" fmla="*/ 1797050 h 2254250"/>
              <a:gd name="connsiteX59" fmla="*/ 1492434 w 3892734"/>
              <a:gd name="connsiteY59" fmla="*/ 1720850 h 2254250"/>
              <a:gd name="connsiteX60" fmla="*/ 1422584 w 3892734"/>
              <a:gd name="connsiteY60" fmla="*/ 1720850 h 2254250"/>
              <a:gd name="connsiteX61" fmla="*/ 1352734 w 3892734"/>
              <a:gd name="connsiteY61" fmla="*/ 1778000 h 2254250"/>
              <a:gd name="connsiteX62" fmla="*/ 1578160 w 3892734"/>
              <a:gd name="connsiteY62" fmla="*/ 1426137 h 2254250"/>
              <a:gd name="connsiteX63" fmla="*/ 1433697 w 3892734"/>
              <a:gd name="connsiteY63" fmla="*/ 1317171 h 2254250"/>
              <a:gd name="connsiteX64" fmla="*/ 1101909 w 3892734"/>
              <a:gd name="connsiteY64" fmla="*/ 1573782 h 2254250"/>
              <a:gd name="connsiteX65" fmla="*/ 895535 w 3892734"/>
              <a:gd name="connsiteY65" fmla="*/ 1609913 h 2254250"/>
              <a:gd name="connsiteX66" fmla="*/ 743134 w 3892734"/>
              <a:gd name="connsiteY66" fmla="*/ 1587266 h 2254250"/>
              <a:gd name="connsiteX67" fmla="*/ 538346 w 3892734"/>
              <a:gd name="connsiteY67" fmla="*/ 1642309 h 2254250"/>
              <a:gd name="connsiteX68" fmla="*/ 358959 w 3892734"/>
              <a:gd name="connsiteY68" fmla="*/ 1593072 h 2254250"/>
              <a:gd name="connsiteX69" fmla="*/ 12884 w 3892734"/>
              <a:gd name="connsiteY69" fmla="*/ 1221921 h 2254250"/>
              <a:gd name="connsiteX70" fmla="*/ 184 w 3892734"/>
              <a:gd name="connsiteY70" fmla="*/ 0 h 2254250"/>
              <a:gd name="connsiteX0" fmla="*/ 184 w 3892734"/>
              <a:gd name="connsiteY0" fmla="*/ 0 h 2254250"/>
              <a:gd name="connsiteX1" fmla="*/ 266884 w 3892734"/>
              <a:gd name="connsiteY1" fmla="*/ 1162050 h 2254250"/>
              <a:gd name="connsiteX2" fmla="*/ 317684 w 3892734"/>
              <a:gd name="connsiteY2" fmla="*/ 1308100 h 2254250"/>
              <a:gd name="connsiteX3" fmla="*/ 362134 w 3892734"/>
              <a:gd name="connsiteY3" fmla="*/ 1371600 h 2254250"/>
              <a:gd name="connsiteX4" fmla="*/ 412934 w 3892734"/>
              <a:gd name="connsiteY4" fmla="*/ 1314450 h 2254250"/>
              <a:gd name="connsiteX5" fmla="*/ 514534 w 3892734"/>
              <a:gd name="connsiteY5" fmla="*/ 996950 h 2254250"/>
              <a:gd name="connsiteX6" fmla="*/ 584384 w 3892734"/>
              <a:gd name="connsiteY6" fmla="*/ 641350 h 2254250"/>
              <a:gd name="connsiteX7" fmla="*/ 641534 w 3892734"/>
              <a:gd name="connsiteY7" fmla="*/ 444500 h 2254250"/>
              <a:gd name="connsiteX8" fmla="*/ 692334 w 3892734"/>
              <a:gd name="connsiteY8" fmla="*/ 330200 h 2254250"/>
              <a:gd name="connsiteX9" fmla="*/ 724084 w 3892734"/>
              <a:gd name="connsiteY9" fmla="*/ 279400 h 2254250"/>
              <a:gd name="connsiteX10" fmla="*/ 806634 w 3892734"/>
              <a:gd name="connsiteY10" fmla="*/ 298450 h 2254250"/>
              <a:gd name="connsiteX11" fmla="*/ 927284 w 3892734"/>
              <a:gd name="connsiteY11" fmla="*/ 495300 h 2254250"/>
              <a:gd name="connsiteX12" fmla="*/ 978084 w 3892734"/>
              <a:gd name="connsiteY12" fmla="*/ 622300 h 2254250"/>
              <a:gd name="connsiteX13" fmla="*/ 1060634 w 3892734"/>
              <a:gd name="connsiteY13" fmla="*/ 666750 h 2254250"/>
              <a:gd name="connsiteX14" fmla="*/ 1136834 w 3892734"/>
              <a:gd name="connsiteY14" fmla="*/ 622300 h 2254250"/>
              <a:gd name="connsiteX15" fmla="*/ 1225734 w 3892734"/>
              <a:gd name="connsiteY15" fmla="*/ 495300 h 2254250"/>
              <a:gd name="connsiteX16" fmla="*/ 1289234 w 3892734"/>
              <a:gd name="connsiteY16" fmla="*/ 355600 h 2254250"/>
              <a:gd name="connsiteX17" fmla="*/ 1352734 w 3892734"/>
              <a:gd name="connsiteY17" fmla="*/ 292100 h 2254250"/>
              <a:gd name="connsiteX18" fmla="*/ 1397184 w 3892734"/>
              <a:gd name="connsiteY18" fmla="*/ 254000 h 2254250"/>
              <a:gd name="connsiteX19" fmla="*/ 1486084 w 3892734"/>
              <a:gd name="connsiteY19" fmla="*/ 285750 h 2254250"/>
              <a:gd name="connsiteX20" fmla="*/ 1581334 w 3892734"/>
              <a:gd name="connsiteY20" fmla="*/ 438150 h 2254250"/>
              <a:gd name="connsiteX21" fmla="*/ 1670234 w 3892734"/>
              <a:gd name="connsiteY21" fmla="*/ 654050 h 2254250"/>
              <a:gd name="connsiteX22" fmla="*/ 1905184 w 3892734"/>
              <a:gd name="connsiteY22" fmla="*/ 1066800 h 2254250"/>
              <a:gd name="connsiteX23" fmla="*/ 2006784 w 3892734"/>
              <a:gd name="connsiteY23" fmla="*/ 1212850 h 2254250"/>
              <a:gd name="connsiteX24" fmla="*/ 2082984 w 3892734"/>
              <a:gd name="connsiteY24" fmla="*/ 1295400 h 2254250"/>
              <a:gd name="connsiteX25" fmla="*/ 2190934 w 3892734"/>
              <a:gd name="connsiteY25" fmla="*/ 1263650 h 2254250"/>
              <a:gd name="connsiteX26" fmla="*/ 2235384 w 3892734"/>
              <a:gd name="connsiteY26" fmla="*/ 1168400 h 2254250"/>
              <a:gd name="connsiteX27" fmla="*/ 2292534 w 3892734"/>
              <a:gd name="connsiteY27" fmla="*/ 1016000 h 2254250"/>
              <a:gd name="connsiteX28" fmla="*/ 2368734 w 3892734"/>
              <a:gd name="connsiteY28" fmla="*/ 876300 h 2254250"/>
              <a:gd name="connsiteX29" fmla="*/ 2425884 w 3892734"/>
              <a:gd name="connsiteY29" fmla="*/ 787400 h 2254250"/>
              <a:gd name="connsiteX30" fmla="*/ 2476684 w 3892734"/>
              <a:gd name="connsiteY30" fmla="*/ 749300 h 2254250"/>
              <a:gd name="connsiteX31" fmla="*/ 2546534 w 3892734"/>
              <a:gd name="connsiteY31" fmla="*/ 736600 h 2254250"/>
              <a:gd name="connsiteX32" fmla="*/ 2654484 w 3892734"/>
              <a:gd name="connsiteY32" fmla="*/ 781050 h 2254250"/>
              <a:gd name="connsiteX33" fmla="*/ 2756084 w 3892734"/>
              <a:gd name="connsiteY33" fmla="*/ 838200 h 2254250"/>
              <a:gd name="connsiteX34" fmla="*/ 2851334 w 3892734"/>
              <a:gd name="connsiteY34" fmla="*/ 901700 h 2254250"/>
              <a:gd name="connsiteX35" fmla="*/ 2997384 w 3892734"/>
              <a:gd name="connsiteY35" fmla="*/ 920750 h 2254250"/>
              <a:gd name="connsiteX36" fmla="*/ 3175184 w 3892734"/>
              <a:gd name="connsiteY36" fmla="*/ 895350 h 2254250"/>
              <a:gd name="connsiteX37" fmla="*/ 3295834 w 3892734"/>
              <a:gd name="connsiteY37" fmla="*/ 774700 h 2254250"/>
              <a:gd name="connsiteX38" fmla="*/ 3391084 w 3892734"/>
              <a:gd name="connsiteY38" fmla="*/ 628650 h 2254250"/>
              <a:gd name="connsiteX39" fmla="*/ 3486334 w 3892734"/>
              <a:gd name="connsiteY39" fmla="*/ 495300 h 2254250"/>
              <a:gd name="connsiteX40" fmla="*/ 3594284 w 3892734"/>
              <a:gd name="connsiteY40" fmla="*/ 412750 h 2254250"/>
              <a:gd name="connsiteX41" fmla="*/ 3714934 w 3892734"/>
              <a:gd name="connsiteY41" fmla="*/ 406400 h 2254250"/>
              <a:gd name="connsiteX42" fmla="*/ 3892734 w 3892734"/>
              <a:gd name="connsiteY42" fmla="*/ 412750 h 2254250"/>
              <a:gd name="connsiteX43" fmla="*/ 3892734 w 3892734"/>
              <a:gd name="connsiteY43" fmla="*/ 755650 h 2254250"/>
              <a:gd name="connsiteX44" fmla="*/ 3708584 w 3892734"/>
              <a:gd name="connsiteY44" fmla="*/ 958850 h 2254250"/>
              <a:gd name="connsiteX45" fmla="*/ 3568884 w 3892734"/>
              <a:gd name="connsiteY45" fmla="*/ 1098550 h 2254250"/>
              <a:gd name="connsiteX46" fmla="*/ 3499034 w 3892734"/>
              <a:gd name="connsiteY46" fmla="*/ 1155700 h 2254250"/>
              <a:gd name="connsiteX47" fmla="*/ 3340284 w 3892734"/>
              <a:gd name="connsiteY47" fmla="*/ 1155700 h 2254250"/>
              <a:gd name="connsiteX48" fmla="*/ 3219634 w 3892734"/>
              <a:gd name="connsiteY48" fmla="*/ 1181100 h 2254250"/>
              <a:gd name="connsiteX49" fmla="*/ 3111684 w 3892734"/>
              <a:gd name="connsiteY49" fmla="*/ 1295400 h 2254250"/>
              <a:gd name="connsiteX50" fmla="*/ 2952934 w 3892734"/>
              <a:gd name="connsiteY50" fmla="*/ 1587500 h 2254250"/>
              <a:gd name="connsiteX51" fmla="*/ 2813234 w 3892734"/>
              <a:gd name="connsiteY51" fmla="*/ 1847850 h 2254250"/>
              <a:gd name="connsiteX52" fmla="*/ 2629084 w 3892734"/>
              <a:gd name="connsiteY52" fmla="*/ 2127250 h 2254250"/>
              <a:gd name="connsiteX53" fmla="*/ 2463984 w 3892734"/>
              <a:gd name="connsiteY53" fmla="*/ 2228850 h 2254250"/>
              <a:gd name="connsiteX54" fmla="*/ 2356034 w 3892734"/>
              <a:gd name="connsiteY54" fmla="*/ 2254250 h 2254250"/>
              <a:gd name="connsiteX55" fmla="*/ 2057584 w 3892734"/>
              <a:gd name="connsiteY55" fmla="*/ 2178050 h 2254250"/>
              <a:gd name="connsiteX56" fmla="*/ 1822634 w 3892734"/>
              <a:gd name="connsiteY56" fmla="*/ 2070100 h 2254250"/>
              <a:gd name="connsiteX57" fmla="*/ 1651184 w 3892734"/>
              <a:gd name="connsiteY57" fmla="*/ 1917700 h 2254250"/>
              <a:gd name="connsiteX58" fmla="*/ 1574984 w 3892734"/>
              <a:gd name="connsiteY58" fmla="*/ 1797050 h 2254250"/>
              <a:gd name="connsiteX59" fmla="*/ 1492434 w 3892734"/>
              <a:gd name="connsiteY59" fmla="*/ 1720850 h 2254250"/>
              <a:gd name="connsiteX60" fmla="*/ 1422584 w 3892734"/>
              <a:gd name="connsiteY60" fmla="*/ 1720850 h 2254250"/>
              <a:gd name="connsiteX61" fmla="*/ 1695634 w 3892734"/>
              <a:gd name="connsiteY61" fmla="*/ 1606381 h 2254250"/>
              <a:gd name="connsiteX62" fmla="*/ 1578160 w 3892734"/>
              <a:gd name="connsiteY62" fmla="*/ 1426137 h 2254250"/>
              <a:gd name="connsiteX63" fmla="*/ 1433697 w 3892734"/>
              <a:gd name="connsiteY63" fmla="*/ 1317171 h 2254250"/>
              <a:gd name="connsiteX64" fmla="*/ 1101909 w 3892734"/>
              <a:gd name="connsiteY64" fmla="*/ 1573782 h 2254250"/>
              <a:gd name="connsiteX65" fmla="*/ 895535 w 3892734"/>
              <a:gd name="connsiteY65" fmla="*/ 1609913 h 2254250"/>
              <a:gd name="connsiteX66" fmla="*/ 743134 w 3892734"/>
              <a:gd name="connsiteY66" fmla="*/ 1587266 h 2254250"/>
              <a:gd name="connsiteX67" fmla="*/ 538346 w 3892734"/>
              <a:gd name="connsiteY67" fmla="*/ 1642309 h 2254250"/>
              <a:gd name="connsiteX68" fmla="*/ 358959 w 3892734"/>
              <a:gd name="connsiteY68" fmla="*/ 1593072 h 2254250"/>
              <a:gd name="connsiteX69" fmla="*/ 12884 w 3892734"/>
              <a:gd name="connsiteY69" fmla="*/ 1221921 h 2254250"/>
              <a:gd name="connsiteX70" fmla="*/ 184 w 3892734"/>
              <a:gd name="connsiteY70" fmla="*/ 0 h 2254250"/>
              <a:gd name="connsiteX0" fmla="*/ 184 w 3892734"/>
              <a:gd name="connsiteY0" fmla="*/ 0 h 2254250"/>
              <a:gd name="connsiteX1" fmla="*/ 266884 w 3892734"/>
              <a:gd name="connsiteY1" fmla="*/ 1162050 h 2254250"/>
              <a:gd name="connsiteX2" fmla="*/ 317684 w 3892734"/>
              <a:gd name="connsiteY2" fmla="*/ 1308100 h 2254250"/>
              <a:gd name="connsiteX3" fmla="*/ 362134 w 3892734"/>
              <a:gd name="connsiteY3" fmla="*/ 1371600 h 2254250"/>
              <a:gd name="connsiteX4" fmla="*/ 412934 w 3892734"/>
              <a:gd name="connsiteY4" fmla="*/ 1314450 h 2254250"/>
              <a:gd name="connsiteX5" fmla="*/ 514534 w 3892734"/>
              <a:gd name="connsiteY5" fmla="*/ 996950 h 2254250"/>
              <a:gd name="connsiteX6" fmla="*/ 584384 w 3892734"/>
              <a:gd name="connsiteY6" fmla="*/ 641350 h 2254250"/>
              <a:gd name="connsiteX7" fmla="*/ 641534 w 3892734"/>
              <a:gd name="connsiteY7" fmla="*/ 444500 h 2254250"/>
              <a:gd name="connsiteX8" fmla="*/ 692334 w 3892734"/>
              <a:gd name="connsiteY8" fmla="*/ 330200 h 2254250"/>
              <a:gd name="connsiteX9" fmla="*/ 724084 w 3892734"/>
              <a:gd name="connsiteY9" fmla="*/ 279400 h 2254250"/>
              <a:gd name="connsiteX10" fmla="*/ 806634 w 3892734"/>
              <a:gd name="connsiteY10" fmla="*/ 298450 h 2254250"/>
              <a:gd name="connsiteX11" fmla="*/ 927284 w 3892734"/>
              <a:gd name="connsiteY11" fmla="*/ 495300 h 2254250"/>
              <a:gd name="connsiteX12" fmla="*/ 978084 w 3892734"/>
              <a:gd name="connsiteY12" fmla="*/ 622300 h 2254250"/>
              <a:gd name="connsiteX13" fmla="*/ 1060634 w 3892734"/>
              <a:gd name="connsiteY13" fmla="*/ 666750 h 2254250"/>
              <a:gd name="connsiteX14" fmla="*/ 1136834 w 3892734"/>
              <a:gd name="connsiteY14" fmla="*/ 622300 h 2254250"/>
              <a:gd name="connsiteX15" fmla="*/ 1225734 w 3892734"/>
              <a:gd name="connsiteY15" fmla="*/ 495300 h 2254250"/>
              <a:gd name="connsiteX16" fmla="*/ 1289234 w 3892734"/>
              <a:gd name="connsiteY16" fmla="*/ 355600 h 2254250"/>
              <a:gd name="connsiteX17" fmla="*/ 1352734 w 3892734"/>
              <a:gd name="connsiteY17" fmla="*/ 292100 h 2254250"/>
              <a:gd name="connsiteX18" fmla="*/ 1397184 w 3892734"/>
              <a:gd name="connsiteY18" fmla="*/ 254000 h 2254250"/>
              <a:gd name="connsiteX19" fmla="*/ 1486084 w 3892734"/>
              <a:gd name="connsiteY19" fmla="*/ 285750 h 2254250"/>
              <a:gd name="connsiteX20" fmla="*/ 1581334 w 3892734"/>
              <a:gd name="connsiteY20" fmla="*/ 438150 h 2254250"/>
              <a:gd name="connsiteX21" fmla="*/ 1670234 w 3892734"/>
              <a:gd name="connsiteY21" fmla="*/ 654050 h 2254250"/>
              <a:gd name="connsiteX22" fmla="*/ 1905184 w 3892734"/>
              <a:gd name="connsiteY22" fmla="*/ 1066800 h 2254250"/>
              <a:gd name="connsiteX23" fmla="*/ 2006784 w 3892734"/>
              <a:gd name="connsiteY23" fmla="*/ 1212850 h 2254250"/>
              <a:gd name="connsiteX24" fmla="*/ 2082984 w 3892734"/>
              <a:gd name="connsiteY24" fmla="*/ 1295400 h 2254250"/>
              <a:gd name="connsiteX25" fmla="*/ 2190934 w 3892734"/>
              <a:gd name="connsiteY25" fmla="*/ 1263650 h 2254250"/>
              <a:gd name="connsiteX26" fmla="*/ 2235384 w 3892734"/>
              <a:gd name="connsiteY26" fmla="*/ 1168400 h 2254250"/>
              <a:gd name="connsiteX27" fmla="*/ 2292534 w 3892734"/>
              <a:gd name="connsiteY27" fmla="*/ 1016000 h 2254250"/>
              <a:gd name="connsiteX28" fmla="*/ 2368734 w 3892734"/>
              <a:gd name="connsiteY28" fmla="*/ 876300 h 2254250"/>
              <a:gd name="connsiteX29" fmla="*/ 2425884 w 3892734"/>
              <a:gd name="connsiteY29" fmla="*/ 787400 h 2254250"/>
              <a:gd name="connsiteX30" fmla="*/ 2476684 w 3892734"/>
              <a:gd name="connsiteY30" fmla="*/ 749300 h 2254250"/>
              <a:gd name="connsiteX31" fmla="*/ 2546534 w 3892734"/>
              <a:gd name="connsiteY31" fmla="*/ 736600 h 2254250"/>
              <a:gd name="connsiteX32" fmla="*/ 2654484 w 3892734"/>
              <a:gd name="connsiteY32" fmla="*/ 781050 h 2254250"/>
              <a:gd name="connsiteX33" fmla="*/ 2756084 w 3892734"/>
              <a:gd name="connsiteY33" fmla="*/ 838200 h 2254250"/>
              <a:gd name="connsiteX34" fmla="*/ 2851334 w 3892734"/>
              <a:gd name="connsiteY34" fmla="*/ 901700 h 2254250"/>
              <a:gd name="connsiteX35" fmla="*/ 2997384 w 3892734"/>
              <a:gd name="connsiteY35" fmla="*/ 920750 h 2254250"/>
              <a:gd name="connsiteX36" fmla="*/ 3175184 w 3892734"/>
              <a:gd name="connsiteY36" fmla="*/ 895350 h 2254250"/>
              <a:gd name="connsiteX37" fmla="*/ 3295834 w 3892734"/>
              <a:gd name="connsiteY37" fmla="*/ 774700 h 2254250"/>
              <a:gd name="connsiteX38" fmla="*/ 3391084 w 3892734"/>
              <a:gd name="connsiteY38" fmla="*/ 628650 h 2254250"/>
              <a:gd name="connsiteX39" fmla="*/ 3486334 w 3892734"/>
              <a:gd name="connsiteY39" fmla="*/ 495300 h 2254250"/>
              <a:gd name="connsiteX40" fmla="*/ 3594284 w 3892734"/>
              <a:gd name="connsiteY40" fmla="*/ 412750 h 2254250"/>
              <a:gd name="connsiteX41" fmla="*/ 3714934 w 3892734"/>
              <a:gd name="connsiteY41" fmla="*/ 406400 h 2254250"/>
              <a:gd name="connsiteX42" fmla="*/ 3892734 w 3892734"/>
              <a:gd name="connsiteY42" fmla="*/ 412750 h 2254250"/>
              <a:gd name="connsiteX43" fmla="*/ 3892734 w 3892734"/>
              <a:gd name="connsiteY43" fmla="*/ 755650 h 2254250"/>
              <a:gd name="connsiteX44" fmla="*/ 3708584 w 3892734"/>
              <a:gd name="connsiteY44" fmla="*/ 958850 h 2254250"/>
              <a:gd name="connsiteX45" fmla="*/ 3568884 w 3892734"/>
              <a:gd name="connsiteY45" fmla="*/ 1098550 h 2254250"/>
              <a:gd name="connsiteX46" fmla="*/ 3499034 w 3892734"/>
              <a:gd name="connsiteY46" fmla="*/ 1155700 h 2254250"/>
              <a:gd name="connsiteX47" fmla="*/ 3340284 w 3892734"/>
              <a:gd name="connsiteY47" fmla="*/ 1155700 h 2254250"/>
              <a:gd name="connsiteX48" fmla="*/ 3219634 w 3892734"/>
              <a:gd name="connsiteY48" fmla="*/ 1181100 h 2254250"/>
              <a:gd name="connsiteX49" fmla="*/ 3111684 w 3892734"/>
              <a:gd name="connsiteY49" fmla="*/ 1295400 h 2254250"/>
              <a:gd name="connsiteX50" fmla="*/ 2952934 w 3892734"/>
              <a:gd name="connsiteY50" fmla="*/ 1587500 h 2254250"/>
              <a:gd name="connsiteX51" fmla="*/ 2813234 w 3892734"/>
              <a:gd name="connsiteY51" fmla="*/ 1847850 h 2254250"/>
              <a:gd name="connsiteX52" fmla="*/ 2629084 w 3892734"/>
              <a:gd name="connsiteY52" fmla="*/ 2127250 h 2254250"/>
              <a:gd name="connsiteX53" fmla="*/ 2463984 w 3892734"/>
              <a:gd name="connsiteY53" fmla="*/ 2228850 h 2254250"/>
              <a:gd name="connsiteX54" fmla="*/ 2356034 w 3892734"/>
              <a:gd name="connsiteY54" fmla="*/ 2254250 h 2254250"/>
              <a:gd name="connsiteX55" fmla="*/ 2057584 w 3892734"/>
              <a:gd name="connsiteY55" fmla="*/ 2178050 h 2254250"/>
              <a:gd name="connsiteX56" fmla="*/ 1822634 w 3892734"/>
              <a:gd name="connsiteY56" fmla="*/ 2070100 h 2254250"/>
              <a:gd name="connsiteX57" fmla="*/ 1651184 w 3892734"/>
              <a:gd name="connsiteY57" fmla="*/ 1917700 h 2254250"/>
              <a:gd name="connsiteX58" fmla="*/ 1574984 w 3892734"/>
              <a:gd name="connsiteY58" fmla="*/ 1797050 h 2254250"/>
              <a:gd name="connsiteX59" fmla="*/ 1492434 w 3892734"/>
              <a:gd name="connsiteY59" fmla="*/ 1720850 h 2254250"/>
              <a:gd name="connsiteX60" fmla="*/ 1422584 w 3892734"/>
              <a:gd name="connsiteY60" fmla="*/ 1720850 h 2254250"/>
              <a:gd name="connsiteX61" fmla="*/ 1781359 w 3892734"/>
              <a:gd name="connsiteY61" fmla="*/ 1565734 h 2254250"/>
              <a:gd name="connsiteX62" fmla="*/ 1578160 w 3892734"/>
              <a:gd name="connsiteY62" fmla="*/ 1426137 h 2254250"/>
              <a:gd name="connsiteX63" fmla="*/ 1433697 w 3892734"/>
              <a:gd name="connsiteY63" fmla="*/ 1317171 h 2254250"/>
              <a:gd name="connsiteX64" fmla="*/ 1101909 w 3892734"/>
              <a:gd name="connsiteY64" fmla="*/ 1573782 h 2254250"/>
              <a:gd name="connsiteX65" fmla="*/ 895535 w 3892734"/>
              <a:gd name="connsiteY65" fmla="*/ 1609913 h 2254250"/>
              <a:gd name="connsiteX66" fmla="*/ 743134 w 3892734"/>
              <a:gd name="connsiteY66" fmla="*/ 1587266 h 2254250"/>
              <a:gd name="connsiteX67" fmla="*/ 538346 w 3892734"/>
              <a:gd name="connsiteY67" fmla="*/ 1642309 h 2254250"/>
              <a:gd name="connsiteX68" fmla="*/ 358959 w 3892734"/>
              <a:gd name="connsiteY68" fmla="*/ 1593072 h 2254250"/>
              <a:gd name="connsiteX69" fmla="*/ 12884 w 3892734"/>
              <a:gd name="connsiteY69" fmla="*/ 1221921 h 2254250"/>
              <a:gd name="connsiteX70" fmla="*/ 184 w 3892734"/>
              <a:gd name="connsiteY70" fmla="*/ 0 h 2254250"/>
              <a:gd name="connsiteX0" fmla="*/ 184 w 3892734"/>
              <a:gd name="connsiteY0" fmla="*/ 0 h 2254250"/>
              <a:gd name="connsiteX1" fmla="*/ 266884 w 3892734"/>
              <a:gd name="connsiteY1" fmla="*/ 1162050 h 2254250"/>
              <a:gd name="connsiteX2" fmla="*/ 317684 w 3892734"/>
              <a:gd name="connsiteY2" fmla="*/ 1308100 h 2254250"/>
              <a:gd name="connsiteX3" fmla="*/ 362134 w 3892734"/>
              <a:gd name="connsiteY3" fmla="*/ 1371600 h 2254250"/>
              <a:gd name="connsiteX4" fmla="*/ 412934 w 3892734"/>
              <a:gd name="connsiteY4" fmla="*/ 1314450 h 2254250"/>
              <a:gd name="connsiteX5" fmla="*/ 514534 w 3892734"/>
              <a:gd name="connsiteY5" fmla="*/ 996950 h 2254250"/>
              <a:gd name="connsiteX6" fmla="*/ 584384 w 3892734"/>
              <a:gd name="connsiteY6" fmla="*/ 641350 h 2254250"/>
              <a:gd name="connsiteX7" fmla="*/ 641534 w 3892734"/>
              <a:gd name="connsiteY7" fmla="*/ 444500 h 2254250"/>
              <a:gd name="connsiteX8" fmla="*/ 692334 w 3892734"/>
              <a:gd name="connsiteY8" fmla="*/ 330200 h 2254250"/>
              <a:gd name="connsiteX9" fmla="*/ 724084 w 3892734"/>
              <a:gd name="connsiteY9" fmla="*/ 279400 h 2254250"/>
              <a:gd name="connsiteX10" fmla="*/ 806634 w 3892734"/>
              <a:gd name="connsiteY10" fmla="*/ 298450 h 2254250"/>
              <a:gd name="connsiteX11" fmla="*/ 927284 w 3892734"/>
              <a:gd name="connsiteY11" fmla="*/ 495300 h 2254250"/>
              <a:gd name="connsiteX12" fmla="*/ 978084 w 3892734"/>
              <a:gd name="connsiteY12" fmla="*/ 622300 h 2254250"/>
              <a:gd name="connsiteX13" fmla="*/ 1060634 w 3892734"/>
              <a:gd name="connsiteY13" fmla="*/ 666750 h 2254250"/>
              <a:gd name="connsiteX14" fmla="*/ 1136834 w 3892734"/>
              <a:gd name="connsiteY14" fmla="*/ 622300 h 2254250"/>
              <a:gd name="connsiteX15" fmla="*/ 1225734 w 3892734"/>
              <a:gd name="connsiteY15" fmla="*/ 495300 h 2254250"/>
              <a:gd name="connsiteX16" fmla="*/ 1289234 w 3892734"/>
              <a:gd name="connsiteY16" fmla="*/ 355600 h 2254250"/>
              <a:gd name="connsiteX17" fmla="*/ 1352734 w 3892734"/>
              <a:gd name="connsiteY17" fmla="*/ 292100 h 2254250"/>
              <a:gd name="connsiteX18" fmla="*/ 1397184 w 3892734"/>
              <a:gd name="connsiteY18" fmla="*/ 254000 h 2254250"/>
              <a:gd name="connsiteX19" fmla="*/ 1486084 w 3892734"/>
              <a:gd name="connsiteY19" fmla="*/ 285750 h 2254250"/>
              <a:gd name="connsiteX20" fmla="*/ 1581334 w 3892734"/>
              <a:gd name="connsiteY20" fmla="*/ 438150 h 2254250"/>
              <a:gd name="connsiteX21" fmla="*/ 1670234 w 3892734"/>
              <a:gd name="connsiteY21" fmla="*/ 654050 h 2254250"/>
              <a:gd name="connsiteX22" fmla="*/ 1905184 w 3892734"/>
              <a:gd name="connsiteY22" fmla="*/ 1066800 h 2254250"/>
              <a:gd name="connsiteX23" fmla="*/ 2006784 w 3892734"/>
              <a:gd name="connsiteY23" fmla="*/ 1212850 h 2254250"/>
              <a:gd name="connsiteX24" fmla="*/ 2082984 w 3892734"/>
              <a:gd name="connsiteY24" fmla="*/ 1295400 h 2254250"/>
              <a:gd name="connsiteX25" fmla="*/ 2190934 w 3892734"/>
              <a:gd name="connsiteY25" fmla="*/ 1263650 h 2254250"/>
              <a:gd name="connsiteX26" fmla="*/ 2235384 w 3892734"/>
              <a:gd name="connsiteY26" fmla="*/ 1168400 h 2254250"/>
              <a:gd name="connsiteX27" fmla="*/ 2292534 w 3892734"/>
              <a:gd name="connsiteY27" fmla="*/ 1016000 h 2254250"/>
              <a:gd name="connsiteX28" fmla="*/ 2368734 w 3892734"/>
              <a:gd name="connsiteY28" fmla="*/ 876300 h 2254250"/>
              <a:gd name="connsiteX29" fmla="*/ 2425884 w 3892734"/>
              <a:gd name="connsiteY29" fmla="*/ 787400 h 2254250"/>
              <a:gd name="connsiteX30" fmla="*/ 2476684 w 3892734"/>
              <a:gd name="connsiteY30" fmla="*/ 749300 h 2254250"/>
              <a:gd name="connsiteX31" fmla="*/ 2546534 w 3892734"/>
              <a:gd name="connsiteY31" fmla="*/ 736600 h 2254250"/>
              <a:gd name="connsiteX32" fmla="*/ 2654484 w 3892734"/>
              <a:gd name="connsiteY32" fmla="*/ 781050 h 2254250"/>
              <a:gd name="connsiteX33" fmla="*/ 2756084 w 3892734"/>
              <a:gd name="connsiteY33" fmla="*/ 838200 h 2254250"/>
              <a:gd name="connsiteX34" fmla="*/ 2851334 w 3892734"/>
              <a:gd name="connsiteY34" fmla="*/ 901700 h 2254250"/>
              <a:gd name="connsiteX35" fmla="*/ 2997384 w 3892734"/>
              <a:gd name="connsiteY35" fmla="*/ 920750 h 2254250"/>
              <a:gd name="connsiteX36" fmla="*/ 3175184 w 3892734"/>
              <a:gd name="connsiteY36" fmla="*/ 895350 h 2254250"/>
              <a:gd name="connsiteX37" fmla="*/ 3295834 w 3892734"/>
              <a:gd name="connsiteY37" fmla="*/ 774700 h 2254250"/>
              <a:gd name="connsiteX38" fmla="*/ 3391084 w 3892734"/>
              <a:gd name="connsiteY38" fmla="*/ 628650 h 2254250"/>
              <a:gd name="connsiteX39" fmla="*/ 3486334 w 3892734"/>
              <a:gd name="connsiteY39" fmla="*/ 495300 h 2254250"/>
              <a:gd name="connsiteX40" fmla="*/ 3594284 w 3892734"/>
              <a:gd name="connsiteY40" fmla="*/ 412750 h 2254250"/>
              <a:gd name="connsiteX41" fmla="*/ 3714934 w 3892734"/>
              <a:gd name="connsiteY41" fmla="*/ 406400 h 2254250"/>
              <a:gd name="connsiteX42" fmla="*/ 3892734 w 3892734"/>
              <a:gd name="connsiteY42" fmla="*/ 412750 h 2254250"/>
              <a:gd name="connsiteX43" fmla="*/ 3892734 w 3892734"/>
              <a:gd name="connsiteY43" fmla="*/ 755650 h 2254250"/>
              <a:gd name="connsiteX44" fmla="*/ 3708584 w 3892734"/>
              <a:gd name="connsiteY44" fmla="*/ 958850 h 2254250"/>
              <a:gd name="connsiteX45" fmla="*/ 3568884 w 3892734"/>
              <a:gd name="connsiteY45" fmla="*/ 1098550 h 2254250"/>
              <a:gd name="connsiteX46" fmla="*/ 3499034 w 3892734"/>
              <a:gd name="connsiteY46" fmla="*/ 1155700 h 2254250"/>
              <a:gd name="connsiteX47" fmla="*/ 3340284 w 3892734"/>
              <a:gd name="connsiteY47" fmla="*/ 1155700 h 2254250"/>
              <a:gd name="connsiteX48" fmla="*/ 3219634 w 3892734"/>
              <a:gd name="connsiteY48" fmla="*/ 1181100 h 2254250"/>
              <a:gd name="connsiteX49" fmla="*/ 3111684 w 3892734"/>
              <a:gd name="connsiteY49" fmla="*/ 1295400 h 2254250"/>
              <a:gd name="connsiteX50" fmla="*/ 2952934 w 3892734"/>
              <a:gd name="connsiteY50" fmla="*/ 1587500 h 2254250"/>
              <a:gd name="connsiteX51" fmla="*/ 2813234 w 3892734"/>
              <a:gd name="connsiteY51" fmla="*/ 1847850 h 2254250"/>
              <a:gd name="connsiteX52" fmla="*/ 2629084 w 3892734"/>
              <a:gd name="connsiteY52" fmla="*/ 2127250 h 2254250"/>
              <a:gd name="connsiteX53" fmla="*/ 2463984 w 3892734"/>
              <a:gd name="connsiteY53" fmla="*/ 2228850 h 2254250"/>
              <a:gd name="connsiteX54" fmla="*/ 2356034 w 3892734"/>
              <a:gd name="connsiteY54" fmla="*/ 2254250 h 2254250"/>
              <a:gd name="connsiteX55" fmla="*/ 2057584 w 3892734"/>
              <a:gd name="connsiteY55" fmla="*/ 2178050 h 2254250"/>
              <a:gd name="connsiteX56" fmla="*/ 1822634 w 3892734"/>
              <a:gd name="connsiteY56" fmla="*/ 2070100 h 2254250"/>
              <a:gd name="connsiteX57" fmla="*/ 1651184 w 3892734"/>
              <a:gd name="connsiteY57" fmla="*/ 1917700 h 2254250"/>
              <a:gd name="connsiteX58" fmla="*/ 1574984 w 3892734"/>
              <a:gd name="connsiteY58" fmla="*/ 1797050 h 2254250"/>
              <a:gd name="connsiteX59" fmla="*/ 1492434 w 3892734"/>
              <a:gd name="connsiteY59" fmla="*/ 1720850 h 2254250"/>
              <a:gd name="connsiteX60" fmla="*/ 1422584 w 3892734"/>
              <a:gd name="connsiteY60" fmla="*/ 1720850 h 2254250"/>
              <a:gd name="connsiteX61" fmla="*/ 1719447 w 3892734"/>
              <a:gd name="connsiteY61" fmla="*/ 1606380 h 2254250"/>
              <a:gd name="connsiteX62" fmla="*/ 1578160 w 3892734"/>
              <a:gd name="connsiteY62" fmla="*/ 1426137 h 2254250"/>
              <a:gd name="connsiteX63" fmla="*/ 1433697 w 3892734"/>
              <a:gd name="connsiteY63" fmla="*/ 1317171 h 2254250"/>
              <a:gd name="connsiteX64" fmla="*/ 1101909 w 3892734"/>
              <a:gd name="connsiteY64" fmla="*/ 1573782 h 2254250"/>
              <a:gd name="connsiteX65" fmla="*/ 895535 w 3892734"/>
              <a:gd name="connsiteY65" fmla="*/ 1609913 h 2254250"/>
              <a:gd name="connsiteX66" fmla="*/ 743134 w 3892734"/>
              <a:gd name="connsiteY66" fmla="*/ 1587266 h 2254250"/>
              <a:gd name="connsiteX67" fmla="*/ 538346 w 3892734"/>
              <a:gd name="connsiteY67" fmla="*/ 1642309 h 2254250"/>
              <a:gd name="connsiteX68" fmla="*/ 358959 w 3892734"/>
              <a:gd name="connsiteY68" fmla="*/ 1593072 h 2254250"/>
              <a:gd name="connsiteX69" fmla="*/ 12884 w 3892734"/>
              <a:gd name="connsiteY69" fmla="*/ 1221921 h 2254250"/>
              <a:gd name="connsiteX70" fmla="*/ 184 w 3892734"/>
              <a:gd name="connsiteY70" fmla="*/ 0 h 2254250"/>
              <a:gd name="connsiteX0" fmla="*/ 184 w 3892734"/>
              <a:gd name="connsiteY0" fmla="*/ 0 h 2254250"/>
              <a:gd name="connsiteX1" fmla="*/ 266884 w 3892734"/>
              <a:gd name="connsiteY1" fmla="*/ 1162050 h 2254250"/>
              <a:gd name="connsiteX2" fmla="*/ 317684 w 3892734"/>
              <a:gd name="connsiteY2" fmla="*/ 1308100 h 2254250"/>
              <a:gd name="connsiteX3" fmla="*/ 362134 w 3892734"/>
              <a:gd name="connsiteY3" fmla="*/ 1371600 h 2254250"/>
              <a:gd name="connsiteX4" fmla="*/ 412934 w 3892734"/>
              <a:gd name="connsiteY4" fmla="*/ 1314450 h 2254250"/>
              <a:gd name="connsiteX5" fmla="*/ 514534 w 3892734"/>
              <a:gd name="connsiteY5" fmla="*/ 996950 h 2254250"/>
              <a:gd name="connsiteX6" fmla="*/ 584384 w 3892734"/>
              <a:gd name="connsiteY6" fmla="*/ 641350 h 2254250"/>
              <a:gd name="connsiteX7" fmla="*/ 641534 w 3892734"/>
              <a:gd name="connsiteY7" fmla="*/ 444500 h 2254250"/>
              <a:gd name="connsiteX8" fmla="*/ 692334 w 3892734"/>
              <a:gd name="connsiteY8" fmla="*/ 330200 h 2254250"/>
              <a:gd name="connsiteX9" fmla="*/ 724084 w 3892734"/>
              <a:gd name="connsiteY9" fmla="*/ 279400 h 2254250"/>
              <a:gd name="connsiteX10" fmla="*/ 806634 w 3892734"/>
              <a:gd name="connsiteY10" fmla="*/ 298450 h 2254250"/>
              <a:gd name="connsiteX11" fmla="*/ 927284 w 3892734"/>
              <a:gd name="connsiteY11" fmla="*/ 495300 h 2254250"/>
              <a:gd name="connsiteX12" fmla="*/ 978084 w 3892734"/>
              <a:gd name="connsiteY12" fmla="*/ 622300 h 2254250"/>
              <a:gd name="connsiteX13" fmla="*/ 1060634 w 3892734"/>
              <a:gd name="connsiteY13" fmla="*/ 666750 h 2254250"/>
              <a:gd name="connsiteX14" fmla="*/ 1136834 w 3892734"/>
              <a:gd name="connsiteY14" fmla="*/ 622300 h 2254250"/>
              <a:gd name="connsiteX15" fmla="*/ 1225734 w 3892734"/>
              <a:gd name="connsiteY15" fmla="*/ 495300 h 2254250"/>
              <a:gd name="connsiteX16" fmla="*/ 1289234 w 3892734"/>
              <a:gd name="connsiteY16" fmla="*/ 355600 h 2254250"/>
              <a:gd name="connsiteX17" fmla="*/ 1352734 w 3892734"/>
              <a:gd name="connsiteY17" fmla="*/ 292100 h 2254250"/>
              <a:gd name="connsiteX18" fmla="*/ 1397184 w 3892734"/>
              <a:gd name="connsiteY18" fmla="*/ 254000 h 2254250"/>
              <a:gd name="connsiteX19" fmla="*/ 1486084 w 3892734"/>
              <a:gd name="connsiteY19" fmla="*/ 285750 h 2254250"/>
              <a:gd name="connsiteX20" fmla="*/ 1581334 w 3892734"/>
              <a:gd name="connsiteY20" fmla="*/ 438150 h 2254250"/>
              <a:gd name="connsiteX21" fmla="*/ 1670234 w 3892734"/>
              <a:gd name="connsiteY21" fmla="*/ 654050 h 2254250"/>
              <a:gd name="connsiteX22" fmla="*/ 1905184 w 3892734"/>
              <a:gd name="connsiteY22" fmla="*/ 1066800 h 2254250"/>
              <a:gd name="connsiteX23" fmla="*/ 2006784 w 3892734"/>
              <a:gd name="connsiteY23" fmla="*/ 1212850 h 2254250"/>
              <a:gd name="connsiteX24" fmla="*/ 2082984 w 3892734"/>
              <a:gd name="connsiteY24" fmla="*/ 1295400 h 2254250"/>
              <a:gd name="connsiteX25" fmla="*/ 2190934 w 3892734"/>
              <a:gd name="connsiteY25" fmla="*/ 1263650 h 2254250"/>
              <a:gd name="connsiteX26" fmla="*/ 2235384 w 3892734"/>
              <a:gd name="connsiteY26" fmla="*/ 1168400 h 2254250"/>
              <a:gd name="connsiteX27" fmla="*/ 2292534 w 3892734"/>
              <a:gd name="connsiteY27" fmla="*/ 1016000 h 2254250"/>
              <a:gd name="connsiteX28" fmla="*/ 2368734 w 3892734"/>
              <a:gd name="connsiteY28" fmla="*/ 876300 h 2254250"/>
              <a:gd name="connsiteX29" fmla="*/ 2425884 w 3892734"/>
              <a:gd name="connsiteY29" fmla="*/ 787400 h 2254250"/>
              <a:gd name="connsiteX30" fmla="*/ 2476684 w 3892734"/>
              <a:gd name="connsiteY30" fmla="*/ 749300 h 2254250"/>
              <a:gd name="connsiteX31" fmla="*/ 2546534 w 3892734"/>
              <a:gd name="connsiteY31" fmla="*/ 736600 h 2254250"/>
              <a:gd name="connsiteX32" fmla="*/ 2654484 w 3892734"/>
              <a:gd name="connsiteY32" fmla="*/ 781050 h 2254250"/>
              <a:gd name="connsiteX33" fmla="*/ 2756084 w 3892734"/>
              <a:gd name="connsiteY33" fmla="*/ 838200 h 2254250"/>
              <a:gd name="connsiteX34" fmla="*/ 2851334 w 3892734"/>
              <a:gd name="connsiteY34" fmla="*/ 901700 h 2254250"/>
              <a:gd name="connsiteX35" fmla="*/ 2997384 w 3892734"/>
              <a:gd name="connsiteY35" fmla="*/ 920750 h 2254250"/>
              <a:gd name="connsiteX36" fmla="*/ 3175184 w 3892734"/>
              <a:gd name="connsiteY36" fmla="*/ 895350 h 2254250"/>
              <a:gd name="connsiteX37" fmla="*/ 3295834 w 3892734"/>
              <a:gd name="connsiteY37" fmla="*/ 774700 h 2254250"/>
              <a:gd name="connsiteX38" fmla="*/ 3391084 w 3892734"/>
              <a:gd name="connsiteY38" fmla="*/ 628650 h 2254250"/>
              <a:gd name="connsiteX39" fmla="*/ 3486334 w 3892734"/>
              <a:gd name="connsiteY39" fmla="*/ 495300 h 2254250"/>
              <a:gd name="connsiteX40" fmla="*/ 3594284 w 3892734"/>
              <a:gd name="connsiteY40" fmla="*/ 412750 h 2254250"/>
              <a:gd name="connsiteX41" fmla="*/ 3714934 w 3892734"/>
              <a:gd name="connsiteY41" fmla="*/ 406400 h 2254250"/>
              <a:gd name="connsiteX42" fmla="*/ 3892734 w 3892734"/>
              <a:gd name="connsiteY42" fmla="*/ 412750 h 2254250"/>
              <a:gd name="connsiteX43" fmla="*/ 3892734 w 3892734"/>
              <a:gd name="connsiteY43" fmla="*/ 755650 h 2254250"/>
              <a:gd name="connsiteX44" fmla="*/ 3708584 w 3892734"/>
              <a:gd name="connsiteY44" fmla="*/ 958850 h 2254250"/>
              <a:gd name="connsiteX45" fmla="*/ 3568884 w 3892734"/>
              <a:gd name="connsiteY45" fmla="*/ 1098550 h 2254250"/>
              <a:gd name="connsiteX46" fmla="*/ 3499034 w 3892734"/>
              <a:gd name="connsiteY46" fmla="*/ 1155700 h 2254250"/>
              <a:gd name="connsiteX47" fmla="*/ 3340284 w 3892734"/>
              <a:gd name="connsiteY47" fmla="*/ 1155700 h 2254250"/>
              <a:gd name="connsiteX48" fmla="*/ 3219634 w 3892734"/>
              <a:gd name="connsiteY48" fmla="*/ 1181100 h 2254250"/>
              <a:gd name="connsiteX49" fmla="*/ 3111684 w 3892734"/>
              <a:gd name="connsiteY49" fmla="*/ 1295400 h 2254250"/>
              <a:gd name="connsiteX50" fmla="*/ 2952934 w 3892734"/>
              <a:gd name="connsiteY50" fmla="*/ 1587500 h 2254250"/>
              <a:gd name="connsiteX51" fmla="*/ 2813234 w 3892734"/>
              <a:gd name="connsiteY51" fmla="*/ 1847850 h 2254250"/>
              <a:gd name="connsiteX52" fmla="*/ 2629084 w 3892734"/>
              <a:gd name="connsiteY52" fmla="*/ 2127250 h 2254250"/>
              <a:gd name="connsiteX53" fmla="*/ 2463984 w 3892734"/>
              <a:gd name="connsiteY53" fmla="*/ 2228850 h 2254250"/>
              <a:gd name="connsiteX54" fmla="*/ 2356034 w 3892734"/>
              <a:gd name="connsiteY54" fmla="*/ 2254250 h 2254250"/>
              <a:gd name="connsiteX55" fmla="*/ 2057584 w 3892734"/>
              <a:gd name="connsiteY55" fmla="*/ 2178050 h 2254250"/>
              <a:gd name="connsiteX56" fmla="*/ 1822634 w 3892734"/>
              <a:gd name="connsiteY56" fmla="*/ 2070100 h 2254250"/>
              <a:gd name="connsiteX57" fmla="*/ 1651184 w 3892734"/>
              <a:gd name="connsiteY57" fmla="*/ 1917700 h 2254250"/>
              <a:gd name="connsiteX58" fmla="*/ 1574984 w 3892734"/>
              <a:gd name="connsiteY58" fmla="*/ 1797050 h 2254250"/>
              <a:gd name="connsiteX59" fmla="*/ 1492434 w 3892734"/>
              <a:gd name="connsiteY59" fmla="*/ 1720850 h 2254250"/>
              <a:gd name="connsiteX60" fmla="*/ 1719447 w 3892734"/>
              <a:gd name="connsiteY60" fmla="*/ 1606380 h 2254250"/>
              <a:gd name="connsiteX61" fmla="*/ 1578160 w 3892734"/>
              <a:gd name="connsiteY61" fmla="*/ 1426137 h 2254250"/>
              <a:gd name="connsiteX62" fmla="*/ 1433697 w 3892734"/>
              <a:gd name="connsiteY62" fmla="*/ 1317171 h 2254250"/>
              <a:gd name="connsiteX63" fmla="*/ 1101909 w 3892734"/>
              <a:gd name="connsiteY63" fmla="*/ 1573782 h 2254250"/>
              <a:gd name="connsiteX64" fmla="*/ 895535 w 3892734"/>
              <a:gd name="connsiteY64" fmla="*/ 1609913 h 2254250"/>
              <a:gd name="connsiteX65" fmla="*/ 743134 w 3892734"/>
              <a:gd name="connsiteY65" fmla="*/ 1587266 h 2254250"/>
              <a:gd name="connsiteX66" fmla="*/ 538346 w 3892734"/>
              <a:gd name="connsiteY66" fmla="*/ 1642309 h 2254250"/>
              <a:gd name="connsiteX67" fmla="*/ 358959 w 3892734"/>
              <a:gd name="connsiteY67" fmla="*/ 1593072 h 2254250"/>
              <a:gd name="connsiteX68" fmla="*/ 12884 w 3892734"/>
              <a:gd name="connsiteY68" fmla="*/ 1221921 h 2254250"/>
              <a:gd name="connsiteX69" fmla="*/ 184 w 3892734"/>
              <a:gd name="connsiteY69" fmla="*/ 0 h 2254250"/>
              <a:gd name="connsiteX0" fmla="*/ 184 w 3892734"/>
              <a:gd name="connsiteY0" fmla="*/ 0 h 2254250"/>
              <a:gd name="connsiteX1" fmla="*/ 266884 w 3892734"/>
              <a:gd name="connsiteY1" fmla="*/ 1162050 h 2254250"/>
              <a:gd name="connsiteX2" fmla="*/ 317684 w 3892734"/>
              <a:gd name="connsiteY2" fmla="*/ 1308100 h 2254250"/>
              <a:gd name="connsiteX3" fmla="*/ 362134 w 3892734"/>
              <a:gd name="connsiteY3" fmla="*/ 1371600 h 2254250"/>
              <a:gd name="connsiteX4" fmla="*/ 412934 w 3892734"/>
              <a:gd name="connsiteY4" fmla="*/ 1314450 h 2254250"/>
              <a:gd name="connsiteX5" fmla="*/ 514534 w 3892734"/>
              <a:gd name="connsiteY5" fmla="*/ 996950 h 2254250"/>
              <a:gd name="connsiteX6" fmla="*/ 584384 w 3892734"/>
              <a:gd name="connsiteY6" fmla="*/ 641350 h 2254250"/>
              <a:gd name="connsiteX7" fmla="*/ 641534 w 3892734"/>
              <a:gd name="connsiteY7" fmla="*/ 444500 h 2254250"/>
              <a:gd name="connsiteX8" fmla="*/ 692334 w 3892734"/>
              <a:gd name="connsiteY8" fmla="*/ 330200 h 2254250"/>
              <a:gd name="connsiteX9" fmla="*/ 724084 w 3892734"/>
              <a:gd name="connsiteY9" fmla="*/ 279400 h 2254250"/>
              <a:gd name="connsiteX10" fmla="*/ 806634 w 3892734"/>
              <a:gd name="connsiteY10" fmla="*/ 298450 h 2254250"/>
              <a:gd name="connsiteX11" fmla="*/ 927284 w 3892734"/>
              <a:gd name="connsiteY11" fmla="*/ 495300 h 2254250"/>
              <a:gd name="connsiteX12" fmla="*/ 978084 w 3892734"/>
              <a:gd name="connsiteY12" fmla="*/ 622300 h 2254250"/>
              <a:gd name="connsiteX13" fmla="*/ 1060634 w 3892734"/>
              <a:gd name="connsiteY13" fmla="*/ 666750 h 2254250"/>
              <a:gd name="connsiteX14" fmla="*/ 1136834 w 3892734"/>
              <a:gd name="connsiteY14" fmla="*/ 622300 h 2254250"/>
              <a:gd name="connsiteX15" fmla="*/ 1225734 w 3892734"/>
              <a:gd name="connsiteY15" fmla="*/ 495300 h 2254250"/>
              <a:gd name="connsiteX16" fmla="*/ 1289234 w 3892734"/>
              <a:gd name="connsiteY16" fmla="*/ 355600 h 2254250"/>
              <a:gd name="connsiteX17" fmla="*/ 1352734 w 3892734"/>
              <a:gd name="connsiteY17" fmla="*/ 292100 h 2254250"/>
              <a:gd name="connsiteX18" fmla="*/ 1397184 w 3892734"/>
              <a:gd name="connsiteY18" fmla="*/ 254000 h 2254250"/>
              <a:gd name="connsiteX19" fmla="*/ 1486084 w 3892734"/>
              <a:gd name="connsiteY19" fmla="*/ 285750 h 2254250"/>
              <a:gd name="connsiteX20" fmla="*/ 1581334 w 3892734"/>
              <a:gd name="connsiteY20" fmla="*/ 438150 h 2254250"/>
              <a:gd name="connsiteX21" fmla="*/ 1670234 w 3892734"/>
              <a:gd name="connsiteY21" fmla="*/ 654050 h 2254250"/>
              <a:gd name="connsiteX22" fmla="*/ 1905184 w 3892734"/>
              <a:gd name="connsiteY22" fmla="*/ 1066800 h 2254250"/>
              <a:gd name="connsiteX23" fmla="*/ 2006784 w 3892734"/>
              <a:gd name="connsiteY23" fmla="*/ 1212850 h 2254250"/>
              <a:gd name="connsiteX24" fmla="*/ 2082984 w 3892734"/>
              <a:gd name="connsiteY24" fmla="*/ 1295400 h 2254250"/>
              <a:gd name="connsiteX25" fmla="*/ 2190934 w 3892734"/>
              <a:gd name="connsiteY25" fmla="*/ 1263650 h 2254250"/>
              <a:gd name="connsiteX26" fmla="*/ 2235384 w 3892734"/>
              <a:gd name="connsiteY26" fmla="*/ 1168400 h 2254250"/>
              <a:gd name="connsiteX27" fmla="*/ 2292534 w 3892734"/>
              <a:gd name="connsiteY27" fmla="*/ 1016000 h 2254250"/>
              <a:gd name="connsiteX28" fmla="*/ 2368734 w 3892734"/>
              <a:gd name="connsiteY28" fmla="*/ 876300 h 2254250"/>
              <a:gd name="connsiteX29" fmla="*/ 2425884 w 3892734"/>
              <a:gd name="connsiteY29" fmla="*/ 787400 h 2254250"/>
              <a:gd name="connsiteX30" fmla="*/ 2476684 w 3892734"/>
              <a:gd name="connsiteY30" fmla="*/ 749300 h 2254250"/>
              <a:gd name="connsiteX31" fmla="*/ 2546534 w 3892734"/>
              <a:gd name="connsiteY31" fmla="*/ 736600 h 2254250"/>
              <a:gd name="connsiteX32" fmla="*/ 2654484 w 3892734"/>
              <a:gd name="connsiteY32" fmla="*/ 781050 h 2254250"/>
              <a:gd name="connsiteX33" fmla="*/ 2756084 w 3892734"/>
              <a:gd name="connsiteY33" fmla="*/ 838200 h 2254250"/>
              <a:gd name="connsiteX34" fmla="*/ 2851334 w 3892734"/>
              <a:gd name="connsiteY34" fmla="*/ 901700 h 2254250"/>
              <a:gd name="connsiteX35" fmla="*/ 2997384 w 3892734"/>
              <a:gd name="connsiteY35" fmla="*/ 920750 h 2254250"/>
              <a:gd name="connsiteX36" fmla="*/ 3175184 w 3892734"/>
              <a:gd name="connsiteY36" fmla="*/ 895350 h 2254250"/>
              <a:gd name="connsiteX37" fmla="*/ 3295834 w 3892734"/>
              <a:gd name="connsiteY37" fmla="*/ 774700 h 2254250"/>
              <a:gd name="connsiteX38" fmla="*/ 3391084 w 3892734"/>
              <a:gd name="connsiteY38" fmla="*/ 628650 h 2254250"/>
              <a:gd name="connsiteX39" fmla="*/ 3486334 w 3892734"/>
              <a:gd name="connsiteY39" fmla="*/ 495300 h 2254250"/>
              <a:gd name="connsiteX40" fmla="*/ 3594284 w 3892734"/>
              <a:gd name="connsiteY40" fmla="*/ 412750 h 2254250"/>
              <a:gd name="connsiteX41" fmla="*/ 3714934 w 3892734"/>
              <a:gd name="connsiteY41" fmla="*/ 406400 h 2254250"/>
              <a:gd name="connsiteX42" fmla="*/ 3892734 w 3892734"/>
              <a:gd name="connsiteY42" fmla="*/ 412750 h 2254250"/>
              <a:gd name="connsiteX43" fmla="*/ 3892734 w 3892734"/>
              <a:gd name="connsiteY43" fmla="*/ 755650 h 2254250"/>
              <a:gd name="connsiteX44" fmla="*/ 3708584 w 3892734"/>
              <a:gd name="connsiteY44" fmla="*/ 958850 h 2254250"/>
              <a:gd name="connsiteX45" fmla="*/ 3568884 w 3892734"/>
              <a:gd name="connsiteY45" fmla="*/ 1098550 h 2254250"/>
              <a:gd name="connsiteX46" fmla="*/ 3499034 w 3892734"/>
              <a:gd name="connsiteY46" fmla="*/ 1155700 h 2254250"/>
              <a:gd name="connsiteX47" fmla="*/ 3340284 w 3892734"/>
              <a:gd name="connsiteY47" fmla="*/ 1155700 h 2254250"/>
              <a:gd name="connsiteX48" fmla="*/ 3219634 w 3892734"/>
              <a:gd name="connsiteY48" fmla="*/ 1181100 h 2254250"/>
              <a:gd name="connsiteX49" fmla="*/ 3111684 w 3892734"/>
              <a:gd name="connsiteY49" fmla="*/ 1295400 h 2254250"/>
              <a:gd name="connsiteX50" fmla="*/ 2952934 w 3892734"/>
              <a:gd name="connsiteY50" fmla="*/ 1587500 h 2254250"/>
              <a:gd name="connsiteX51" fmla="*/ 2813234 w 3892734"/>
              <a:gd name="connsiteY51" fmla="*/ 1847850 h 2254250"/>
              <a:gd name="connsiteX52" fmla="*/ 2629084 w 3892734"/>
              <a:gd name="connsiteY52" fmla="*/ 2127250 h 2254250"/>
              <a:gd name="connsiteX53" fmla="*/ 2463984 w 3892734"/>
              <a:gd name="connsiteY53" fmla="*/ 2228850 h 2254250"/>
              <a:gd name="connsiteX54" fmla="*/ 2356034 w 3892734"/>
              <a:gd name="connsiteY54" fmla="*/ 2254250 h 2254250"/>
              <a:gd name="connsiteX55" fmla="*/ 2057584 w 3892734"/>
              <a:gd name="connsiteY55" fmla="*/ 2178050 h 2254250"/>
              <a:gd name="connsiteX56" fmla="*/ 1822634 w 3892734"/>
              <a:gd name="connsiteY56" fmla="*/ 2070100 h 2254250"/>
              <a:gd name="connsiteX57" fmla="*/ 1651184 w 3892734"/>
              <a:gd name="connsiteY57" fmla="*/ 1917700 h 2254250"/>
              <a:gd name="connsiteX58" fmla="*/ 1574984 w 3892734"/>
              <a:gd name="connsiteY58" fmla="*/ 1797050 h 2254250"/>
              <a:gd name="connsiteX59" fmla="*/ 1719447 w 3892734"/>
              <a:gd name="connsiteY59" fmla="*/ 1606380 h 2254250"/>
              <a:gd name="connsiteX60" fmla="*/ 1578160 w 3892734"/>
              <a:gd name="connsiteY60" fmla="*/ 1426137 h 2254250"/>
              <a:gd name="connsiteX61" fmla="*/ 1433697 w 3892734"/>
              <a:gd name="connsiteY61" fmla="*/ 1317171 h 2254250"/>
              <a:gd name="connsiteX62" fmla="*/ 1101909 w 3892734"/>
              <a:gd name="connsiteY62" fmla="*/ 1573782 h 2254250"/>
              <a:gd name="connsiteX63" fmla="*/ 895535 w 3892734"/>
              <a:gd name="connsiteY63" fmla="*/ 1609913 h 2254250"/>
              <a:gd name="connsiteX64" fmla="*/ 743134 w 3892734"/>
              <a:gd name="connsiteY64" fmla="*/ 1587266 h 2254250"/>
              <a:gd name="connsiteX65" fmla="*/ 538346 w 3892734"/>
              <a:gd name="connsiteY65" fmla="*/ 1642309 h 2254250"/>
              <a:gd name="connsiteX66" fmla="*/ 358959 w 3892734"/>
              <a:gd name="connsiteY66" fmla="*/ 1593072 h 2254250"/>
              <a:gd name="connsiteX67" fmla="*/ 12884 w 3892734"/>
              <a:gd name="connsiteY67" fmla="*/ 1221921 h 2254250"/>
              <a:gd name="connsiteX68" fmla="*/ 184 w 3892734"/>
              <a:gd name="connsiteY68" fmla="*/ 0 h 2254250"/>
              <a:gd name="connsiteX0" fmla="*/ 184 w 3892734"/>
              <a:gd name="connsiteY0" fmla="*/ 0 h 2254250"/>
              <a:gd name="connsiteX1" fmla="*/ 266884 w 3892734"/>
              <a:gd name="connsiteY1" fmla="*/ 1162050 h 2254250"/>
              <a:gd name="connsiteX2" fmla="*/ 317684 w 3892734"/>
              <a:gd name="connsiteY2" fmla="*/ 1308100 h 2254250"/>
              <a:gd name="connsiteX3" fmla="*/ 362134 w 3892734"/>
              <a:gd name="connsiteY3" fmla="*/ 1371600 h 2254250"/>
              <a:gd name="connsiteX4" fmla="*/ 412934 w 3892734"/>
              <a:gd name="connsiteY4" fmla="*/ 1314450 h 2254250"/>
              <a:gd name="connsiteX5" fmla="*/ 514534 w 3892734"/>
              <a:gd name="connsiteY5" fmla="*/ 996950 h 2254250"/>
              <a:gd name="connsiteX6" fmla="*/ 584384 w 3892734"/>
              <a:gd name="connsiteY6" fmla="*/ 641350 h 2254250"/>
              <a:gd name="connsiteX7" fmla="*/ 641534 w 3892734"/>
              <a:gd name="connsiteY7" fmla="*/ 444500 h 2254250"/>
              <a:gd name="connsiteX8" fmla="*/ 692334 w 3892734"/>
              <a:gd name="connsiteY8" fmla="*/ 330200 h 2254250"/>
              <a:gd name="connsiteX9" fmla="*/ 724084 w 3892734"/>
              <a:gd name="connsiteY9" fmla="*/ 279400 h 2254250"/>
              <a:gd name="connsiteX10" fmla="*/ 806634 w 3892734"/>
              <a:gd name="connsiteY10" fmla="*/ 298450 h 2254250"/>
              <a:gd name="connsiteX11" fmla="*/ 927284 w 3892734"/>
              <a:gd name="connsiteY11" fmla="*/ 495300 h 2254250"/>
              <a:gd name="connsiteX12" fmla="*/ 978084 w 3892734"/>
              <a:gd name="connsiteY12" fmla="*/ 622300 h 2254250"/>
              <a:gd name="connsiteX13" fmla="*/ 1060634 w 3892734"/>
              <a:gd name="connsiteY13" fmla="*/ 666750 h 2254250"/>
              <a:gd name="connsiteX14" fmla="*/ 1136834 w 3892734"/>
              <a:gd name="connsiteY14" fmla="*/ 622300 h 2254250"/>
              <a:gd name="connsiteX15" fmla="*/ 1225734 w 3892734"/>
              <a:gd name="connsiteY15" fmla="*/ 495300 h 2254250"/>
              <a:gd name="connsiteX16" fmla="*/ 1289234 w 3892734"/>
              <a:gd name="connsiteY16" fmla="*/ 355600 h 2254250"/>
              <a:gd name="connsiteX17" fmla="*/ 1352734 w 3892734"/>
              <a:gd name="connsiteY17" fmla="*/ 292100 h 2254250"/>
              <a:gd name="connsiteX18" fmla="*/ 1397184 w 3892734"/>
              <a:gd name="connsiteY18" fmla="*/ 254000 h 2254250"/>
              <a:gd name="connsiteX19" fmla="*/ 1486084 w 3892734"/>
              <a:gd name="connsiteY19" fmla="*/ 285750 h 2254250"/>
              <a:gd name="connsiteX20" fmla="*/ 1581334 w 3892734"/>
              <a:gd name="connsiteY20" fmla="*/ 438150 h 2254250"/>
              <a:gd name="connsiteX21" fmla="*/ 1670234 w 3892734"/>
              <a:gd name="connsiteY21" fmla="*/ 654050 h 2254250"/>
              <a:gd name="connsiteX22" fmla="*/ 1905184 w 3892734"/>
              <a:gd name="connsiteY22" fmla="*/ 1066800 h 2254250"/>
              <a:gd name="connsiteX23" fmla="*/ 2006784 w 3892734"/>
              <a:gd name="connsiteY23" fmla="*/ 1212850 h 2254250"/>
              <a:gd name="connsiteX24" fmla="*/ 2082984 w 3892734"/>
              <a:gd name="connsiteY24" fmla="*/ 1295400 h 2254250"/>
              <a:gd name="connsiteX25" fmla="*/ 2190934 w 3892734"/>
              <a:gd name="connsiteY25" fmla="*/ 1263650 h 2254250"/>
              <a:gd name="connsiteX26" fmla="*/ 2235384 w 3892734"/>
              <a:gd name="connsiteY26" fmla="*/ 1168400 h 2254250"/>
              <a:gd name="connsiteX27" fmla="*/ 2292534 w 3892734"/>
              <a:gd name="connsiteY27" fmla="*/ 1016000 h 2254250"/>
              <a:gd name="connsiteX28" fmla="*/ 2368734 w 3892734"/>
              <a:gd name="connsiteY28" fmla="*/ 876300 h 2254250"/>
              <a:gd name="connsiteX29" fmla="*/ 2425884 w 3892734"/>
              <a:gd name="connsiteY29" fmla="*/ 787400 h 2254250"/>
              <a:gd name="connsiteX30" fmla="*/ 2476684 w 3892734"/>
              <a:gd name="connsiteY30" fmla="*/ 749300 h 2254250"/>
              <a:gd name="connsiteX31" fmla="*/ 2546534 w 3892734"/>
              <a:gd name="connsiteY31" fmla="*/ 736600 h 2254250"/>
              <a:gd name="connsiteX32" fmla="*/ 2654484 w 3892734"/>
              <a:gd name="connsiteY32" fmla="*/ 781050 h 2254250"/>
              <a:gd name="connsiteX33" fmla="*/ 2756084 w 3892734"/>
              <a:gd name="connsiteY33" fmla="*/ 838200 h 2254250"/>
              <a:gd name="connsiteX34" fmla="*/ 2851334 w 3892734"/>
              <a:gd name="connsiteY34" fmla="*/ 901700 h 2254250"/>
              <a:gd name="connsiteX35" fmla="*/ 2997384 w 3892734"/>
              <a:gd name="connsiteY35" fmla="*/ 920750 h 2254250"/>
              <a:gd name="connsiteX36" fmla="*/ 3175184 w 3892734"/>
              <a:gd name="connsiteY36" fmla="*/ 895350 h 2254250"/>
              <a:gd name="connsiteX37" fmla="*/ 3295834 w 3892734"/>
              <a:gd name="connsiteY37" fmla="*/ 774700 h 2254250"/>
              <a:gd name="connsiteX38" fmla="*/ 3391084 w 3892734"/>
              <a:gd name="connsiteY38" fmla="*/ 628650 h 2254250"/>
              <a:gd name="connsiteX39" fmla="*/ 3486334 w 3892734"/>
              <a:gd name="connsiteY39" fmla="*/ 495300 h 2254250"/>
              <a:gd name="connsiteX40" fmla="*/ 3594284 w 3892734"/>
              <a:gd name="connsiteY40" fmla="*/ 412750 h 2254250"/>
              <a:gd name="connsiteX41" fmla="*/ 3714934 w 3892734"/>
              <a:gd name="connsiteY41" fmla="*/ 406400 h 2254250"/>
              <a:gd name="connsiteX42" fmla="*/ 3892734 w 3892734"/>
              <a:gd name="connsiteY42" fmla="*/ 412750 h 2254250"/>
              <a:gd name="connsiteX43" fmla="*/ 3892734 w 3892734"/>
              <a:gd name="connsiteY43" fmla="*/ 755650 h 2254250"/>
              <a:gd name="connsiteX44" fmla="*/ 3708584 w 3892734"/>
              <a:gd name="connsiteY44" fmla="*/ 958850 h 2254250"/>
              <a:gd name="connsiteX45" fmla="*/ 3568884 w 3892734"/>
              <a:gd name="connsiteY45" fmla="*/ 1098550 h 2254250"/>
              <a:gd name="connsiteX46" fmla="*/ 3499034 w 3892734"/>
              <a:gd name="connsiteY46" fmla="*/ 1155700 h 2254250"/>
              <a:gd name="connsiteX47" fmla="*/ 3340284 w 3892734"/>
              <a:gd name="connsiteY47" fmla="*/ 1155700 h 2254250"/>
              <a:gd name="connsiteX48" fmla="*/ 3219634 w 3892734"/>
              <a:gd name="connsiteY48" fmla="*/ 1181100 h 2254250"/>
              <a:gd name="connsiteX49" fmla="*/ 3111684 w 3892734"/>
              <a:gd name="connsiteY49" fmla="*/ 1295400 h 2254250"/>
              <a:gd name="connsiteX50" fmla="*/ 2952934 w 3892734"/>
              <a:gd name="connsiteY50" fmla="*/ 1587500 h 2254250"/>
              <a:gd name="connsiteX51" fmla="*/ 2813234 w 3892734"/>
              <a:gd name="connsiteY51" fmla="*/ 1847850 h 2254250"/>
              <a:gd name="connsiteX52" fmla="*/ 2629084 w 3892734"/>
              <a:gd name="connsiteY52" fmla="*/ 2127250 h 2254250"/>
              <a:gd name="connsiteX53" fmla="*/ 2463984 w 3892734"/>
              <a:gd name="connsiteY53" fmla="*/ 2228850 h 2254250"/>
              <a:gd name="connsiteX54" fmla="*/ 2356034 w 3892734"/>
              <a:gd name="connsiteY54" fmla="*/ 2254250 h 2254250"/>
              <a:gd name="connsiteX55" fmla="*/ 2057584 w 3892734"/>
              <a:gd name="connsiteY55" fmla="*/ 2178050 h 2254250"/>
              <a:gd name="connsiteX56" fmla="*/ 1822634 w 3892734"/>
              <a:gd name="connsiteY56" fmla="*/ 2070100 h 2254250"/>
              <a:gd name="connsiteX57" fmla="*/ 1651184 w 3892734"/>
              <a:gd name="connsiteY57" fmla="*/ 1917700 h 2254250"/>
              <a:gd name="connsiteX58" fmla="*/ 1832159 w 3892734"/>
              <a:gd name="connsiteY58" fmla="*/ 1756403 h 2254250"/>
              <a:gd name="connsiteX59" fmla="*/ 1719447 w 3892734"/>
              <a:gd name="connsiteY59" fmla="*/ 1606380 h 2254250"/>
              <a:gd name="connsiteX60" fmla="*/ 1578160 w 3892734"/>
              <a:gd name="connsiteY60" fmla="*/ 1426137 h 2254250"/>
              <a:gd name="connsiteX61" fmla="*/ 1433697 w 3892734"/>
              <a:gd name="connsiteY61" fmla="*/ 1317171 h 2254250"/>
              <a:gd name="connsiteX62" fmla="*/ 1101909 w 3892734"/>
              <a:gd name="connsiteY62" fmla="*/ 1573782 h 2254250"/>
              <a:gd name="connsiteX63" fmla="*/ 895535 w 3892734"/>
              <a:gd name="connsiteY63" fmla="*/ 1609913 h 2254250"/>
              <a:gd name="connsiteX64" fmla="*/ 743134 w 3892734"/>
              <a:gd name="connsiteY64" fmla="*/ 1587266 h 2254250"/>
              <a:gd name="connsiteX65" fmla="*/ 538346 w 3892734"/>
              <a:gd name="connsiteY65" fmla="*/ 1642309 h 2254250"/>
              <a:gd name="connsiteX66" fmla="*/ 358959 w 3892734"/>
              <a:gd name="connsiteY66" fmla="*/ 1593072 h 2254250"/>
              <a:gd name="connsiteX67" fmla="*/ 12884 w 3892734"/>
              <a:gd name="connsiteY67" fmla="*/ 1221921 h 2254250"/>
              <a:gd name="connsiteX68" fmla="*/ 184 w 3892734"/>
              <a:gd name="connsiteY68" fmla="*/ 0 h 2254250"/>
              <a:gd name="connsiteX0" fmla="*/ 184 w 3892734"/>
              <a:gd name="connsiteY0" fmla="*/ 0 h 2254250"/>
              <a:gd name="connsiteX1" fmla="*/ 266884 w 3892734"/>
              <a:gd name="connsiteY1" fmla="*/ 1162050 h 2254250"/>
              <a:gd name="connsiteX2" fmla="*/ 317684 w 3892734"/>
              <a:gd name="connsiteY2" fmla="*/ 1308100 h 2254250"/>
              <a:gd name="connsiteX3" fmla="*/ 362134 w 3892734"/>
              <a:gd name="connsiteY3" fmla="*/ 1371600 h 2254250"/>
              <a:gd name="connsiteX4" fmla="*/ 412934 w 3892734"/>
              <a:gd name="connsiteY4" fmla="*/ 1314450 h 2254250"/>
              <a:gd name="connsiteX5" fmla="*/ 514534 w 3892734"/>
              <a:gd name="connsiteY5" fmla="*/ 996950 h 2254250"/>
              <a:gd name="connsiteX6" fmla="*/ 584384 w 3892734"/>
              <a:gd name="connsiteY6" fmla="*/ 641350 h 2254250"/>
              <a:gd name="connsiteX7" fmla="*/ 641534 w 3892734"/>
              <a:gd name="connsiteY7" fmla="*/ 444500 h 2254250"/>
              <a:gd name="connsiteX8" fmla="*/ 692334 w 3892734"/>
              <a:gd name="connsiteY8" fmla="*/ 330200 h 2254250"/>
              <a:gd name="connsiteX9" fmla="*/ 724084 w 3892734"/>
              <a:gd name="connsiteY9" fmla="*/ 279400 h 2254250"/>
              <a:gd name="connsiteX10" fmla="*/ 806634 w 3892734"/>
              <a:gd name="connsiteY10" fmla="*/ 298450 h 2254250"/>
              <a:gd name="connsiteX11" fmla="*/ 927284 w 3892734"/>
              <a:gd name="connsiteY11" fmla="*/ 495300 h 2254250"/>
              <a:gd name="connsiteX12" fmla="*/ 978084 w 3892734"/>
              <a:gd name="connsiteY12" fmla="*/ 622300 h 2254250"/>
              <a:gd name="connsiteX13" fmla="*/ 1060634 w 3892734"/>
              <a:gd name="connsiteY13" fmla="*/ 666750 h 2254250"/>
              <a:gd name="connsiteX14" fmla="*/ 1136834 w 3892734"/>
              <a:gd name="connsiteY14" fmla="*/ 622300 h 2254250"/>
              <a:gd name="connsiteX15" fmla="*/ 1225734 w 3892734"/>
              <a:gd name="connsiteY15" fmla="*/ 495300 h 2254250"/>
              <a:gd name="connsiteX16" fmla="*/ 1289234 w 3892734"/>
              <a:gd name="connsiteY16" fmla="*/ 355600 h 2254250"/>
              <a:gd name="connsiteX17" fmla="*/ 1352734 w 3892734"/>
              <a:gd name="connsiteY17" fmla="*/ 292100 h 2254250"/>
              <a:gd name="connsiteX18" fmla="*/ 1397184 w 3892734"/>
              <a:gd name="connsiteY18" fmla="*/ 254000 h 2254250"/>
              <a:gd name="connsiteX19" fmla="*/ 1486084 w 3892734"/>
              <a:gd name="connsiteY19" fmla="*/ 285750 h 2254250"/>
              <a:gd name="connsiteX20" fmla="*/ 1581334 w 3892734"/>
              <a:gd name="connsiteY20" fmla="*/ 438150 h 2254250"/>
              <a:gd name="connsiteX21" fmla="*/ 1670234 w 3892734"/>
              <a:gd name="connsiteY21" fmla="*/ 654050 h 2254250"/>
              <a:gd name="connsiteX22" fmla="*/ 1905184 w 3892734"/>
              <a:gd name="connsiteY22" fmla="*/ 1066800 h 2254250"/>
              <a:gd name="connsiteX23" fmla="*/ 2006784 w 3892734"/>
              <a:gd name="connsiteY23" fmla="*/ 1212850 h 2254250"/>
              <a:gd name="connsiteX24" fmla="*/ 2082984 w 3892734"/>
              <a:gd name="connsiteY24" fmla="*/ 1295400 h 2254250"/>
              <a:gd name="connsiteX25" fmla="*/ 2190934 w 3892734"/>
              <a:gd name="connsiteY25" fmla="*/ 1263650 h 2254250"/>
              <a:gd name="connsiteX26" fmla="*/ 2235384 w 3892734"/>
              <a:gd name="connsiteY26" fmla="*/ 1168400 h 2254250"/>
              <a:gd name="connsiteX27" fmla="*/ 2292534 w 3892734"/>
              <a:gd name="connsiteY27" fmla="*/ 1016000 h 2254250"/>
              <a:gd name="connsiteX28" fmla="*/ 2368734 w 3892734"/>
              <a:gd name="connsiteY28" fmla="*/ 876300 h 2254250"/>
              <a:gd name="connsiteX29" fmla="*/ 2425884 w 3892734"/>
              <a:gd name="connsiteY29" fmla="*/ 787400 h 2254250"/>
              <a:gd name="connsiteX30" fmla="*/ 2476684 w 3892734"/>
              <a:gd name="connsiteY30" fmla="*/ 749300 h 2254250"/>
              <a:gd name="connsiteX31" fmla="*/ 2546534 w 3892734"/>
              <a:gd name="connsiteY31" fmla="*/ 736600 h 2254250"/>
              <a:gd name="connsiteX32" fmla="*/ 2654484 w 3892734"/>
              <a:gd name="connsiteY32" fmla="*/ 781050 h 2254250"/>
              <a:gd name="connsiteX33" fmla="*/ 2756084 w 3892734"/>
              <a:gd name="connsiteY33" fmla="*/ 838200 h 2254250"/>
              <a:gd name="connsiteX34" fmla="*/ 2851334 w 3892734"/>
              <a:gd name="connsiteY34" fmla="*/ 901700 h 2254250"/>
              <a:gd name="connsiteX35" fmla="*/ 2997384 w 3892734"/>
              <a:gd name="connsiteY35" fmla="*/ 920750 h 2254250"/>
              <a:gd name="connsiteX36" fmla="*/ 3175184 w 3892734"/>
              <a:gd name="connsiteY36" fmla="*/ 895350 h 2254250"/>
              <a:gd name="connsiteX37" fmla="*/ 3295834 w 3892734"/>
              <a:gd name="connsiteY37" fmla="*/ 774700 h 2254250"/>
              <a:gd name="connsiteX38" fmla="*/ 3391084 w 3892734"/>
              <a:gd name="connsiteY38" fmla="*/ 628650 h 2254250"/>
              <a:gd name="connsiteX39" fmla="*/ 3486334 w 3892734"/>
              <a:gd name="connsiteY39" fmla="*/ 495300 h 2254250"/>
              <a:gd name="connsiteX40" fmla="*/ 3594284 w 3892734"/>
              <a:gd name="connsiteY40" fmla="*/ 412750 h 2254250"/>
              <a:gd name="connsiteX41" fmla="*/ 3714934 w 3892734"/>
              <a:gd name="connsiteY41" fmla="*/ 406400 h 2254250"/>
              <a:gd name="connsiteX42" fmla="*/ 3892734 w 3892734"/>
              <a:gd name="connsiteY42" fmla="*/ 412750 h 2254250"/>
              <a:gd name="connsiteX43" fmla="*/ 3892734 w 3892734"/>
              <a:gd name="connsiteY43" fmla="*/ 755650 h 2254250"/>
              <a:gd name="connsiteX44" fmla="*/ 3708584 w 3892734"/>
              <a:gd name="connsiteY44" fmla="*/ 958850 h 2254250"/>
              <a:gd name="connsiteX45" fmla="*/ 3568884 w 3892734"/>
              <a:gd name="connsiteY45" fmla="*/ 1098550 h 2254250"/>
              <a:gd name="connsiteX46" fmla="*/ 3499034 w 3892734"/>
              <a:gd name="connsiteY46" fmla="*/ 1155700 h 2254250"/>
              <a:gd name="connsiteX47" fmla="*/ 3340284 w 3892734"/>
              <a:gd name="connsiteY47" fmla="*/ 1155700 h 2254250"/>
              <a:gd name="connsiteX48" fmla="*/ 3219634 w 3892734"/>
              <a:gd name="connsiteY48" fmla="*/ 1181100 h 2254250"/>
              <a:gd name="connsiteX49" fmla="*/ 3111684 w 3892734"/>
              <a:gd name="connsiteY49" fmla="*/ 1295400 h 2254250"/>
              <a:gd name="connsiteX50" fmla="*/ 2952934 w 3892734"/>
              <a:gd name="connsiteY50" fmla="*/ 1587500 h 2254250"/>
              <a:gd name="connsiteX51" fmla="*/ 2813234 w 3892734"/>
              <a:gd name="connsiteY51" fmla="*/ 1847850 h 2254250"/>
              <a:gd name="connsiteX52" fmla="*/ 2629084 w 3892734"/>
              <a:gd name="connsiteY52" fmla="*/ 2127250 h 2254250"/>
              <a:gd name="connsiteX53" fmla="*/ 2463984 w 3892734"/>
              <a:gd name="connsiteY53" fmla="*/ 2228850 h 2254250"/>
              <a:gd name="connsiteX54" fmla="*/ 2356034 w 3892734"/>
              <a:gd name="connsiteY54" fmla="*/ 2254250 h 2254250"/>
              <a:gd name="connsiteX55" fmla="*/ 2057584 w 3892734"/>
              <a:gd name="connsiteY55" fmla="*/ 2178050 h 2254250"/>
              <a:gd name="connsiteX56" fmla="*/ 1822634 w 3892734"/>
              <a:gd name="connsiteY56" fmla="*/ 2070100 h 2254250"/>
              <a:gd name="connsiteX57" fmla="*/ 1651184 w 3892734"/>
              <a:gd name="connsiteY57" fmla="*/ 1917700 h 2254250"/>
              <a:gd name="connsiteX58" fmla="*/ 1884546 w 3892734"/>
              <a:gd name="connsiteY58" fmla="*/ 1724790 h 2254250"/>
              <a:gd name="connsiteX59" fmla="*/ 1719447 w 3892734"/>
              <a:gd name="connsiteY59" fmla="*/ 1606380 h 2254250"/>
              <a:gd name="connsiteX60" fmla="*/ 1578160 w 3892734"/>
              <a:gd name="connsiteY60" fmla="*/ 1426137 h 2254250"/>
              <a:gd name="connsiteX61" fmla="*/ 1433697 w 3892734"/>
              <a:gd name="connsiteY61" fmla="*/ 1317171 h 2254250"/>
              <a:gd name="connsiteX62" fmla="*/ 1101909 w 3892734"/>
              <a:gd name="connsiteY62" fmla="*/ 1573782 h 2254250"/>
              <a:gd name="connsiteX63" fmla="*/ 895535 w 3892734"/>
              <a:gd name="connsiteY63" fmla="*/ 1609913 h 2254250"/>
              <a:gd name="connsiteX64" fmla="*/ 743134 w 3892734"/>
              <a:gd name="connsiteY64" fmla="*/ 1587266 h 2254250"/>
              <a:gd name="connsiteX65" fmla="*/ 538346 w 3892734"/>
              <a:gd name="connsiteY65" fmla="*/ 1642309 h 2254250"/>
              <a:gd name="connsiteX66" fmla="*/ 358959 w 3892734"/>
              <a:gd name="connsiteY66" fmla="*/ 1593072 h 2254250"/>
              <a:gd name="connsiteX67" fmla="*/ 12884 w 3892734"/>
              <a:gd name="connsiteY67" fmla="*/ 1221921 h 2254250"/>
              <a:gd name="connsiteX68" fmla="*/ 184 w 3892734"/>
              <a:gd name="connsiteY68" fmla="*/ 0 h 2254250"/>
              <a:gd name="connsiteX0" fmla="*/ 184 w 3892734"/>
              <a:gd name="connsiteY0" fmla="*/ 0 h 2254250"/>
              <a:gd name="connsiteX1" fmla="*/ 266884 w 3892734"/>
              <a:gd name="connsiteY1" fmla="*/ 1162050 h 2254250"/>
              <a:gd name="connsiteX2" fmla="*/ 317684 w 3892734"/>
              <a:gd name="connsiteY2" fmla="*/ 1308100 h 2254250"/>
              <a:gd name="connsiteX3" fmla="*/ 362134 w 3892734"/>
              <a:gd name="connsiteY3" fmla="*/ 1371600 h 2254250"/>
              <a:gd name="connsiteX4" fmla="*/ 412934 w 3892734"/>
              <a:gd name="connsiteY4" fmla="*/ 1314450 h 2254250"/>
              <a:gd name="connsiteX5" fmla="*/ 514534 w 3892734"/>
              <a:gd name="connsiteY5" fmla="*/ 996950 h 2254250"/>
              <a:gd name="connsiteX6" fmla="*/ 584384 w 3892734"/>
              <a:gd name="connsiteY6" fmla="*/ 641350 h 2254250"/>
              <a:gd name="connsiteX7" fmla="*/ 641534 w 3892734"/>
              <a:gd name="connsiteY7" fmla="*/ 444500 h 2254250"/>
              <a:gd name="connsiteX8" fmla="*/ 692334 w 3892734"/>
              <a:gd name="connsiteY8" fmla="*/ 330200 h 2254250"/>
              <a:gd name="connsiteX9" fmla="*/ 724084 w 3892734"/>
              <a:gd name="connsiteY9" fmla="*/ 279400 h 2254250"/>
              <a:gd name="connsiteX10" fmla="*/ 806634 w 3892734"/>
              <a:gd name="connsiteY10" fmla="*/ 298450 h 2254250"/>
              <a:gd name="connsiteX11" fmla="*/ 927284 w 3892734"/>
              <a:gd name="connsiteY11" fmla="*/ 495300 h 2254250"/>
              <a:gd name="connsiteX12" fmla="*/ 978084 w 3892734"/>
              <a:gd name="connsiteY12" fmla="*/ 622300 h 2254250"/>
              <a:gd name="connsiteX13" fmla="*/ 1060634 w 3892734"/>
              <a:gd name="connsiteY13" fmla="*/ 666750 h 2254250"/>
              <a:gd name="connsiteX14" fmla="*/ 1136834 w 3892734"/>
              <a:gd name="connsiteY14" fmla="*/ 622300 h 2254250"/>
              <a:gd name="connsiteX15" fmla="*/ 1225734 w 3892734"/>
              <a:gd name="connsiteY15" fmla="*/ 495300 h 2254250"/>
              <a:gd name="connsiteX16" fmla="*/ 1289234 w 3892734"/>
              <a:gd name="connsiteY16" fmla="*/ 355600 h 2254250"/>
              <a:gd name="connsiteX17" fmla="*/ 1352734 w 3892734"/>
              <a:gd name="connsiteY17" fmla="*/ 292100 h 2254250"/>
              <a:gd name="connsiteX18" fmla="*/ 1397184 w 3892734"/>
              <a:gd name="connsiteY18" fmla="*/ 254000 h 2254250"/>
              <a:gd name="connsiteX19" fmla="*/ 1486084 w 3892734"/>
              <a:gd name="connsiteY19" fmla="*/ 285750 h 2254250"/>
              <a:gd name="connsiteX20" fmla="*/ 1581334 w 3892734"/>
              <a:gd name="connsiteY20" fmla="*/ 438150 h 2254250"/>
              <a:gd name="connsiteX21" fmla="*/ 1670234 w 3892734"/>
              <a:gd name="connsiteY21" fmla="*/ 654050 h 2254250"/>
              <a:gd name="connsiteX22" fmla="*/ 1905184 w 3892734"/>
              <a:gd name="connsiteY22" fmla="*/ 1066800 h 2254250"/>
              <a:gd name="connsiteX23" fmla="*/ 2006784 w 3892734"/>
              <a:gd name="connsiteY23" fmla="*/ 1212850 h 2254250"/>
              <a:gd name="connsiteX24" fmla="*/ 2082984 w 3892734"/>
              <a:gd name="connsiteY24" fmla="*/ 1295400 h 2254250"/>
              <a:gd name="connsiteX25" fmla="*/ 2190934 w 3892734"/>
              <a:gd name="connsiteY25" fmla="*/ 1263650 h 2254250"/>
              <a:gd name="connsiteX26" fmla="*/ 2235384 w 3892734"/>
              <a:gd name="connsiteY26" fmla="*/ 1168400 h 2254250"/>
              <a:gd name="connsiteX27" fmla="*/ 2292534 w 3892734"/>
              <a:gd name="connsiteY27" fmla="*/ 1016000 h 2254250"/>
              <a:gd name="connsiteX28" fmla="*/ 2368734 w 3892734"/>
              <a:gd name="connsiteY28" fmla="*/ 876300 h 2254250"/>
              <a:gd name="connsiteX29" fmla="*/ 2425884 w 3892734"/>
              <a:gd name="connsiteY29" fmla="*/ 787400 h 2254250"/>
              <a:gd name="connsiteX30" fmla="*/ 2476684 w 3892734"/>
              <a:gd name="connsiteY30" fmla="*/ 749300 h 2254250"/>
              <a:gd name="connsiteX31" fmla="*/ 2546534 w 3892734"/>
              <a:gd name="connsiteY31" fmla="*/ 736600 h 2254250"/>
              <a:gd name="connsiteX32" fmla="*/ 2654484 w 3892734"/>
              <a:gd name="connsiteY32" fmla="*/ 781050 h 2254250"/>
              <a:gd name="connsiteX33" fmla="*/ 2756084 w 3892734"/>
              <a:gd name="connsiteY33" fmla="*/ 838200 h 2254250"/>
              <a:gd name="connsiteX34" fmla="*/ 2851334 w 3892734"/>
              <a:gd name="connsiteY34" fmla="*/ 901700 h 2254250"/>
              <a:gd name="connsiteX35" fmla="*/ 2997384 w 3892734"/>
              <a:gd name="connsiteY35" fmla="*/ 920750 h 2254250"/>
              <a:gd name="connsiteX36" fmla="*/ 3175184 w 3892734"/>
              <a:gd name="connsiteY36" fmla="*/ 895350 h 2254250"/>
              <a:gd name="connsiteX37" fmla="*/ 3295834 w 3892734"/>
              <a:gd name="connsiteY37" fmla="*/ 774700 h 2254250"/>
              <a:gd name="connsiteX38" fmla="*/ 3391084 w 3892734"/>
              <a:gd name="connsiteY38" fmla="*/ 628650 h 2254250"/>
              <a:gd name="connsiteX39" fmla="*/ 3486334 w 3892734"/>
              <a:gd name="connsiteY39" fmla="*/ 495300 h 2254250"/>
              <a:gd name="connsiteX40" fmla="*/ 3594284 w 3892734"/>
              <a:gd name="connsiteY40" fmla="*/ 412750 h 2254250"/>
              <a:gd name="connsiteX41" fmla="*/ 3714934 w 3892734"/>
              <a:gd name="connsiteY41" fmla="*/ 406400 h 2254250"/>
              <a:gd name="connsiteX42" fmla="*/ 3892734 w 3892734"/>
              <a:gd name="connsiteY42" fmla="*/ 412750 h 2254250"/>
              <a:gd name="connsiteX43" fmla="*/ 3892734 w 3892734"/>
              <a:gd name="connsiteY43" fmla="*/ 755650 h 2254250"/>
              <a:gd name="connsiteX44" fmla="*/ 3708584 w 3892734"/>
              <a:gd name="connsiteY44" fmla="*/ 958850 h 2254250"/>
              <a:gd name="connsiteX45" fmla="*/ 3568884 w 3892734"/>
              <a:gd name="connsiteY45" fmla="*/ 1098550 h 2254250"/>
              <a:gd name="connsiteX46" fmla="*/ 3499034 w 3892734"/>
              <a:gd name="connsiteY46" fmla="*/ 1155700 h 2254250"/>
              <a:gd name="connsiteX47" fmla="*/ 3340284 w 3892734"/>
              <a:gd name="connsiteY47" fmla="*/ 1155700 h 2254250"/>
              <a:gd name="connsiteX48" fmla="*/ 3219634 w 3892734"/>
              <a:gd name="connsiteY48" fmla="*/ 1181100 h 2254250"/>
              <a:gd name="connsiteX49" fmla="*/ 3111684 w 3892734"/>
              <a:gd name="connsiteY49" fmla="*/ 1295400 h 2254250"/>
              <a:gd name="connsiteX50" fmla="*/ 2952934 w 3892734"/>
              <a:gd name="connsiteY50" fmla="*/ 1587500 h 2254250"/>
              <a:gd name="connsiteX51" fmla="*/ 2813234 w 3892734"/>
              <a:gd name="connsiteY51" fmla="*/ 1847850 h 2254250"/>
              <a:gd name="connsiteX52" fmla="*/ 2629084 w 3892734"/>
              <a:gd name="connsiteY52" fmla="*/ 2127250 h 2254250"/>
              <a:gd name="connsiteX53" fmla="*/ 2463984 w 3892734"/>
              <a:gd name="connsiteY53" fmla="*/ 2228850 h 2254250"/>
              <a:gd name="connsiteX54" fmla="*/ 2356034 w 3892734"/>
              <a:gd name="connsiteY54" fmla="*/ 2254250 h 2254250"/>
              <a:gd name="connsiteX55" fmla="*/ 2057584 w 3892734"/>
              <a:gd name="connsiteY55" fmla="*/ 2178050 h 2254250"/>
              <a:gd name="connsiteX56" fmla="*/ 1822634 w 3892734"/>
              <a:gd name="connsiteY56" fmla="*/ 2070100 h 2254250"/>
              <a:gd name="connsiteX57" fmla="*/ 1651184 w 3892734"/>
              <a:gd name="connsiteY57" fmla="*/ 1917700 h 2254250"/>
              <a:gd name="connsiteX58" fmla="*/ 1832158 w 3892734"/>
              <a:gd name="connsiteY58" fmla="*/ 1747371 h 2254250"/>
              <a:gd name="connsiteX59" fmla="*/ 1719447 w 3892734"/>
              <a:gd name="connsiteY59" fmla="*/ 1606380 h 2254250"/>
              <a:gd name="connsiteX60" fmla="*/ 1578160 w 3892734"/>
              <a:gd name="connsiteY60" fmla="*/ 1426137 h 2254250"/>
              <a:gd name="connsiteX61" fmla="*/ 1433697 w 3892734"/>
              <a:gd name="connsiteY61" fmla="*/ 1317171 h 2254250"/>
              <a:gd name="connsiteX62" fmla="*/ 1101909 w 3892734"/>
              <a:gd name="connsiteY62" fmla="*/ 1573782 h 2254250"/>
              <a:gd name="connsiteX63" fmla="*/ 895535 w 3892734"/>
              <a:gd name="connsiteY63" fmla="*/ 1609913 h 2254250"/>
              <a:gd name="connsiteX64" fmla="*/ 743134 w 3892734"/>
              <a:gd name="connsiteY64" fmla="*/ 1587266 h 2254250"/>
              <a:gd name="connsiteX65" fmla="*/ 538346 w 3892734"/>
              <a:gd name="connsiteY65" fmla="*/ 1642309 h 2254250"/>
              <a:gd name="connsiteX66" fmla="*/ 358959 w 3892734"/>
              <a:gd name="connsiteY66" fmla="*/ 1593072 h 2254250"/>
              <a:gd name="connsiteX67" fmla="*/ 12884 w 3892734"/>
              <a:gd name="connsiteY67" fmla="*/ 1221921 h 2254250"/>
              <a:gd name="connsiteX68" fmla="*/ 184 w 3892734"/>
              <a:gd name="connsiteY68" fmla="*/ 0 h 2254250"/>
              <a:gd name="connsiteX0" fmla="*/ 184 w 3892734"/>
              <a:gd name="connsiteY0" fmla="*/ 0 h 2254250"/>
              <a:gd name="connsiteX1" fmla="*/ 266884 w 3892734"/>
              <a:gd name="connsiteY1" fmla="*/ 1162050 h 2254250"/>
              <a:gd name="connsiteX2" fmla="*/ 317684 w 3892734"/>
              <a:gd name="connsiteY2" fmla="*/ 1308100 h 2254250"/>
              <a:gd name="connsiteX3" fmla="*/ 362134 w 3892734"/>
              <a:gd name="connsiteY3" fmla="*/ 1371600 h 2254250"/>
              <a:gd name="connsiteX4" fmla="*/ 412934 w 3892734"/>
              <a:gd name="connsiteY4" fmla="*/ 1314450 h 2254250"/>
              <a:gd name="connsiteX5" fmla="*/ 514534 w 3892734"/>
              <a:gd name="connsiteY5" fmla="*/ 996950 h 2254250"/>
              <a:gd name="connsiteX6" fmla="*/ 584384 w 3892734"/>
              <a:gd name="connsiteY6" fmla="*/ 641350 h 2254250"/>
              <a:gd name="connsiteX7" fmla="*/ 641534 w 3892734"/>
              <a:gd name="connsiteY7" fmla="*/ 444500 h 2254250"/>
              <a:gd name="connsiteX8" fmla="*/ 692334 w 3892734"/>
              <a:gd name="connsiteY8" fmla="*/ 330200 h 2254250"/>
              <a:gd name="connsiteX9" fmla="*/ 724084 w 3892734"/>
              <a:gd name="connsiteY9" fmla="*/ 279400 h 2254250"/>
              <a:gd name="connsiteX10" fmla="*/ 806634 w 3892734"/>
              <a:gd name="connsiteY10" fmla="*/ 298450 h 2254250"/>
              <a:gd name="connsiteX11" fmla="*/ 927284 w 3892734"/>
              <a:gd name="connsiteY11" fmla="*/ 495300 h 2254250"/>
              <a:gd name="connsiteX12" fmla="*/ 978084 w 3892734"/>
              <a:gd name="connsiteY12" fmla="*/ 622300 h 2254250"/>
              <a:gd name="connsiteX13" fmla="*/ 1060634 w 3892734"/>
              <a:gd name="connsiteY13" fmla="*/ 666750 h 2254250"/>
              <a:gd name="connsiteX14" fmla="*/ 1136834 w 3892734"/>
              <a:gd name="connsiteY14" fmla="*/ 622300 h 2254250"/>
              <a:gd name="connsiteX15" fmla="*/ 1225734 w 3892734"/>
              <a:gd name="connsiteY15" fmla="*/ 495300 h 2254250"/>
              <a:gd name="connsiteX16" fmla="*/ 1289234 w 3892734"/>
              <a:gd name="connsiteY16" fmla="*/ 355600 h 2254250"/>
              <a:gd name="connsiteX17" fmla="*/ 1352734 w 3892734"/>
              <a:gd name="connsiteY17" fmla="*/ 292100 h 2254250"/>
              <a:gd name="connsiteX18" fmla="*/ 1397184 w 3892734"/>
              <a:gd name="connsiteY18" fmla="*/ 254000 h 2254250"/>
              <a:gd name="connsiteX19" fmla="*/ 1486084 w 3892734"/>
              <a:gd name="connsiteY19" fmla="*/ 285750 h 2254250"/>
              <a:gd name="connsiteX20" fmla="*/ 1581334 w 3892734"/>
              <a:gd name="connsiteY20" fmla="*/ 438150 h 2254250"/>
              <a:gd name="connsiteX21" fmla="*/ 1670234 w 3892734"/>
              <a:gd name="connsiteY21" fmla="*/ 654050 h 2254250"/>
              <a:gd name="connsiteX22" fmla="*/ 1905184 w 3892734"/>
              <a:gd name="connsiteY22" fmla="*/ 1066800 h 2254250"/>
              <a:gd name="connsiteX23" fmla="*/ 2006784 w 3892734"/>
              <a:gd name="connsiteY23" fmla="*/ 1212850 h 2254250"/>
              <a:gd name="connsiteX24" fmla="*/ 2082984 w 3892734"/>
              <a:gd name="connsiteY24" fmla="*/ 1295400 h 2254250"/>
              <a:gd name="connsiteX25" fmla="*/ 2190934 w 3892734"/>
              <a:gd name="connsiteY25" fmla="*/ 1263650 h 2254250"/>
              <a:gd name="connsiteX26" fmla="*/ 2235384 w 3892734"/>
              <a:gd name="connsiteY26" fmla="*/ 1168400 h 2254250"/>
              <a:gd name="connsiteX27" fmla="*/ 2292534 w 3892734"/>
              <a:gd name="connsiteY27" fmla="*/ 1016000 h 2254250"/>
              <a:gd name="connsiteX28" fmla="*/ 2368734 w 3892734"/>
              <a:gd name="connsiteY28" fmla="*/ 876300 h 2254250"/>
              <a:gd name="connsiteX29" fmla="*/ 2425884 w 3892734"/>
              <a:gd name="connsiteY29" fmla="*/ 787400 h 2254250"/>
              <a:gd name="connsiteX30" fmla="*/ 2476684 w 3892734"/>
              <a:gd name="connsiteY30" fmla="*/ 749300 h 2254250"/>
              <a:gd name="connsiteX31" fmla="*/ 2546534 w 3892734"/>
              <a:gd name="connsiteY31" fmla="*/ 736600 h 2254250"/>
              <a:gd name="connsiteX32" fmla="*/ 2654484 w 3892734"/>
              <a:gd name="connsiteY32" fmla="*/ 781050 h 2254250"/>
              <a:gd name="connsiteX33" fmla="*/ 2756084 w 3892734"/>
              <a:gd name="connsiteY33" fmla="*/ 838200 h 2254250"/>
              <a:gd name="connsiteX34" fmla="*/ 2851334 w 3892734"/>
              <a:gd name="connsiteY34" fmla="*/ 901700 h 2254250"/>
              <a:gd name="connsiteX35" fmla="*/ 2997384 w 3892734"/>
              <a:gd name="connsiteY35" fmla="*/ 920750 h 2254250"/>
              <a:gd name="connsiteX36" fmla="*/ 3175184 w 3892734"/>
              <a:gd name="connsiteY36" fmla="*/ 895350 h 2254250"/>
              <a:gd name="connsiteX37" fmla="*/ 3295834 w 3892734"/>
              <a:gd name="connsiteY37" fmla="*/ 774700 h 2254250"/>
              <a:gd name="connsiteX38" fmla="*/ 3391084 w 3892734"/>
              <a:gd name="connsiteY38" fmla="*/ 628650 h 2254250"/>
              <a:gd name="connsiteX39" fmla="*/ 3486334 w 3892734"/>
              <a:gd name="connsiteY39" fmla="*/ 495300 h 2254250"/>
              <a:gd name="connsiteX40" fmla="*/ 3594284 w 3892734"/>
              <a:gd name="connsiteY40" fmla="*/ 412750 h 2254250"/>
              <a:gd name="connsiteX41" fmla="*/ 3714934 w 3892734"/>
              <a:gd name="connsiteY41" fmla="*/ 406400 h 2254250"/>
              <a:gd name="connsiteX42" fmla="*/ 3892734 w 3892734"/>
              <a:gd name="connsiteY42" fmla="*/ 412750 h 2254250"/>
              <a:gd name="connsiteX43" fmla="*/ 3892734 w 3892734"/>
              <a:gd name="connsiteY43" fmla="*/ 755650 h 2254250"/>
              <a:gd name="connsiteX44" fmla="*/ 3708584 w 3892734"/>
              <a:gd name="connsiteY44" fmla="*/ 958850 h 2254250"/>
              <a:gd name="connsiteX45" fmla="*/ 3568884 w 3892734"/>
              <a:gd name="connsiteY45" fmla="*/ 1098550 h 2254250"/>
              <a:gd name="connsiteX46" fmla="*/ 3499034 w 3892734"/>
              <a:gd name="connsiteY46" fmla="*/ 1155700 h 2254250"/>
              <a:gd name="connsiteX47" fmla="*/ 3340284 w 3892734"/>
              <a:gd name="connsiteY47" fmla="*/ 1155700 h 2254250"/>
              <a:gd name="connsiteX48" fmla="*/ 3219634 w 3892734"/>
              <a:gd name="connsiteY48" fmla="*/ 1181100 h 2254250"/>
              <a:gd name="connsiteX49" fmla="*/ 3111684 w 3892734"/>
              <a:gd name="connsiteY49" fmla="*/ 1295400 h 2254250"/>
              <a:gd name="connsiteX50" fmla="*/ 2952934 w 3892734"/>
              <a:gd name="connsiteY50" fmla="*/ 1587500 h 2254250"/>
              <a:gd name="connsiteX51" fmla="*/ 2813234 w 3892734"/>
              <a:gd name="connsiteY51" fmla="*/ 1847850 h 2254250"/>
              <a:gd name="connsiteX52" fmla="*/ 2629084 w 3892734"/>
              <a:gd name="connsiteY52" fmla="*/ 2127250 h 2254250"/>
              <a:gd name="connsiteX53" fmla="*/ 2463984 w 3892734"/>
              <a:gd name="connsiteY53" fmla="*/ 2228850 h 2254250"/>
              <a:gd name="connsiteX54" fmla="*/ 2356034 w 3892734"/>
              <a:gd name="connsiteY54" fmla="*/ 2254250 h 2254250"/>
              <a:gd name="connsiteX55" fmla="*/ 2057584 w 3892734"/>
              <a:gd name="connsiteY55" fmla="*/ 2178050 h 2254250"/>
              <a:gd name="connsiteX56" fmla="*/ 1822634 w 3892734"/>
              <a:gd name="connsiteY56" fmla="*/ 2070100 h 2254250"/>
              <a:gd name="connsiteX57" fmla="*/ 1908359 w 3892734"/>
              <a:gd name="connsiteY57" fmla="*/ 1872537 h 2254250"/>
              <a:gd name="connsiteX58" fmla="*/ 1832158 w 3892734"/>
              <a:gd name="connsiteY58" fmla="*/ 1747371 h 2254250"/>
              <a:gd name="connsiteX59" fmla="*/ 1719447 w 3892734"/>
              <a:gd name="connsiteY59" fmla="*/ 1606380 h 2254250"/>
              <a:gd name="connsiteX60" fmla="*/ 1578160 w 3892734"/>
              <a:gd name="connsiteY60" fmla="*/ 1426137 h 2254250"/>
              <a:gd name="connsiteX61" fmla="*/ 1433697 w 3892734"/>
              <a:gd name="connsiteY61" fmla="*/ 1317171 h 2254250"/>
              <a:gd name="connsiteX62" fmla="*/ 1101909 w 3892734"/>
              <a:gd name="connsiteY62" fmla="*/ 1573782 h 2254250"/>
              <a:gd name="connsiteX63" fmla="*/ 895535 w 3892734"/>
              <a:gd name="connsiteY63" fmla="*/ 1609913 h 2254250"/>
              <a:gd name="connsiteX64" fmla="*/ 743134 w 3892734"/>
              <a:gd name="connsiteY64" fmla="*/ 1587266 h 2254250"/>
              <a:gd name="connsiteX65" fmla="*/ 538346 w 3892734"/>
              <a:gd name="connsiteY65" fmla="*/ 1642309 h 2254250"/>
              <a:gd name="connsiteX66" fmla="*/ 358959 w 3892734"/>
              <a:gd name="connsiteY66" fmla="*/ 1593072 h 2254250"/>
              <a:gd name="connsiteX67" fmla="*/ 12884 w 3892734"/>
              <a:gd name="connsiteY67" fmla="*/ 1221921 h 2254250"/>
              <a:gd name="connsiteX68" fmla="*/ 184 w 3892734"/>
              <a:gd name="connsiteY68" fmla="*/ 0 h 2254250"/>
              <a:gd name="connsiteX0" fmla="*/ 184 w 3892734"/>
              <a:gd name="connsiteY0" fmla="*/ 0 h 2254250"/>
              <a:gd name="connsiteX1" fmla="*/ 266884 w 3892734"/>
              <a:gd name="connsiteY1" fmla="*/ 1162050 h 2254250"/>
              <a:gd name="connsiteX2" fmla="*/ 317684 w 3892734"/>
              <a:gd name="connsiteY2" fmla="*/ 1308100 h 2254250"/>
              <a:gd name="connsiteX3" fmla="*/ 362134 w 3892734"/>
              <a:gd name="connsiteY3" fmla="*/ 1371600 h 2254250"/>
              <a:gd name="connsiteX4" fmla="*/ 412934 w 3892734"/>
              <a:gd name="connsiteY4" fmla="*/ 1314450 h 2254250"/>
              <a:gd name="connsiteX5" fmla="*/ 514534 w 3892734"/>
              <a:gd name="connsiteY5" fmla="*/ 996950 h 2254250"/>
              <a:gd name="connsiteX6" fmla="*/ 584384 w 3892734"/>
              <a:gd name="connsiteY6" fmla="*/ 641350 h 2254250"/>
              <a:gd name="connsiteX7" fmla="*/ 641534 w 3892734"/>
              <a:gd name="connsiteY7" fmla="*/ 444500 h 2254250"/>
              <a:gd name="connsiteX8" fmla="*/ 692334 w 3892734"/>
              <a:gd name="connsiteY8" fmla="*/ 330200 h 2254250"/>
              <a:gd name="connsiteX9" fmla="*/ 724084 w 3892734"/>
              <a:gd name="connsiteY9" fmla="*/ 279400 h 2254250"/>
              <a:gd name="connsiteX10" fmla="*/ 806634 w 3892734"/>
              <a:gd name="connsiteY10" fmla="*/ 298450 h 2254250"/>
              <a:gd name="connsiteX11" fmla="*/ 927284 w 3892734"/>
              <a:gd name="connsiteY11" fmla="*/ 495300 h 2254250"/>
              <a:gd name="connsiteX12" fmla="*/ 978084 w 3892734"/>
              <a:gd name="connsiteY12" fmla="*/ 622300 h 2254250"/>
              <a:gd name="connsiteX13" fmla="*/ 1060634 w 3892734"/>
              <a:gd name="connsiteY13" fmla="*/ 666750 h 2254250"/>
              <a:gd name="connsiteX14" fmla="*/ 1136834 w 3892734"/>
              <a:gd name="connsiteY14" fmla="*/ 622300 h 2254250"/>
              <a:gd name="connsiteX15" fmla="*/ 1225734 w 3892734"/>
              <a:gd name="connsiteY15" fmla="*/ 495300 h 2254250"/>
              <a:gd name="connsiteX16" fmla="*/ 1289234 w 3892734"/>
              <a:gd name="connsiteY16" fmla="*/ 355600 h 2254250"/>
              <a:gd name="connsiteX17" fmla="*/ 1352734 w 3892734"/>
              <a:gd name="connsiteY17" fmla="*/ 292100 h 2254250"/>
              <a:gd name="connsiteX18" fmla="*/ 1397184 w 3892734"/>
              <a:gd name="connsiteY18" fmla="*/ 254000 h 2254250"/>
              <a:gd name="connsiteX19" fmla="*/ 1486084 w 3892734"/>
              <a:gd name="connsiteY19" fmla="*/ 285750 h 2254250"/>
              <a:gd name="connsiteX20" fmla="*/ 1581334 w 3892734"/>
              <a:gd name="connsiteY20" fmla="*/ 438150 h 2254250"/>
              <a:gd name="connsiteX21" fmla="*/ 1670234 w 3892734"/>
              <a:gd name="connsiteY21" fmla="*/ 654050 h 2254250"/>
              <a:gd name="connsiteX22" fmla="*/ 1905184 w 3892734"/>
              <a:gd name="connsiteY22" fmla="*/ 1066800 h 2254250"/>
              <a:gd name="connsiteX23" fmla="*/ 2006784 w 3892734"/>
              <a:gd name="connsiteY23" fmla="*/ 1212850 h 2254250"/>
              <a:gd name="connsiteX24" fmla="*/ 2082984 w 3892734"/>
              <a:gd name="connsiteY24" fmla="*/ 1295400 h 2254250"/>
              <a:gd name="connsiteX25" fmla="*/ 2190934 w 3892734"/>
              <a:gd name="connsiteY25" fmla="*/ 1263650 h 2254250"/>
              <a:gd name="connsiteX26" fmla="*/ 2235384 w 3892734"/>
              <a:gd name="connsiteY26" fmla="*/ 1168400 h 2254250"/>
              <a:gd name="connsiteX27" fmla="*/ 2292534 w 3892734"/>
              <a:gd name="connsiteY27" fmla="*/ 1016000 h 2254250"/>
              <a:gd name="connsiteX28" fmla="*/ 2368734 w 3892734"/>
              <a:gd name="connsiteY28" fmla="*/ 876300 h 2254250"/>
              <a:gd name="connsiteX29" fmla="*/ 2425884 w 3892734"/>
              <a:gd name="connsiteY29" fmla="*/ 787400 h 2254250"/>
              <a:gd name="connsiteX30" fmla="*/ 2476684 w 3892734"/>
              <a:gd name="connsiteY30" fmla="*/ 749300 h 2254250"/>
              <a:gd name="connsiteX31" fmla="*/ 2546534 w 3892734"/>
              <a:gd name="connsiteY31" fmla="*/ 736600 h 2254250"/>
              <a:gd name="connsiteX32" fmla="*/ 2654484 w 3892734"/>
              <a:gd name="connsiteY32" fmla="*/ 781050 h 2254250"/>
              <a:gd name="connsiteX33" fmla="*/ 2756084 w 3892734"/>
              <a:gd name="connsiteY33" fmla="*/ 838200 h 2254250"/>
              <a:gd name="connsiteX34" fmla="*/ 2851334 w 3892734"/>
              <a:gd name="connsiteY34" fmla="*/ 901700 h 2254250"/>
              <a:gd name="connsiteX35" fmla="*/ 2997384 w 3892734"/>
              <a:gd name="connsiteY35" fmla="*/ 920750 h 2254250"/>
              <a:gd name="connsiteX36" fmla="*/ 3175184 w 3892734"/>
              <a:gd name="connsiteY36" fmla="*/ 895350 h 2254250"/>
              <a:gd name="connsiteX37" fmla="*/ 3295834 w 3892734"/>
              <a:gd name="connsiteY37" fmla="*/ 774700 h 2254250"/>
              <a:gd name="connsiteX38" fmla="*/ 3391084 w 3892734"/>
              <a:gd name="connsiteY38" fmla="*/ 628650 h 2254250"/>
              <a:gd name="connsiteX39" fmla="*/ 3486334 w 3892734"/>
              <a:gd name="connsiteY39" fmla="*/ 495300 h 2254250"/>
              <a:gd name="connsiteX40" fmla="*/ 3594284 w 3892734"/>
              <a:gd name="connsiteY40" fmla="*/ 412750 h 2254250"/>
              <a:gd name="connsiteX41" fmla="*/ 3714934 w 3892734"/>
              <a:gd name="connsiteY41" fmla="*/ 406400 h 2254250"/>
              <a:gd name="connsiteX42" fmla="*/ 3892734 w 3892734"/>
              <a:gd name="connsiteY42" fmla="*/ 412750 h 2254250"/>
              <a:gd name="connsiteX43" fmla="*/ 3892734 w 3892734"/>
              <a:gd name="connsiteY43" fmla="*/ 755650 h 2254250"/>
              <a:gd name="connsiteX44" fmla="*/ 3708584 w 3892734"/>
              <a:gd name="connsiteY44" fmla="*/ 958850 h 2254250"/>
              <a:gd name="connsiteX45" fmla="*/ 3568884 w 3892734"/>
              <a:gd name="connsiteY45" fmla="*/ 1098550 h 2254250"/>
              <a:gd name="connsiteX46" fmla="*/ 3499034 w 3892734"/>
              <a:gd name="connsiteY46" fmla="*/ 1155700 h 2254250"/>
              <a:gd name="connsiteX47" fmla="*/ 3340284 w 3892734"/>
              <a:gd name="connsiteY47" fmla="*/ 1155700 h 2254250"/>
              <a:gd name="connsiteX48" fmla="*/ 3219634 w 3892734"/>
              <a:gd name="connsiteY48" fmla="*/ 1181100 h 2254250"/>
              <a:gd name="connsiteX49" fmla="*/ 3111684 w 3892734"/>
              <a:gd name="connsiteY49" fmla="*/ 1295400 h 2254250"/>
              <a:gd name="connsiteX50" fmla="*/ 2952934 w 3892734"/>
              <a:gd name="connsiteY50" fmla="*/ 1587500 h 2254250"/>
              <a:gd name="connsiteX51" fmla="*/ 2813234 w 3892734"/>
              <a:gd name="connsiteY51" fmla="*/ 1847850 h 2254250"/>
              <a:gd name="connsiteX52" fmla="*/ 2629084 w 3892734"/>
              <a:gd name="connsiteY52" fmla="*/ 2127250 h 2254250"/>
              <a:gd name="connsiteX53" fmla="*/ 2463984 w 3892734"/>
              <a:gd name="connsiteY53" fmla="*/ 2228850 h 2254250"/>
              <a:gd name="connsiteX54" fmla="*/ 2356034 w 3892734"/>
              <a:gd name="connsiteY54" fmla="*/ 2254250 h 2254250"/>
              <a:gd name="connsiteX55" fmla="*/ 2057584 w 3892734"/>
              <a:gd name="connsiteY55" fmla="*/ 2178050 h 2254250"/>
              <a:gd name="connsiteX56" fmla="*/ 2036946 w 3892734"/>
              <a:gd name="connsiteY56" fmla="*/ 2106231 h 2254250"/>
              <a:gd name="connsiteX57" fmla="*/ 1908359 w 3892734"/>
              <a:gd name="connsiteY57" fmla="*/ 1872537 h 2254250"/>
              <a:gd name="connsiteX58" fmla="*/ 1832158 w 3892734"/>
              <a:gd name="connsiteY58" fmla="*/ 1747371 h 2254250"/>
              <a:gd name="connsiteX59" fmla="*/ 1719447 w 3892734"/>
              <a:gd name="connsiteY59" fmla="*/ 1606380 h 2254250"/>
              <a:gd name="connsiteX60" fmla="*/ 1578160 w 3892734"/>
              <a:gd name="connsiteY60" fmla="*/ 1426137 h 2254250"/>
              <a:gd name="connsiteX61" fmla="*/ 1433697 w 3892734"/>
              <a:gd name="connsiteY61" fmla="*/ 1317171 h 2254250"/>
              <a:gd name="connsiteX62" fmla="*/ 1101909 w 3892734"/>
              <a:gd name="connsiteY62" fmla="*/ 1573782 h 2254250"/>
              <a:gd name="connsiteX63" fmla="*/ 895535 w 3892734"/>
              <a:gd name="connsiteY63" fmla="*/ 1609913 h 2254250"/>
              <a:gd name="connsiteX64" fmla="*/ 743134 w 3892734"/>
              <a:gd name="connsiteY64" fmla="*/ 1587266 h 2254250"/>
              <a:gd name="connsiteX65" fmla="*/ 538346 w 3892734"/>
              <a:gd name="connsiteY65" fmla="*/ 1642309 h 2254250"/>
              <a:gd name="connsiteX66" fmla="*/ 358959 w 3892734"/>
              <a:gd name="connsiteY66" fmla="*/ 1593072 h 2254250"/>
              <a:gd name="connsiteX67" fmla="*/ 12884 w 3892734"/>
              <a:gd name="connsiteY67" fmla="*/ 1221921 h 2254250"/>
              <a:gd name="connsiteX68" fmla="*/ 184 w 3892734"/>
              <a:gd name="connsiteY68" fmla="*/ 0 h 2254250"/>
              <a:gd name="connsiteX0" fmla="*/ 184 w 3892734"/>
              <a:gd name="connsiteY0" fmla="*/ 0 h 2286441"/>
              <a:gd name="connsiteX1" fmla="*/ 266884 w 3892734"/>
              <a:gd name="connsiteY1" fmla="*/ 1162050 h 2286441"/>
              <a:gd name="connsiteX2" fmla="*/ 317684 w 3892734"/>
              <a:gd name="connsiteY2" fmla="*/ 1308100 h 2286441"/>
              <a:gd name="connsiteX3" fmla="*/ 362134 w 3892734"/>
              <a:gd name="connsiteY3" fmla="*/ 1371600 h 2286441"/>
              <a:gd name="connsiteX4" fmla="*/ 412934 w 3892734"/>
              <a:gd name="connsiteY4" fmla="*/ 1314450 h 2286441"/>
              <a:gd name="connsiteX5" fmla="*/ 514534 w 3892734"/>
              <a:gd name="connsiteY5" fmla="*/ 996950 h 2286441"/>
              <a:gd name="connsiteX6" fmla="*/ 584384 w 3892734"/>
              <a:gd name="connsiteY6" fmla="*/ 641350 h 2286441"/>
              <a:gd name="connsiteX7" fmla="*/ 641534 w 3892734"/>
              <a:gd name="connsiteY7" fmla="*/ 444500 h 2286441"/>
              <a:gd name="connsiteX8" fmla="*/ 692334 w 3892734"/>
              <a:gd name="connsiteY8" fmla="*/ 330200 h 2286441"/>
              <a:gd name="connsiteX9" fmla="*/ 724084 w 3892734"/>
              <a:gd name="connsiteY9" fmla="*/ 279400 h 2286441"/>
              <a:gd name="connsiteX10" fmla="*/ 806634 w 3892734"/>
              <a:gd name="connsiteY10" fmla="*/ 298450 h 2286441"/>
              <a:gd name="connsiteX11" fmla="*/ 927284 w 3892734"/>
              <a:gd name="connsiteY11" fmla="*/ 495300 h 2286441"/>
              <a:gd name="connsiteX12" fmla="*/ 978084 w 3892734"/>
              <a:gd name="connsiteY12" fmla="*/ 622300 h 2286441"/>
              <a:gd name="connsiteX13" fmla="*/ 1060634 w 3892734"/>
              <a:gd name="connsiteY13" fmla="*/ 666750 h 2286441"/>
              <a:gd name="connsiteX14" fmla="*/ 1136834 w 3892734"/>
              <a:gd name="connsiteY14" fmla="*/ 622300 h 2286441"/>
              <a:gd name="connsiteX15" fmla="*/ 1225734 w 3892734"/>
              <a:gd name="connsiteY15" fmla="*/ 495300 h 2286441"/>
              <a:gd name="connsiteX16" fmla="*/ 1289234 w 3892734"/>
              <a:gd name="connsiteY16" fmla="*/ 355600 h 2286441"/>
              <a:gd name="connsiteX17" fmla="*/ 1352734 w 3892734"/>
              <a:gd name="connsiteY17" fmla="*/ 292100 h 2286441"/>
              <a:gd name="connsiteX18" fmla="*/ 1397184 w 3892734"/>
              <a:gd name="connsiteY18" fmla="*/ 254000 h 2286441"/>
              <a:gd name="connsiteX19" fmla="*/ 1486084 w 3892734"/>
              <a:gd name="connsiteY19" fmla="*/ 285750 h 2286441"/>
              <a:gd name="connsiteX20" fmla="*/ 1581334 w 3892734"/>
              <a:gd name="connsiteY20" fmla="*/ 438150 h 2286441"/>
              <a:gd name="connsiteX21" fmla="*/ 1670234 w 3892734"/>
              <a:gd name="connsiteY21" fmla="*/ 654050 h 2286441"/>
              <a:gd name="connsiteX22" fmla="*/ 1905184 w 3892734"/>
              <a:gd name="connsiteY22" fmla="*/ 1066800 h 2286441"/>
              <a:gd name="connsiteX23" fmla="*/ 2006784 w 3892734"/>
              <a:gd name="connsiteY23" fmla="*/ 1212850 h 2286441"/>
              <a:gd name="connsiteX24" fmla="*/ 2082984 w 3892734"/>
              <a:gd name="connsiteY24" fmla="*/ 1295400 h 2286441"/>
              <a:gd name="connsiteX25" fmla="*/ 2190934 w 3892734"/>
              <a:gd name="connsiteY25" fmla="*/ 1263650 h 2286441"/>
              <a:gd name="connsiteX26" fmla="*/ 2235384 w 3892734"/>
              <a:gd name="connsiteY26" fmla="*/ 1168400 h 2286441"/>
              <a:gd name="connsiteX27" fmla="*/ 2292534 w 3892734"/>
              <a:gd name="connsiteY27" fmla="*/ 1016000 h 2286441"/>
              <a:gd name="connsiteX28" fmla="*/ 2368734 w 3892734"/>
              <a:gd name="connsiteY28" fmla="*/ 876300 h 2286441"/>
              <a:gd name="connsiteX29" fmla="*/ 2425884 w 3892734"/>
              <a:gd name="connsiteY29" fmla="*/ 787400 h 2286441"/>
              <a:gd name="connsiteX30" fmla="*/ 2476684 w 3892734"/>
              <a:gd name="connsiteY30" fmla="*/ 749300 h 2286441"/>
              <a:gd name="connsiteX31" fmla="*/ 2546534 w 3892734"/>
              <a:gd name="connsiteY31" fmla="*/ 736600 h 2286441"/>
              <a:gd name="connsiteX32" fmla="*/ 2654484 w 3892734"/>
              <a:gd name="connsiteY32" fmla="*/ 781050 h 2286441"/>
              <a:gd name="connsiteX33" fmla="*/ 2756084 w 3892734"/>
              <a:gd name="connsiteY33" fmla="*/ 838200 h 2286441"/>
              <a:gd name="connsiteX34" fmla="*/ 2851334 w 3892734"/>
              <a:gd name="connsiteY34" fmla="*/ 901700 h 2286441"/>
              <a:gd name="connsiteX35" fmla="*/ 2997384 w 3892734"/>
              <a:gd name="connsiteY35" fmla="*/ 920750 h 2286441"/>
              <a:gd name="connsiteX36" fmla="*/ 3175184 w 3892734"/>
              <a:gd name="connsiteY36" fmla="*/ 895350 h 2286441"/>
              <a:gd name="connsiteX37" fmla="*/ 3295834 w 3892734"/>
              <a:gd name="connsiteY37" fmla="*/ 774700 h 2286441"/>
              <a:gd name="connsiteX38" fmla="*/ 3391084 w 3892734"/>
              <a:gd name="connsiteY38" fmla="*/ 628650 h 2286441"/>
              <a:gd name="connsiteX39" fmla="*/ 3486334 w 3892734"/>
              <a:gd name="connsiteY39" fmla="*/ 495300 h 2286441"/>
              <a:gd name="connsiteX40" fmla="*/ 3594284 w 3892734"/>
              <a:gd name="connsiteY40" fmla="*/ 412750 h 2286441"/>
              <a:gd name="connsiteX41" fmla="*/ 3714934 w 3892734"/>
              <a:gd name="connsiteY41" fmla="*/ 406400 h 2286441"/>
              <a:gd name="connsiteX42" fmla="*/ 3892734 w 3892734"/>
              <a:gd name="connsiteY42" fmla="*/ 412750 h 2286441"/>
              <a:gd name="connsiteX43" fmla="*/ 3892734 w 3892734"/>
              <a:gd name="connsiteY43" fmla="*/ 755650 h 2286441"/>
              <a:gd name="connsiteX44" fmla="*/ 3708584 w 3892734"/>
              <a:gd name="connsiteY44" fmla="*/ 958850 h 2286441"/>
              <a:gd name="connsiteX45" fmla="*/ 3568884 w 3892734"/>
              <a:gd name="connsiteY45" fmla="*/ 1098550 h 2286441"/>
              <a:gd name="connsiteX46" fmla="*/ 3499034 w 3892734"/>
              <a:gd name="connsiteY46" fmla="*/ 1155700 h 2286441"/>
              <a:gd name="connsiteX47" fmla="*/ 3340284 w 3892734"/>
              <a:gd name="connsiteY47" fmla="*/ 1155700 h 2286441"/>
              <a:gd name="connsiteX48" fmla="*/ 3219634 w 3892734"/>
              <a:gd name="connsiteY48" fmla="*/ 1181100 h 2286441"/>
              <a:gd name="connsiteX49" fmla="*/ 3111684 w 3892734"/>
              <a:gd name="connsiteY49" fmla="*/ 1295400 h 2286441"/>
              <a:gd name="connsiteX50" fmla="*/ 2952934 w 3892734"/>
              <a:gd name="connsiteY50" fmla="*/ 1587500 h 2286441"/>
              <a:gd name="connsiteX51" fmla="*/ 2813234 w 3892734"/>
              <a:gd name="connsiteY51" fmla="*/ 1847850 h 2286441"/>
              <a:gd name="connsiteX52" fmla="*/ 2629084 w 3892734"/>
              <a:gd name="connsiteY52" fmla="*/ 2127250 h 2286441"/>
              <a:gd name="connsiteX53" fmla="*/ 2463984 w 3892734"/>
              <a:gd name="connsiteY53" fmla="*/ 2228850 h 2286441"/>
              <a:gd name="connsiteX54" fmla="*/ 2356034 w 3892734"/>
              <a:gd name="connsiteY54" fmla="*/ 2254250 h 2286441"/>
              <a:gd name="connsiteX55" fmla="*/ 2248084 w 3892734"/>
              <a:gd name="connsiteY55" fmla="*/ 2286441 h 2286441"/>
              <a:gd name="connsiteX56" fmla="*/ 2036946 w 3892734"/>
              <a:gd name="connsiteY56" fmla="*/ 2106231 h 2286441"/>
              <a:gd name="connsiteX57" fmla="*/ 1908359 w 3892734"/>
              <a:gd name="connsiteY57" fmla="*/ 1872537 h 2286441"/>
              <a:gd name="connsiteX58" fmla="*/ 1832158 w 3892734"/>
              <a:gd name="connsiteY58" fmla="*/ 1747371 h 2286441"/>
              <a:gd name="connsiteX59" fmla="*/ 1719447 w 3892734"/>
              <a:gd name="connsiteY59" fmla="*/ 1606380 h 2286441"/>
              <a:gd name="connsiteX60" fmla="*/ 1578160 w 3892734"/>
              <a:gd name="connsiteY60" fmla="*/ 1426137 h 2286441"/>
              <a:gd name="connsiteX61" fmla="*/ 1433697 w 3892734"/>
              <a:gd name="connsiteY61" fmla="*/ 1317171 h 2286441"/>
              <a:gd name="connsiteX62" fmla="*/ 1101909 w 3892734"/>
              <a:gd name="connsiteY62" fmla="*/ 1573782 h 2286441"/>
              <a:gd name="connsiteX63" fmla="*/ 895535 w 3892734"/>
              <a:gd name="connsiteY63" fmla="*/ 1609913 h 2286441"/>
              <a:gd name="connsiteX64" fmla="*/ 743134 w 3892734"/>
              <a:gd name="connsiteY64" fmla="*/ 1587266 h 2286441"/>
              <a:gd name="connsiteX65" fmla="*/ 538346 w 3892734"/>
              <a:gd name="connsiteY65" fmla="*/ 1642309 h 2286441"/>
              <a:gd name="connsiteX66" fmla="*/ 358959 w 3892734"/>
              <a:gd name="connsiteY66" fmla="*/ 1593072 h 2286441"/>
              <a:gd name="connsiteX67" fmla="*/ 12884 w 3892734"/>
              <a:gd name="connsiteY67" fmla="*/ 1221921 h 2286441"/>
              <a:gd name="connsiteX68" fmla="*/ 184 w 3892734"/>
              <a:gd name="connsiteY68" fmla="*/ 0 h 2286441"/>
              <a:gd name="connsiteX0" fmla="*/ 184 w 3892734"/>
              <a:gd name="connsiteY0" fmla="*/ 0 h 2303930"/>
              <a:gd name="connsiteX1" fmla="*/ 266884 w 3892734"/>
              <a:gd name="connsiteY1" fmla="*/ 1162050 h 2303930"/>
              <a:gd name="connsiteX2" fmla="*/ 317684 w 3892734"/>
              <a:gd name="connsiteY2" fmla="*/ 1308100 h 2303930"/>
              <a:gd name="connsiteX3" fmla="*/ 362134 w 3892734"/>
              <a:gd name="connsiteY3" fmla="*/ 1371600 h 2303930"/>
              <a:gd name="connsiteX4" fmla="*/ 412934 w 3892734"/>
              <a:gd name="connsiteY4" fmla="*/ 1314450 h 2303930"/>
              <a:gd name="connsiteX5" fmla="*/ 514534 w 3892734"/>
              <a:gd name="connsiteY5" fmla="*/ 996950 h 2303930"/>
              <a:gd name="connsiteX6" fmla="*/ 584384 w 3892734"/>
              <a:gd name="connsiteY6" fmla="*/ 641350 h 2303930"/>
              <a:gd name="connsiteX7" fmla="*/ 641534 w 3892734"/>
              <a:gd name="connsiteY7" fmla="*/ 444500 h 2303930"/>
              <a:gd name="connsiteX8" fmla="*/ 692334 w 3892734"/>
              <a:gd name="connsiteY8" fmla="*/ 330200 h 2303930"/>
              <a:gd name="connsiteX9" fmla="*/ 724084 w 3892734"/>
              <a:gd name="connsiteY9" fmla="*/ 279400 h 2303930"/>
              <a:gd name="connsiteX10" fmla="*/ 806634 w 3892734"/>
              <a:gd name="connsiteY10" fmla="*/ 298450 h 2303930"/>
              <a:gd name="connsiteX11" fmla="*/ 927284 w 3892734"/>
              <a:gd name="connsiteY11" fmla="*/ 495300 h 2303930"/>
              <a:gd name="connsiteX12" fmla="*/ 978084 w 3892734"/>
              <a:gd name="connsiteY12" fmla="*/ 622300 h 2303930"/>
              <a:gd name="connsiteX13" fmla="*/ 1060634 w 3892734"/>
              <a:gd name="connsiteY13" fmla="*/ 666750 h 2303930"/>
              <a:gd name="connsiteX14" fmla="*/ 1136834 w 3892734"/>
              <a:gd name="connsiteY14" fmla="*/ 622300 h 2303930"/>
              <a:gd name="connsiteX15" fmla="*/ 1225734 w 3892734"/>
              <a:gd name="connsiteY15" fmla="*/ 495300 h 2303930"/>
              <a:gd name="connsiteX16" fmla="*/ 1289234 w 3892734"/>
              <a:gd name="connsiteY16" fmla="*/ 355600 h 2303930"/>
              <a:gd name="connsiteX17" fmla="*/ 1352734 w 3892734"/>
              <a:gd name="connsiteY17" fmla="*/ 292100 h 2303930"/>
              <a:gd name="connsiteX18" fmla="*/ 1397184 w 3892734"/>
              <a:gd name="connsiteY18" fmla="*/ 254000 h 2303930"/>
              <a:gd name="connsiteX19" fmla="*/ 1486084 w 3892734"/>
              <a:gd name="connsiteY19" fmla="*/ 285750 h 2303930"/>
              <a:gd name="connsiteX20" fmla="*/ 1581334 w 3892734"/>
              <a:gd name="connsiteY20" fmla="*/ 438150 h 2303930"/>
              <a:gd name="connsiteX21" fmla="*/ 1670234 w 3892734"/>
              <a:gd name="connsiteY21" fmla="*/ 654050 h 2303930"/>
              <a:gd name="connsiteX22" fmla="*/ 1905184 w 3892734"/>
              <a:gd name="connsiteY22" fmla="*/ 1066800 h 2303930"/>
              <a:gd name="connsiteX23" fmla="*/ 2006784 w 3892734"/>
              <a:gd name="connsiteY23" fmla="*/ 1212850 h 2303930"/>
              <a:gd name="connsiteX24" fmla="*/ 2082984 w 3892734"/>
              <a:gd name="connsiteY24" fmla="*/ 1295400 h 2303930"/>
              <a:gd name="connsiteX25" fmla="*/ 2190934 w 3892734"/>
              <a:gd name="connsiteY25" fmla="*/ 1263650 h 2303930"/>
              <a:gd name="connsiteX26" fmla="*/ 2235384 w 3892734"/>
              <a:gd name="connsiteY26" fmla="*/ 1168400 h 2303930"/>
              <a:gd name="connsiteX27" fmla="*/ 2292534 w 3892734"/>
              <a:gd name="connsiteY27" fmla="*/ 1016000 h 2303930"/>
              <a:gd name="connsiteX28" fmla="*/ 2368734 w 3892734"/>
              <a:gd name="connsiteY28" fmla="*/ 876300 h 2303930"/>
              <a:gd name="connsiteX29" fmla="*/ 2425884 w 3892734"/>
              <a:gd name="connsiteY29" fmla="*/ 787400 h 2303930"/>
              <a:gd name="connsiteX30" fmla="*/ 2476684 w 3892734"/>
              <a:gd name="connsiteY30" fmla="*/ 749300 h 2303930"/>
              <a:gd name="connsiteX31" fmla="*/ 2546534 w 3892734"/>
              <a:gd name="connsiteY31" fmla="*/ 736600 h 2303930"/>
              <a:gd name="connsiteX32" fmla="*/ 2654484 w 3892734"/>
              <a:gd name="connsiteY32" fmla="*/ 781050 h 2303930"/>
              <a:gd name="connsiteX33" fmla="*/ 2756084 w 3892734"/>
              <a:gd name="connsiteY33" fmla="*/ 838200 h 2303930"/>
              <a:gd name="connsiteX34" fmla="*/ 2851334 w 3892734"/>
              <a:gd name="connsiteY34" fmla="*/ 901700 h 2303930"/>
              <a:gd name="connsiteX35" fmla="*/ 2997384 w 3892734"/>
              <a:gd name="connsiteY35" fmla="*/ 920750 h 2303930"/>
              <a:gd name="connsiteX36" fmla="*/ 3175184 w 3892734"/>
              <a:gd name="connsiteY36" fmla="*/ 895350 h 2303930"/>
              <a:gd name="connsiteX37" fmla="*/ 3295834 w 3892734"/>
              <a:gd name="connsiteY37" fmla="*/ 774700 h 2303930"/>
              <a:gd name="connsiteX38" fmla="*/ 3391084 w 3892734"/>
              <a:gd name="connsiteY38" fmla="*/ 628650 h 2303930"/>
              <a:gd name="connsiteX39" fmla="*/ 3486334 w 3892734"/>
              <a:gd name="connsiteY39" fmla="*/ 495300 h 2303930"/>
              <a:gd name="connsiteX40" fmla="*/ 3594284 w 3892734"/>
              <a:gd name="connsiteY40" fmla="*/ 412750 h 2303930"/>
              <a:gd name="connsiteX41" fmla="*/ 3714934 w 3892734"/>
              <a:gd name="connsiteY41" fmla="*/ 406400 h 2303930"/>
              <a:gd name="connsiteX42" fmla="*/ 3892734 w 3892734"/>
              <a:gd name="connsiteY42" fmla="*/ 412750 h 2303930"/>
              <a:gd name="connsiteX43" fmla="*/ 3892734 w 3892734"/>
              <a:gd name="connsiteY43" fmla="*/ 755650 h 2303930"/>
              <a:gd name="connsiteX44" fmla="*/ 3708584 w 3892734"/>
              <a:gd name="connsiteY44" fmla="*/ 958850 h 2303930"/>
              <a:gd name="connsiteX45" fmla="*/ 3568884 w 3892734"/>
              <a:gd name="connsiteY45" fmla="*/ 1098550 h 2303930"/>
              <a:gd name="connsiteX46" fmla="*/ 3499034 w 3892734"/>
              <a:gd name="connsiteY46" fmla="*/ 1155700 h 2303930"/>
              <a:gd name="connsiteX47" fmla="*/ 3340284 w 3892734"/>
              <a:gd name="connsiteY47" fmla="*/ 1155700 h 2303930"/>
              <a:gd name="connsiteX48" fmla="*/ 3219634 w 3892734"/>
              <a:gd name="connsiteY48" fmla="*/ 1181100 h 2303930"/>
              <a:gd name="connsiteX49" fmla="*/ 3111684 w 3892734"/>
              <a:gd name="connsiteY49" fmla="*/ 1295400 h 2303930"/>
              <a:gd name="connsiteX50" fmla="*/ 2952934 w 3892734"/>
              <a:gd name="connsiteY50" fmla="*/ 1587500 h 2303930"/>
              <a:gd name="connsiteX51" fmla="*/ 2813234 w 3892734"/>
              <a:gd name="connsiteY51" fmla="*/ 1847850 h 2303930"/>
              <a:gd name="connsiteX52" fmla="*/ 2629084 w 3892734"/>
              <a:gd name="connsiteY52" fmla="*/ 2127250 h 2303930"/>
              <a:gd name="connsiteX53" fmla="*/ 2463984 w 3892734"/>
              <a:gd name="connsiteY53" fmla="*/ 2228850 h 2303930"/>
              <a:gd name="connsiteX54" fmla="*/ 2503671 w 3892734"/>
              <a:gd name="connsiteY54" fmla="*/ 2303930 h 2303930"/>
              <a:gd name="connsiteX55" fmla="*/ 2248084 w 3892734"/>
              <a:gd name="connsiteY55" fmla="*/ 2286441 h 2303930"/>
              <a:gd name="connsiteX56" fmla="*/ 2036946 w 3892734"/>
              <a:gd name="connsiteY56" fmla="*/ 2106231 h 2303930"/>
              <a:gd name="connsiteX57" fmla="*/ 1908359 w 3892734"/>
              <a:gd name="connsiteY57" fmla="*/ 1872537 h 2303930"/>
              <a:gd name="connsiteX58" fmla="*/ 1832158 w 3892734"/>
              <a:gd name="connsiteY58" fmla="*/ 1747371 h 2303930"/>
              <a:gd name="connsiteX59" fmla="*/ 1719447 w 3892734"/>
              <a:gd name="connsiteY59" fmla="*/ 1606380 h 2303930"/>
              <a:gd name="connsiteX60" fmla="*/ 1578160 w 3892734"/>
              <a:gd name="connsiteY60" fmla="*/ 1426137 h 2303930"/>
              <a:gd name="connsiteX61" fmla="*/ 1433697 w 3892734"/>
              <a:gd name="connsiteY61" fmla="*/ 1317171 h 2303930"/>
              <a:gd name="connsiteX62" fmla="*/ 1101909 w 3892734"/>
              <a:gd name="connsiteY62" fmla="*/ 1573782 h 2303930"/>
              <a:gd name="connsiteX63" fmla="*/ 895535 w 3892734"/>
              <a:gd name="connsiteY63" fmla="*/ 1609913 h 2303930"/>
              <a:gd name="connsiteX64" fmla="*/ 743134 w 3892734"/>
              <a:gd name="connsiteY64" fmla="*/ 1587266 h 2303930"/>
              <a:gd name="connsiteX65" fmla="*/ 538346 w 3892734"/>
              <a:gd name="connsiteY65" fmla="*/ 1642309 h 2303930"/>
              <a:gd name="connsiteX66" fmla="*/ 358959 w 3892734"/>
              <a:gd name="connsiteY66" fmla="*/ 1593072 h 2303930"/>
              <a:gd name="connsiteX67" fmla="*/ 12884 w 3892734"/>
              <a:gd name="connsiteY67" fmla="*/ 1221921 h 2303930"/>
              <a:gd name="connsiteX68" fmla="*/ 184 w 3892734"/>
              <a:gd name="connsiteY68" fmla="*/ 0 h 2303930"/>
              <a:gd name="connsiteX0" fmla="*/ 184 w 3892734"/>
              <a:gd name="connsiteY0" fmla="*/ 0 h 2303930"/>
              <a:gd name="connsiteX1" fmla="*/ 266884 w 3892734"/>
              <a:gd name="connsiteY1" fmla="*/ 1162050 h 2303930"/>
              <a:gd name="connsiteX2" fmla="*/ 317684 w 3892734"/>
              <a:gd name="connsiteY2" fmla="*/ 1308100 h 2303930"/>
              <a:gd name="connsiteX3" fmla="*/ 362134 w 3892734"/>
              <a:gd name="connsiteY3" fmla="*/ 1371600 h 2303930"/>
              <a:gd name="connsiteX4" fmla="*/ 412934 w 3892734"/>
              <a:gd name="connsiteY4" fmla="*/ 1314450 h 2303930"/>
              <a:gd name="connsiteX5" fmla="*/ 514534 w 3892734"/>
              <a:gd name="connsiteY5" fmla="*/ 996950 h 2303930"/>
              <a:gd name="connsiteX6" fmla="*/ 584384 w 3892734"/>
              <a:gd name="connsiteY6" fmla="*/ 641350 h 2303930"/>
              <a:gd name="connsiteX7" fmla="*/ 641534 w 3892734"/>
              <a:gd name="connsiteY7" fmla="*/ 444500 h 2303930"/>
              <a:gd name="connsiteX8" fmla="*/ 692334 w 3892734"/>
              <a:gd name="connsiteY8" fmla="*/ 330200 h 2303930"/>
              <a:gd name="connsiteX9" fmla="*/ 724084 w 3892734"/>
              <a:gd name="connsiteY9" fmla="*/ 279400 h 2303930"/>
              <a:gd name="connsiteX10" fmla="*/ 806634 w 3892734"/>
              <a:gd name="connsiteY10" fmla="*/ 298450 h 2303930"/>
              <a:gd name="connsiteX11" fmla="*/ 927284 w 3892734"/>
              <a:gd name="connsiteY11" fmla="*/ 495300 h 2303930"/>
              <a:gd name="connsiteX12" fmla="*/ 978084 w 3892734"/>
              <a:gd name="connsiteY12" fmla="*/ 622300 h 2303930"/>
              <a:gd name="connsiteX13" fmla="*/ 1060634 w 3892734"/>
              <a:gd name="connsiteY13" fmla="*/ 666750 h 2303930"/>
              <a:gd name="connsiteX14" fmla="*/ 1136834 w 3892734"/>
              <a:gd name="connsiteY14" fmla="*/ 622300 h 2303930"/>
              <a:gd name="connsiteX15" fmla="*/ 1225734 w 3892734"/>
              <a:gd name="connsiteY15" fmla="*/ 495300 h 2303930"/>
              <a:gd name="connsiteX16" fmla="*/ 1289234 w 3892734"/>
              <a:gd name="connsiteY16" fmla="*/ 355600 h 2303930"/>
              <a:gd name="connsiteX17" fmla="*/ 1352734 w 3892734"/>
              <a:gd name="connsiteY17" fmla="*/ 292100 h 2303930"/>
              <a:gd name="connsiteX18" fmla="*/ 1397184 w 3892734"/>
              <a:gd name="connsiteY18" fmla="*/ 254000 h 2303930"/>
              <a:gd name="connsiteX19" fmla="*/ 1486084 w 3892734"/>
              <a:gd name="connsiteY19" fmla="*/ 285750 h 2303930"/>
              <a:gd name="connsiteX20" fmla="*/ 1581334 w 3892734"/>
              <a:gd name="connsiteY20" fmla="*/ 438150 h 2303930"/>
              <a:gd name="connsiteX21" fmla="*/ 1670234 w 3892734"/>
              <a:gd name="connsiteY21" fmla="*/ 654050 h 2303930"/>
              <a:gd name="connsiteX22" fmla="*/ 1905184 w 3892734"/>
              <a:gd name="connsiteY22" fmla="*/ 1066800 h 2303930"/>
              <a:gd name="connsiteX23" fmla="*/ 2006784 w 3892734"/>
              <a:gd name="connsiteY23" fmla="*/ 1212850 h 2303930"/>
              <a:gd name="connsiteX24" fmla="*/ 2082984 w 3892734"/>
              <a:gd name="connsiteY24" fmla="*/ 1295400 h 2303930"/>
              <a:gd name="connsiteX25" fmla="*/ 2190934 w 3892734"/>
              <a:gd name="connsiteY25" fmla="*/ 1263650 h 2303930"/>
              <a:gd name="connsiteX26" fmla="*/ 2235384 w 3892734"/>
              <a:gd name="connsiteY26" fmla="*/ 1168400 h 2303930"/>
              <a:gd name="connsiteX27" fmla="*/ 2292534 w 3892734"/>
              <a:gd name="connsiteY27" fmla="*/ 1016000 h 2303930"/>
              <a:gd name="connsiteX28" fmla="*/ 2368734 w 3892734"/>
              <a:gd name="connsiteY28" fmla="*/ 876300 h 2303930"/>
              <a:gd name="connsiteX29" fmla="*/ 2425884 w 3892734"/>
              <a:gd name="connsiteY29" fmla="*/ 787400 h 2303930"/>
              <a:gd name="connsiteX30" fmla="*/ 2476684 w 3892734"/>
              <a:gd name="connsiteY30" fmla="*/ 749300 h 2303930"/>
              <a:gd name="connsiteX31" fmla="*/ 2546534 w 3892734"/>
              <a:gd name="connsiteY31" fmla="*/ 736600 h 2303930"/>
              <a:gd name="connsiteX32" fmla="*/ 2654484 w 3892734"/>
              <a:gd name="connsiteY32" fmla="*/ 781050 h 2303930"/>
              <a:gd name="connsiteX33" fmla="*/ 2756084 w 3892734"/>
              <a:gd name="connsiteY33" fmla="*/ 838200 h 2303930"/>
              <a:gd name="connsiteX34" fmla="*/ 2851334 w 3892734"/>
              <a:gd name="connsiteY34" fmla="*/ 901700 h 2303930"/>
              <a:gd name="connsiteX35" fmla="*/ 2997384 w 3892734"/>
              <a:gd name="connsiteY35" fmla="*/ 920750 h 2303930"/>
              <a:gd name="connsiteX36" fmla="*/ 3175184 w 3892734"/>
              <a:gd name="connsiteY36" fmla="*/ 895350 h 2303930"/>
              <a:gd name="connsiteX37" fmla="*/ 3295834 w 3892734"/>
              <a:gd name="connsiteY37" fmla="*/ 774700 h 2303930"/>
              <a:gd name="connsiteX38" fmla="*/ 3391084 w 3892734"/>
              <a:gd name="connsiteY38" fmla="*/ 628650 h 2303930"/>
              <a:gd name="connsiteX39" fmla="*/ 3486334 w 3892734"/>
              <a:gd name="connsiteY39" fmla="*/ 495300 h 2303930"/>
              <a:gd name="connsiteX40" fmla="*/ 3594284 w 3892734"/>
              <a:gd name="connsiteY40" fmla="*/ 412750 h 2303930"/>
              <a:gd name="connsiteX41" fmla="*/ 3714934 w 3892734"/>
              <a:gd name="connsiteY41" fmla="*/ 406400 h 2303930"/>
              <a:gd name="connsiteX42" fmla="*/ 3892734 w 3892734"/>
              <a:gd name="connsiteY42" fmla="*/ 412750 h 2303930"/>
              <a:gd name="connsiteX43" fmla="*/ 3892734 w 3892734"/>
              <a:gd name="connsiteY43" fmla="*/ 755650 h 2303930"/>
              <a:gd name="connsiteX44" fmla="*/ 3708584 w 3892734"/>
              <a:gd name="connsiteY44" fmla="*/ 958850 h 2303930"/>
              <a:gd name="connsiteX45" fmla="*/ 3568884 w 3892734"/>
              <a:gd name="connsiteY45" fmla="*/ 1098550 h 2303930"/>
              <a:gd name="connsiteX46" fmla="*/ 3499034 w 3892734"/>
              <a:gd name="connsiteY46" fmla="*/ 1155700 h 2303930"/>
              <a:gd name="connsiteX47" fmla="*/ 3340284 w 3892734"/>
              <a:gd name="connsiteY47" fmla="*/ 1155700 h 2303930"/>
              <a:gd name="connsiteX48" fmla="*/ 3219634 w 3892734"/>
              <a:gd name="connsiteY48" fmla="*/ 1181100 h 2303930"/>
              <a:gd name="connsiteX49" fmla="*/ 3111684 w 3892734"/>
              <a:gd name="connsiteY49" fmla="*/ 1295400 h 2303930"/>
              <a:gd name="connsiteX50" fmla="*/ 2952934 w 3892734"/>
              <a:gd name="connsiteY50" fmla="*/ 1587500 h 2303930"/>
              <a:gd name="connsiteX51" fmla="*/ 2813234 w 3892734"/>
              <a:gd name="connsiteY51" fmla="*/ 1847850 h 2303930"/>
              <a:gd name="connsiteX52" fmla="*/ 2629084 w 3892734"/>
              <a:gd name="connsiteY52" fmla="*/ 2127250 h 2303930"/>
              <a:gd name="connsiteX53" fmla="*/ 2587809 w 3892734"/>
              <a:gd name="connsiteY53" fmla="*/ 2206268 h 2303930"/>
              <a:gd name="connsiteX54" fmla="*/ 2503671 w 3892734"/>
              <a:gd name="connsiteY54" fmla="*/ 2303930 h 2303930"/>
              <a:gd name="connsiteX55" fmla="*/ 2248084 w 3892734"/>
              <a:gd name="connsiteY55" fmla="*/ 2286441 h 2303930"/>
              <a:gd name="connsiteX56" fmla="*/ 2036946 w 3892734"/>
              <a:gd name="connsiteY56" fmla="*/ 2106231 h 2303930"/>
              <a:gd name="connsiteX57" fmla="*/ 1908359 w 3892734"/>
              <a:gd name="connsiteY57" fmla="*/ 1872537 h 2303930"/>
              <a:gd name="connsiteX58" fmla="*/ 1832158 w 3892734"/>
              <a:gd name="connsiteY58" fmla="*/ 1747371 h 2303930"/>
              <a:gd name="connsiteX59" fmla="*/ 1719447 w 3892734"/>
              <a:gd name="connsiteY59" fmla="*/ 1606380 h 2303930"/>
              <a:gd name="connsiteX60" fmla="*/ 1578160 w 3892734"/>
              <a:gd name="connsiteY60" fmla="*/ 1426137 h 2303930"/>
              <a:gd name="connsiteX61" fmla="*/ 1433697 w 3892734"/>
              <a:gd name="connsiteY61" fmla="*/ 1317171 h 2303930"/>
              <a:gd name="connsiteX62" fmla="*/ 1101909 w 3892734"/>
              <a:gd name="connsiteY62" fmla="*/ 1573782 h 2303930"/>
              <a:gd name="connsiteX63" fmla="*/ 895535 w 3892734"/>
              <a:gd name="connsiteY63" fmla="*/ 1609913 h 2303930"/>
              <a:gd name="connsiteX64" fmla="*/ 743134 w 3892734"/>
              <a:gd name="connsiteY64" fmla="*/ 1587266 h 2303930"/>
              <a:gd name="connsiteX65" fmla="*/ 538346 w 3892734"/>
              <a:gd name="connsiteY65" fmla="*/ 1642309 h 2303930"/>
              <a:gd name="connsiteX66" fmla="*/ 358959 w 3892734"/>
              <a:gd name="connsiteY66" fmla="*/ 1593072 h 2303930"/>
              <a:gd name="connsiteX67" fmla="*/ 12884 w 3892734"/>
              <a:gd name="connsiteY67" fmla="*/ 1221921 h 2303930"/>
              <a:gd name="connsiteX68" fmla="*/ 184 w 3892734"/>
              <a:gd name="connsiteY68" fmla="*/ 0 h 2303930"/>
              <a:gd name="connsiteX0" fmla="*/ 184 w 3892734"/>
              <a:gd name="connsiteY0" fmla="*/ 0 h 2286441"/>
              <a:gd name="connsiteX1" fmla="*/ 266884 w 3892734"/>
              <a:gd name="connsiteY1" fmla="*/ 1162050 h 2286441"/>
              <a:gd name="connsiteX2" fmla="*/ 317684 w 3892734"/>
              <a:gd name="connsiteY2" fmla="*/ 1308100 h 2286441"/>
              <a:gd name="connsiteX3" fmla="*/ 362134 w 3892734"/>
              <a:gd name="connsiteY3" fmla="*/ 1371600 h 2286441"/>
              <a:gd name="connsiteX4" fmla="*/ 412934 w 3892734"/>
              <a:gd name="connsiteY4" fmla="*/ 1314450 h 2286441"/>
              <a:gd name="connsiteX5" fmla="*/ 514534 w 3892734"/>
              <a:gd name="connsiteY5" fmla="*/ 996950 h 2286441"/>
              <a:gd name="connsiteX6" fmla="*/ 584384 w 3892734"/>
              <a:gd name="connsiteY6" fmla="*/ 641350 h 2286441"/>
              <a:gd name="connsiteX7" fmla="*/ 641534 w 3892734"/>
              <a:gd name="connsiteY7" fmla="*/ 444500 h 2286441"/>
              <a:gd name="connsiteX8" fmla="*/ 692334 w 3892734"/>
              <a:gd name="connsiteY8" fmla="*/ 330200 h 2286441"/>
              <a:gd name="connsiteX9" fmla="*/ 724084 w 3892734"/>
              <a:gd name="connsiteY9" fmla="*/ 279400 h 2286441"/>
              <a:gd name="connsiteX10" fmla="*/ 806634 w 3892734"/>
              <a:gd name="connsiteY10" fmla="*/ 298450 h 2286441"/>
              <a:gd name="connsiteX11" fmla="*/ 927284 w 3892734"/>
              <a:gd name="connsiteY11" fmla="*/ 495300 h 2286441"/>
              <a:gd name="connsiteX12" fmla="*/ 978084 w 3892734"/>
              <a:gd name="connsiteY12" fmla="*/ 622300 h 2286441"/>
              <a:gd name="connsiteX13" fmla="*/ 1060634 w 3892734"/>
              <a:gd name="connsiteY13" fmla="*/ 666750 h 2286441"/>
              <a:gd name="connsiteX14" fmla="*/ 1136834 w 3892734"/>
              <a:gd name="connsiteY14" fmla="*/ 622300 h 2286441"/>
              <a:gd name="connsiteX15" fmla="*/ 1225734 w 3892734"/>
              <a:gd name="connsiteY15" fmla="*/ 495300 h 2286441"/>
              <a:gd name="connsiteX16" fmla="*/ 1289234 w 3892734"/>
              <a:gd name="connsiteY16" fmla="*/ 355600 h 2286441"/>
              <a:gd name="connsiteX17" fmla="*/ 1352734 w 3892734"/>
              <a:gd name="connsiteY17" fmla="*/ 292100 h 2286441"/>
              <a:gd name="connsiteX18" fmla="*/ 1397184 w 3892734"/>
              <a:gd name="connsiteY18" fmla="*/ 254000 h 2286441"/>
              <a:gd name="connsiteX19" fmla="*/ 1486084 w 3892734"/>
              <a:gd name="connsiteY19" fmla="*/ 285750 h 2286441"/>
              <a:gd name="connsiteX20" fmla="*/ 1581334 w 3892734"/>
              <a:gd name="connsiteY20" fmla="*/ 438150 h 2286441"/>
              <a:gd name="connsiteX21" fmla="*/ 1670234 w 3892734"/>
              <a:gd name="connsiteY21" fmla="*/ 654050 h 2286441"/>
              <a:gd name="connsiteX22" fmla="*/ 1905184 w 3892734"/>
              <a:gd name="connsiteY22" fmla="*/ 1066800 h 2286441"/>
              <a:gd name="connsiteX23" fmla="*/ 2006784 w 3892734"/>
              <a:gd name="connsiteY23" fmla="*/ 1212850 h 2286441"/>
              <a:gd name="connsiteX24" fmla="*/ 2082984 w 3892734"/>
              <a:gd name="connsiteY24" fmla="*/ 1295400 h 2286441"/>
              <a:gd name="connsiteX25" fmla="*/ 2190934 w 3892734"/>
              <a:gd name="connsiteY25" fmla="*/ 1263650 h 2286441"/>
              <a:gd name="connsiteX26" fmla="*/ 2235384 w 3892734"/>
              <a:gd name="connsiteY26" fmla="*/ 1168400 h 2286441"/>
              <a:gd name="connsiteX27" fmla="*/ 2292534 w 3892734"/>
              <a:gd name="connsiteY27" fmla="*/ 1016000 h 2286441"/>
              <a:gd name="connsiteX28" fmla="*/ 2368734 w 3892734"/>
              <a:gd name="connsiteY28" fmla="*/ 876300 h 2286441"/>
              <a:gd name="connsiteX29" fmla="*/ 2425884 w 3892734"/>
              <a:gd name="connsiteY29" fmla="*/ 787400 h 2286441"/>
              <a:gd name="connsiteX30" fmla="*/ 2476684 w 3892734"/>
              <a:gd name="connsiteY30" fmla="*/ 749300 h 2286441"/>
              <a:gd name="connsiteX31" fmla="*/ 2546534 w 3892734"/>
              <a:gd name="connsiteY31" fmla="*/ 736600 h 2286441"/>
              <a:gd name="connsiteX32" fmla="*/ 2654484 w 3892734"/>
              <a:gd name="connsiteY32" fmla="*/ 781050 h 2286441"/>
              <a:gd name="connsiteX33" fmla="*/ 2756084 w 3892734"/>
              <a:gd name="connsiteY33" fmla="*/ 838200 h 2286441"/>
              <a:gd name="connsiteX34" fmla="*/ 2851334 w 3892734"/>
              <a:gd name="connsiteY34" fmla="*/ 901700 h 2286441"/>
              <a:gd name="connsiteX35" fmla="*/ 2997384 w 3892734"/>
              <a:gd name="connsiteY35" fmla="*/ 920750 h 2286441"/>
              <a:gd name="connsiteX36" fmla="*/ 3175184 w 3892734"/>
              <a:gd name="connsiteY36" fmla="*/ 895350 h 2286441"/>
              <a:gd name="connsiteX37" fmla="*/ 3295834 w 3892734"/>
              <a:gd name="connsiteY37" fmla="*/ 774700 h 2286441"/>
              <a:gd name="connsiteX38" fmla="*/ 3391084 w 3892734"/>
              <a:gd name="connsiteY38" fmla="*/ 628650 h 2286441"/>
              <a:gd name="connsiteX39" fmla="*/ 3486334 w 3892734"/>
              <a:gd name="connsiteY39" fmla="*/ 495300 h 2286441"/>
              <a:gd name="connsiteX40" fmla="*/ 3594284 w 3892734"/>
              <a:gd name="connsiteY40" fmla="*/ 412750 h 2286441"/>
              <a:gd name="connsiteX41" fmla="*/ 3714934 w 3892734"/>
              <a:gd name="connsiteY41" fmla="*/ 406400 h 2286441"/>
              <a:gd name="connsiteX42" fmla="*/ 3892734 w 3892734"/>
              <a:gd name="connsiteY42" fmla="*/ 412750 h 2286441"/>
              <a:gd name="connsiteX43" fmla="*/ 3892734 w 3892734"/>
              <a:gd name="connsiteY43" fmla="*/ 755650 h 2286441"/>
              <a:gd name="connsiteX44" fmla="*/ 3708584 w 3892734"/>
              <a:gd name="connsiteY44" fmla="*/ 958850 h 2286441"/>
              <a:gd name="connsiteX45" fmla="*/ 3568884 w 3892734"/>
              <a:gd name="connsiteY45" fmla="*/ 1098550 h 2286441"/>
              <a:gd name="connsiteX46" fmla="*/ 3499034 w 3892734"/>
              <a:gd name="connsiteY46" fmla="*/ 1155700 h 2286441"/>
              <a:gd name="connsiteX47" fmla="*/ 3340284 w 3892734"/>
              <a:gd name="connsiteY47" fmla="*/ 1155700 h 2286441"/>
              <a:gd name="connsiteX48" fmla="*/ 3219634 w 3892734"/>
              <a:gd name="connsiteY48" fmla="*/ 1181100 h 2286441"/>
              <a:gd name="connsiteX49" fmla="*/ 3111684 w 3892734"/>
              <a:gd name="connsiteY49" fmla="*/ 1295400 h 2286441"/>
              <a:gd name="connsiteX50" fmla="*/ 2952934 w 3892734"/>
              <a:gd name="connsiteY50" fmla="*/ 1587500 h 2286441"/>
              <a:gd name="connsiteX51" fmla="*/ 2813234 w 3892734"/>
              <a:gd name="connsiteY51" fmla="*/ 1847850 h 2286441"/>
              <a:gd name="connsiteX52" fmla="*/ 2629084 w 3892734"/>
              <a:gd name="connsiteY52" fmla="*/ 2127250 h 2286441"/>
              <a:gd name="connsiteX53" fmla="*/ 2587809 w 3892734"/>
              <a:gd name="connsiteY53" fmla="*/ 2206268 h 2286441"/>
              <a:gd name="connsiteX54" fmla="*/ 2484621 w 3892734"/>
              <a:gd name="connsiteY54" fmla="*/ 2281349 h 2286441"/>
              <a:gd name="connsiteX55" fmla="*/ 2248084 w 3892734"/>
              <a:gd name="connsiteY55" fmla="*/ 2286441 h 2286441"/>
              <a:gd name="connsiteX56" fmla="*/ 2036946 w 3892734"/>
              <a:gd name="connsiteY56" fmla="*/ 2106231 h 2286441"/>
              <a:gd name="connsiteX57" fmla="*/ 1908359 w 3892734"/>
              <a:gd name="connsiteY57" fmla="*/ 1872537 h 2286441"/>
              <a:gd name="connsiteX58" fmla="*/ 1832158 w 3892734"/>
              <a:gd name="connsiteY58" fmla="*/ 1747371 h 2286441"/>
              <a:gd name="connsiteX59" fmla="*/ 1719447 w 3892734"/>
              <a:gd name="connsiteY59" fmla="*/ 1606380 h 2286441"/>
              <a:gd name="connsiteX60" fmla="*/ 1578160 w 3892734"/>
              <a:gd name="connsiteY60" fmla="*/ 1426137 h 2286441"/>
              <a:gd name="connsiteX61" fmla="*/ 1433697 w 3892734"/>
              <a:gd name="connsiteY61" fmla="*/ 1317171 h 2286441"/>
              <a:gd name="connsiteX62" fmla="*/ 1101909 w 3892734"/>
              <a:gd name="connsiteY62" fmla="*/ 1573782 h 2286441"/>
              <a:gd name="connsiteX63" fmla="*/ 895535 w 3892734"/>
              <a:gd name="connsiteY63" fmla="*/ 1609913 h 2286441"/>
              <a:gd name="connsiteX64" fmla="*/ 743134 w 3892734"/>
              <a:gd name="connsiteY64" fmla="*/ 1587266 h 2286441"/>
              <a:gd name="connsiteX65" fmla="*/ 538346 w 3892734"/>
              <a:gd name="connsiteY65" fmla="*/ 1642309 h 2286441"/>
              <a:gd name="connsiteX66" fmla="*/ 358959 w 3892734"/>
              <a:gd name="connsiteY66" fmla="*/ 1593072 h 2286441"/>
              <a:gd name="connsiteX67" fmla="*/ 12884 w 3892734"/>
              <a:gd name="connsiteY67" fmla="*/ 1221921 h 2286441"/>
              <a:gd name="connsiteX68" fmla="*/ 184 w 3892734"/>
              <a:gd name="connsiteY68" fmla="*/ 0 h 2286441"/>
              <a:gd name="connsiteX0" fmla="*/ 184 w 3892734"/>
              <a:gd name="connsiteY0" fmla="*/ 0 h 2286441"/>
              <a:gd name="connsiteX1" fmla="*/ 266884 w 3892734"/>
              <a:gd name="connsiteY1" fmla="*/ 1162050 h 2286441"/>
              <a:gd name="connsiteX2" fmla="*/ 317684 w 3892734"/>
              <a:gd name="connsiteY2" fmla="*/ 1308100 h 2286441"/>
              <a:gd name="connsiteX3" fmla="*/ 362134 w 3892734"/>
              <a:gd name="connsiteY3" fmla="*/ 1371600 h 2286441"/>
              <a:gd name="connsiteX4" fmla="*/ 412934 w 3892734"/>
              <a:gd name="connsiteY4" fmla="*/ 1314450 h 2286441"/>
              <a:gd name="connsiteX5" fmla="*/ 514534 w 3892734"/>
              <a:gd name="connsiteY5" fmla="*/ 996950 h 2286441"/>
              <a:gd name="connsiteX6" fmla="*/ 584384 w 3892734"/>
              <a:gd name="connsiteY6" fmla="*/ 641350 h 2286441"/>
              <a:gd name="connsiteX7" fmla="*/ 641534 w 3892734"/>
              <a:gd name="connsiteY7" fmla="*/ 444500 h 2286441"/>
              <a:gd name="connsiteX8" fmla="*/ 692334 w 3892734"/>
              <a:gd name="connsiteY8" fmla="*/ 330200 h 2286441"/>
              <a:gd name="connsiteX9" fmla="*/ 724084 w 3892734"/>
              <a:gd name="connsiteY9" fmla="*/ 279400 h 2286441"/>
              <a:gd name="connsiteX10" fmla="*/ 806634 w 3892734"/>
              <a:gd name="connsiteY10" fmla="*/ 298450 h 2286441"/>
              <a:gd name="connsiteX11" fmla="*/ 927284 w 3892734"/>
              <a:gd name="connsiteY11" fmla="*/ 495300 h 2286441"/>
              <a:gd name="connsiteX12" fmla="*/ 978084 w 3892734"/>
              <a:gd name="connsiteY12" fmla="*/ 622300 h 2286441"/>
              <a:gd name="connsiteX13" fmla="*/ 1060634 w 3892734"/>
              <a:gd name="connsiteY13" fmla="*/ 666750 h 2286441"/>
              <a:gd name="connsiteX14" fmla="*/ 1136834 w 3892734"/>
              <a:gd name="connsiteY14" fmla="*/ 622300 h 2286441"/>
              <a:gd name="connsiteX15" fmla="*/ 1225734 w 3892734"/>
              <a:gd name="connsiteY15" fmla="*/ 495300 h 2286441"/>
              <a:gd name="connsiteX16" fmla="*/ 1289234 w 3892734"/>
              <a:gd name="connsiteY16" fmla="*/ 355600 h 2286441"/>
              <a:gd name="connsiteX17" fmla="*/ 1352734 w 3892734"/>
              <a:gd name="connsiteY17" fmla="*/ 292100 h 2286441"/>
              <a:gd name="connsiteX18" fmla="*/ 1397184 w 3892734"/>
              <a:gd name="connsiteY18" fmla="*/ 254000 h 2286441"/>
              <a:gd name="connsiteX19" fmla="*/ 1486084 w 3892734"/>
              <a:gd name="connsiteY19" fmla="*/ 285750 h 2286441"/>
              <a:gd name="connsiteX20" fmla="*/ 1581334 w 3892734"/>
              <a:gd name="connsiteY20" fmla="*/ 438150 h 2286441"/>
              <a:gd name="connsiteX21" fmla="*/ 1670234 w 3892734"/>
              <a:gd name="connsiteY21" fmla="*/ 654050 h 2286441"/>
              <a:gd name="connsiteX22" fmla="*/ 1905184 w 3892734"/>
              <a:gd name="connsiteY22" fmla="*/ 1066800 h 2286441"/>
              <a:gd name="connsiteX23" fmla="*/ 2006784 w 3892734"/>
              <a:gd name="connsiteY23" fmla="*/ 1212850 h 2286441"/>
              <a:gd name="connsiteX24" fmla="*/ 2082984 w 3892734"/>
              <a:gd name="connsiteY24" fmla="*/ 1295400 h 2286441"/>
              <a:gd name="connsiteX25" fmla="*/ 2190934 w 3892734"/>
              <a:gd name="connsiteY25" fmla="*/ 1263650 h 2286441"/>
              <a:gd name="connsiteX26" fmla="*/ 2235384 w 3892734"/>
              <a:gd name="connsiteY26" fmla="*/ 1168400 h 2286441"/>
              <a:gd name="connsiteX27" fmla="*/ 2292534 w 3892734"/>
              <a:gd name="connsiteY27" fmla="*/ 1016000 h 2286441"/>
              <a:gd name="connsiteX28" fmla="*/ 2368734 w 3892734"/>
              <a:gd name="connsiteY28" fmla="*/ 876300 h 2286441"/>
              <a:gd name="connsiteX29" fmla="*/ 2425884 w 3892734"/>
              <a:gd name="connsiteY29" fmla="*/ 787400 h 2286441"/>
              <a:gd name="connsiteX30" fmla="*/ 2476684 w 3892734"/>
              <a:gd name="connsiteY30" fmla="*/ 749300 h 2286441"/>
              <a:gd name="connsiteX31" fmla="*/ 2546534 w 3892734"/>
              <a:gd name="connsiteY31" fmla="*/ 736600 h 2286441"/>
              <a:gd name="connsiteX32" fmla="*/ 2654484 w 3892734"/>
              <a:gd name="connsiteY32" fmla="*/ 781050 h 2286441"/>
              <a:gd name="connsiteX33" fmla="*/ 2756084 w 3892734"/>
              <a:gd name="connsiteY33" fmla="*/ 838200 h 2286441"/>
              <a:gd name="connsiteX34" fmla="*/ 2851334 w 3892734"/>
              <a:gd name="connsiteY34" fmla="*/ 901700 h 2286441"/>
              <a:gd name="connsiteX35" fmla="*/ 2997384 w 3892734"/>
              <a:gd name="connsiteY35" fmla="*/ 920750 h 2286441"/>
              <a:gd name="connsiteX36" fmla="*/ 3175184 w 3892734"/>
              <a:gd name="connsiteY36" fmla="*/ 895350 h 2286441"/>
              <a:gd name="connsiteX37" fmla="*/ 3295834 w 3892734"/>
              <a:gd name="connsiteY37" fmla="*/ 774700 h 2286441"/>
              <a:gd name="connsiteX38" fmla="*/ 3391084 w 3892734"/>
              <a:gd name="connsiteY38" fmla="*/ 628650 h 2286441"/>
              <a:gd name="connsiteX39" fmla="*/ 3486334 w 3892734"/>
              <a:gd name="connsiteY39" fmla="*/ 495300 h 2286441"/>
              <a:gd name="connsiteX40" fmla="*/ 3594284 w 3892734"/>
              <a:gd name="connsiteY40" fmla="*/ 412750 h 2286441"/>
              <a:gd name="connsiteX41" fmla="*/ 3714934 w 3892734"/>
              <a:gd name="connsiteY41" fmla="*/ 406400 h 2286441"/>
              <a:gd name="connsiteX42" fmla="*/ 3892734 w 3892734"/>
              <a:gd name="connsiteY42" fmla="*/ 412750 h 2286441"/>
              <a:gd name="connsiteX43" fmla="*/ 3892734 w 3892734"/>
              <a:gd name="connsiteY43" fmla="*/ 755650 h 2286441"/>
              <a:gd name="connsiteX44" fmla="*/ 3708584 w 3892734"/>
              <a:gd name="connsiteY44" fmla="*/ 958850 h 2286441"/>
              <a:gd name="connsiteX45" fmla="*/ 3568884 w 3892734"/>
              <a:gd name="connsiteY45" fmla="*/ 1098550 h 2286441"/>
              <a:gd name="connsiteX46" fmla="*/ 3499034 w 3892734"/>
              <a:gd name="connsiteY46" fmla="*/ 1155700 h 2286441"/>
              <a:gd name="connsiteX47" fmla="*/ 3340284 w 3892734"/>
              <a:gd name="connsiteY47" fmla="*/ 1155700 h 2286441"/>
              <a:gd name="connsiteX48" fmla="*/ 3219634 w 3892734"/>
              <a:gd name="connsiteY48" fmla="*/ 1181100 h 2286441"/>
              <a:gd name="connsiteX49" fmla="*/ 3111684 w 3892734"/>
              <a:gd name="connsiteY49" fmla="*/ 1295400 h 2286441"/>
              <a:gd name="connsiteX50" fmla="*/ 2952934 w 3892734"/>
              <a:gd name="connsiteY50" fmla="*/ 1587500 h 2286441"/>
              <a:gd name="connsiteX51" fmla="*/ 2813234 w 3892734"/>
              <a:gd name="connsiteY51" fmla="*/ 1847850 h 2286441"/>
              <a:gd name="connsiteX52" fmla="*/ 2667184 w 3892734"/>
              <a:gd name="connsiteY52" fmla="*/ 2145316 h 2286441"/>
              <a:gd name="connsiteX53" fmla="*/ 2587809 w 3892734"/>
              <a:gd name="connsiteY53" fmla="*/ 2206268 h 2286441"/>
              <a:gd name="connsiteX54" fmla="*/ 2484621 w 3892734"/>
              <a:gd name="connsiteY54" fmla="*/ 2281349 h 2286441"/>
              <a:gd name="connsiteX55" fmla="*/ 2248084 w 3892734"/>
              <a:gd name="connsiteY55" fmla="*/ 2286441 h 2286441"/>
              <a:gd name="connsiteX56" fmla="*/ 2036946 w 3892734"/>
              <a:gd name="connsiteY56" fmla="*/ 2106231 h 2286441"/>
              <a:gd name="connsiteX57" fmla="*/ 1908359 w 3892734"/>
              <a:gd name="connsiteY57" fmla="*/ 1872537 h 2286441"/>
              <a:gd name="connsiteX58" fmla="*/ 1832158 w 3892734"/>
              <a:gd name="connsiteY58" fmla="*/ 1747371 h 2286441"/>
              <a:gd name="connsiteX59" fmla="*/ 1719447 w 3892734"/>
              <a:gd name="connsiteY59" fmla="*/ 1606380 h 2286441"/>
              <a:gd name="connsiteX60" fmla="*/ 1578160 w 3892734"/>
              <a:gd name="connsiteY60" fmla="*/ 1426137 h 2286441"/>
              <a:gd name="connsiteX61" fmla="*/ 1433697 w 3892734"/>
              <a:gd name="connsiteY61" fmla="*/ 1317171 h 2286441"/>
              <a:gd name="connsiteX62" fmla="*/ 1101909 w 3892734"/>
              <a:gd name="connsiteY62" fmla="*/ 1573782 h 2286441"/>
              <a:gd name="connsiteX63" fmla="*/ 895535 w 3892734"/>
              <a:gd name="connsiteY63" fmla="*/ 1609913 h 2286441"/>
              <a:gd name="connsiteX64" fmla="*/ 743134 w 3892734"/>
              <a:gd name="connsiteY64" fmla="*/ 1587266 h 2286441"/>
              <a:gd name="connsiteX65" fmla="*/ 538346 w 3892734"/>
              <a:gd name="connsiteY65" fmla="*/ 1642309 h 2286441"/>
              <a:gd name="connsiteX66" fmla="*/ 358959 w 3892734"/>
              <a:gd name="connsiteY66" fmla="*/ 1593072 h 2286441"/>
              <a:gd name="connsiteX67" fmla="*/ 12884 w 3892734"/>
              <a:gd name="connsiteY67" fmla="*/ 1221921 h 2286441"/>
              <a:gd name="connsiteX68" fmla="*/ 184 w 3892734"/>
              <a:gd name="connsiteY68" fmla="*/ 0 h 2286441"/>
              <a:gd name="connsiteX0" fmla="*/ 184 w 3892734"/>
              <a:gd name="connsiteY0" fmla="*/ 0 h 2286441"/>
              <a:gd name="connsiteX1" fmla="*/ 266884 w 3892734"/>
              <a:gd name="connsiteY1" fmla="*/ 1162050 h 2286441"/>
              <a:gd name="connsiteX2" fmla="*/ 317684 w 3892734"/>
              <a:gd name="connsiteY2" fmla="*/ 1308100 h 2286441"/>
              <a:gd name="connsiteX3" fmla="*/ 362134 w 3892734"/>
              <a:gd name="connsiteY3" fmla="*/ 1371600 h 2286441"/>
              <a:gd name="connsiteX4" fmla="*/ 412934 w 3892734"/>
              <a:gd name="connsiteY4" fmla="*/ 1314450 h 2286441"/>
              <a:gd name="connsiteX5" fmla="*/ 514534 w 3892734"/>
              <a:gd name="connsiteY5" fmla="*/ 996950 h 2286441"/>
              <a:gd name="connsiteX6" fmla="*/ 584384 w 3892734"/>
              <a:gd name="connsiteY6" fmla="*/ 641350 h 2286441"/>
              <a:gd name="connsiteX7" fmla="*/ 641534 w 3892734"/>
              <a:gd name="connsiteY7" fmla="*/ 444500 h 2286441"/>
              <a:gd name="connsiteX8" fmla="*/ 692334 w 3892734"/>
              <a:gd name="connsiteY8" fmla="*/ 330200 h 2286441"/>
              <a:gd name="connsiteX9" fmla="*/ 724084 w 3892734"/>
              <a:gd name="connsiteY9" fmla="*/ 279400 h 2286441"/>
              <a:gd name="connsiteX10" fmla="*/ 806634 w 3892734"/>
              <a:gd name="connsiteY10" fmla="*/ 298450 h 2286441"/>
              <a:gd name="connsiteX11" fmla="*/ 927284 w 3892734"/>
              <a:gd name="connsiteY11" fmla="*/ 495300 h 2286441"/>
              <a:gd name="connsiteX12" fmla="*/ 978084 w 3892734"/>
              <a:gd name="connsiteY12" fmla="*/ 622300 h 2286441"/>
              <a:gd name="connsiteX13" fmla="*/ 1060634 w 3892734"/>
              <a:gd name="connsiteY13" fmla="*/ 666750 h 2286441"/>
              <a:gd name="connsiteX14" fmla="*/ 1136834 w 3892734"/>
              <a:gd name="connsiteY14" fmla="*/ 622300 h 2286441"/>
              <a:gd name="connsiteX15" fmla="*/ 1225734 w 3892734"/>
              <a:gd name="connsiteY15" fmla="*/ 495300 h 2286441"/>
              <a:gd name="connsiteX16" fmla="*/ 1289234 w 3892734"/>
              <a:gd name="connsiteY16" fmla="*/ 355600 h 2286441"/>
              <a:gd name="connsiteX17" fmla="*/ 1352734 w 3892734"/>
              <a:gd name="connsiteY17" fmla="*/ 292100 h 2286441"/>
              <a:gd name="connsiteX18" fmla="*/ 1397184 w 3892734"/>
              <a:gd name="connsiteY18" fmla="*/ 254000 h 2286441"/>
              <a:gd name="connsiteX19" fmla="*/ 1486084 w 3892734"/>
              <a:gd name="connsiteY19" fmla="*/ 285750 h 2286441"/>
              <a:gd name="connsiteX20" fmla="*/ 1581334 w 3892734"/>
              <a:gd name="connsiteY20" fmla="*/ 438150 h 2286441"/>
              <a:gd name="connsiteX21" fmla="*/ 1670234 w 3892734"/>
              <a:gd name="connsiteY21" fmla="*/ 654050 h 2286441"/>
              <a:gd name="connsiteX22" fmla="*/ 1905184 w 3892734"/>
              <a:gd name="connsiteY22" fmla="*/ 1066800 h 2286441"/>
              <a:gd name="connsiteX23" fmla="*/ 2006784 w 3892734"/>
              <a:gd name="connsiteY23" fmla="*/ 1212850 h 2286441"/>
              <a:gd name="connsiteX24" fmla="*/ 2082984 w 3892734"/>
              <a:gd name="connsiteY24" fmla="*/ 1295400 h 2286441"/>
              <a:gd name="connsiteX25" fmla="*/ 2190934 w 3892734"/>
              <a:gd name="connsiteY25" fmla="*/ 1263650 h 2286441"/>
              <a:gd name="connsiteX26" fmla="*/ 2235384 w 3892734"/>
              <a:gd name="connsiteY26" fmla="*/ 1168400 h 2286441"/>
              <a:gd name="connsiteX27" fmla="*/ 2292534 w 3892734"/>
              <a:gd name="connsiteY27" fmla="*/ 1016000 h 2286441"/>
              <a:gd name="connsiteX28" fmla="*/ 2368734 w 3892734"/>
              <a:gd name="connsiteY28" fmla="*/ 876300 h 2286441"/>
              <a:gd name="connsiteX29" fmla="*/ 2425884 w 3892734"/>
              <a:gd name="connsiteY29" fmla="*/ 787400 h 2286441"/>
              <a:gd name="connsiteX30" fmla="*/ 2476684 w 3892734"/>
              <a:gd name="connsiteY30" fmla="*/ 749300 h 2286441"/>
              <a:gd name="connsiteX31" fmla="*/ 2546534 w 3892734"/>
              <a:gd name="connsiteY31" fmla="*/ 736600 h 2286441"/>
              <a:gd name="connsiteX32" fmla="*/ 2654484 w 3892734"/>
              <a:gd name="connsiteY32" fmla="*/ 781050 h 2286441"/>
              <a:gd name="connsiteX33" fmla="*/ 2756084 w 3892734"/>
              <a:gd name="connsiteY33" fmla="*/ 838200 h 2286441"/>
              <a:gd name="connsiteX34" fmla="*/ 2851334 w 3892734"/>
              <a:gd name="connsiteY34" fmla="*/ 901700 h 2286441"/>
              <a:gd name="connsiteX35" fmla="*/ 2997384 w 3892734"/>
              <a:gd name="connsiteY35" fmla="*/ 920750 h 2286441"/>
              <a:gd name="connsiteX36" fmla="*/ 3175184 w 3892734"/>
              <a:gd name="connsiteY36" fmla="*/ 895350 h 2286441"/>
              <a:gd name="connsiteX37" fmla="*/ 3295834 w 3892734"/>
              <a:gd name="connsiteY37" fmla="*/ 774700 h 2286441"/>
              <a:gd name="connsiteX38" fmla="*/ 3391084 w 3892734"/>
              <a:gd name="connsiteY38" fmla="*/ 628650 h 2286441"/>
              <a:gd name="connsiteX39" fmla="*/ 3486334 w 3892734"/>
              <a:gd name="connsiteY39" fmla="*/ 495300 h 2286441"/>
              <a:gd name="connsiteX40" fmla="*/ 3594284 w 3892734"/>
              <a:gd name="connsiteY40" fmla="*/ 412750 h 2286441"/>
              <a:gd name="connsiteX41" fmla="*/ 3714934 w 3892734"/>
              <a:gd name="connsiteY41" fmla="*/ 406400 h 2286441"/>
              <a:gd name="connsiteX42" fmla="*/ 3892734 w 3892734"/>
              <a:gd name="connsiteY42" fmla="*/ 412750 h 2286441"/>
              <a:gd name="connsiteX43" fmla="*/ 3892734 w 3892734"/>
              <a:gd name="connsiteY43" fmla="*/ 755650 h 2286441"/>
              <a:gd name="connsiteX44" fmla="*/ 3708584 w 3892734"/>
              <a:gd name="connsiteY44" fmla="*/ 958850 h 2286441"/>
              <a:gd name="connsiteX45" fmla="*/ 3568884 w 3892734"/>
              <a:gd name="connsiteY45" fmla="*/ 1098550 h 2286441"/>
              <a:gd name="connsiteX46" fmla="*/ 3499034 w 3892734"/>
              <a:gd name="connsiteY46" fmla="*/ 1155700 h 2286441"/>
              <a:gd name="connsiteX47" fmla="*/ 3340284 w 3892734"/>
              <a:gd name="connsiteY47" fmla="*/ 1155700 h 2286441"/>
              <a:gd name="connsiteX48" fmla="*/ 3219634 w 3892734"/>
              <a:gd name="connsiteY48" fmla="*/ 1181100 h 2286441"/>
              <a:gd name="connsiteX49" fmla="*/ 3111684 w 3892734"/>
              <a:gd name="connsiteY49" fmla="*/ 1295400 h 2286441"/>
              <a:gd name="connsiteX50" fmla="*/ 2952934 w 3892734"/>
              <a:gd name="connsiteY50" fmla="*/ 1587500 h 2286441"/>
              <a:gd name="connsiteX51" fmla="*/ 2846571 w 3892734"/>
              <a:gd name="connsiteY51" fmla="*/ 1861399 h 2286441"/>
              <a:gd name="connsiteX52" fmla="*/ 2667184 w 3892734"/>
              <a:gd name="connsiteY52" fmla="*/ 2145316 h 2286441"/>
              <a:gd name="connsiteX53" fmla="*/ 2587809 w 3892734"/>
              <a:gd name="connsiteY53" fmla="*/ 2206268 h 2286441"/>
              <a:gd name="connsiteX54" fmla="*/ 2484621 w 3892734"/>
              <a:gd name="connsiteY54" fmla="*/ 2281349 h 2286441"/>
              <a:gd name="connsiteX55" fmla="*/ 2248084 w 3892734"/>
              <a:gd name="connsiteY55" fmla="*/ 2286441 h 2286441"/>
              <a:gd name="connsiteX56" fmla="*/ 2036946 w 3892734"/>
              <a:gd name="connsiteY56" fmla="*/ 2106231 h 2286441"/>
              <a:gd name="connsiteX57" fmla="*/ 1908359 w 3892734"/>
              <a:gd name="connsiteY57" fmla="*/ 1872537 h 2286441"/>
              <a:gd name="connsiteX58" fmla="*/ 1832158 w 3892734"/>
              <a:gd name="connsiteY58" fmla="*/ 1747371 h 2286441"/>
              <a:gd name="connsiteX59" fmla="*/ 1719447 w 3892734"/>
              <a:gd name="connsiteY59" fmla="*/ 1606380 h 2286441"/>
              <a:gd name="connsiteX60" fmla="*/ 1578160 w 3892734"/>
              <a:gd name="connsiteY60" fmla="*/ 1426137 h 2286441"/>
              <a:gd name="connsiteX61" fmla="*/ 1433697 w 3892734"/>
              <a:gd name="connsiteY61" fmla="*/ 1317171 h 2286441"/>
              <a:gd name="connsiteX62" fmla="*/ 1101909 w 3892734"/>
              <a:gd name="connsiteY62" fmla="*/ 1573782 h 2286441"/>
              <a:gd name="connsiteX63" fmla="*/ 895535 w 3892734"/>
              <a:gd name="connsiteY63" fmla="*/ 1609913 h 2286441"/>
              <a:gd name="connsiteX64" fmla="*/ 743134 w 3892734"/>
              <a:gd name="connsiteY64" fmla="*/ 1587266 h 2286441"/>
              <a:gd name="connsiteX65" fmla="*/ 538346 w 3892734"/>
              <a:gd name="connsiteY65" fmla="*/ 1642309 h 2286441"/>
              <a:gd name="connsiteX66" fmla="*/ 358959 w 3892734"/>
              <a:gd name="connsiteY66" fmla="*/ 1593072 h 2286441"/>
              <a:gd name="connsiteX67" fmla="*/ 12884 w 3892734"/>
              <a:gd name="connsiteY67" fmla="*/ 1221921 h 2286441"/>
              <a:gd name="connsiteX68" fmla="*/ 184 w 3892734"/>
              <a:gd name="connsiteY68" fmla="*/ 0 h 2286441"/>
              <a:gd name="connsiteX0" fmla="*/ 184 w 3892734"/>
              <a:gd name="connsiteY0" fmla="*/ 0 h 2286441"/>
              <a:gd name="connsiteX1" fmla="*/ 266884 w 3892734"/>
              <a:gd name="connsiteY1" fmla="*/ 1162050 h 2286441"/>
              <a:gd name="connsiteX2" fmla="*/ 317684 w 3892734"/>
              <a:gd name="connsiteY2" fmla="*/ 1308100 h 2286441"/>
              <a:gd name="connsiteX3" fmla="*/ 362134 w 3892734"/>
              <a:gd name="connsiteY3" fmla="*/ 1371600 h 2286441"/>
              <a:gd name="connsiteX4" fmla="*/ 412934 w 3892734"/>
              <a:gd name="connsiteY4" fmla="*/ 1314450 h 2286441"/>
              <a:gd name="connsiteX5" fmla="*/ 514534 w 3892734"/>
              <a:gd name="connsiteY5" fmla="*/ 996950 h 2286441"/>
              <a:gd name="connsiteX6" fmla="*/ 584384 w 3892734"/>
              <a:gd name="connsiteY6" fmla="*/ 641350 h 2286441"/>
              <a:gd name="connsiteX7" fmla="*/ 641534 w 3892734"/>
              <a:gd name="connsiteY7" fmla="*/ 444500 h 2286441"/>
              <a:gd name="connsiteX8" fmla="*/ 692334 w 3892734"/>
              <a:gd name="connsiteY8" fmla="*/ 330200 h 2286441"/>
              <a:gd name="connsiteX9" fmla="*/ 724084 w 3892734"/>
              <a:gd name="connsiteY9" fmla="*/ 279400 h 2286441"/>
              <a:gd name="connsiteX10" fmla="*/ 806634 w 3892734"/>
              <a:gd name="connsiteY10" fmla="*/ 298450 h 2286441"/>
              <a:gd name="connsiteX11" fmla="*/ 927284 w 3892734"/>
              <a:gd name="connsiteY11" fmla="*/ 495300 h 2286441"/>
              <a:gd name="connsiteX12" fmla="*/ 978084 w 3892734"/>
              <a:gd name="connsiteY12" fmla="*/ 622300 h 2286441"/>
              <a:gd name="connsiteX13" fmla="*/ 1060634 w 3892734"/>
              <a:gd name="connsiteY13" fmla="*/ 666750 h 2286441"/>
              <a:gd name="connsiteX14" fmla="*/ 1136834 w 3892734"/>
              <a:gd name="connsiteY14" fmla="*/ 622300 h 2286441"/>
              <a:gd name="connsiteX15" fmla="*/ 1225734 w 3892734"/>
              <a:gd name="connsiteY15" fmla="*/ 495300 h 2286441"/>
              <a:gd name="connsiteX16" fmla="*/ 1289234 w 3892734"/>
              <a:gd name="connsiteY16" fmla="*/ 355600 h 2286441"/>
              <a:gd name="connsiteX17" fmla="*/ 1352734 w 3892734"/>
              <a:gd name="connsiteY17" fmla="*/ 292100 h 2286441"/>
              <a:gd name="connsiteX18" fmla="*/ 1397184 w 3892734"/>
              <a:gd name="connsiteY18" fmla="*/ 254000 h 2286441"/>
              <a:gd name="connsiteX19" fmla="*/ 1486084 w 3892734"/>
              <a:gd name="connsiteY19" fmla="*/ 285750 h 2286441"/>
              <a:gd name="connsiteX20" fmla="*/ 1581334 w 3892734"/>
              <a:gd name="connsiteY20" fmla="*/ 438150 h 2286441"/>
              <a:gd name="connsiteX21" fmla="*/ 1670234 w 3892734"/>
              <a:gd name="connsiteY21" fmla="*/ 654050 h 2286441"/>
              <a:gd name="connsiteX22" fmla="*/ 1905184 w 3892734"/>
              <a:gd name="connsiteY22" fmla="*/ 1066800 h 2286441"/>
              <a:gd name="connsiteX23" fmla="*/ 2006784 w 3892734"/>
              <a:gd name="connsiteY23" fmla="*/ 1212850 h 2286441"/>
              <a:gd name="connsiteX24" fmla="*/ 2082984 w 3892734"/>
              <a:gd name="connsiteY24" fmla="*/ 1295400 h 2286441"/>
              <a:gd name="connsiteX25" fmla="*/ 2190934 w 3892734"/>
              <a:gd name="connsiteY25" fmla="*/ 1263650 h 2286441"/>
              <a:gd name="connsiteX26" fmla="*/ 2235384 w 3892734"/>
              <a:gd name="connsiteY26" fmla="*/ 1168400 h 2286441"/>
              <a:gd name="connsiteX27" fmla="*/ 2292534 w 3892734"/>
              <a:gd name="connsiteY27" fmla="*/ 1016000 h 2286441"/>
              <a:gd name="connsiteX28" fmla="*/ 2368734 w 3892734"/>
              <a:gd name="connsiteY28" fmla="*/ 876300 h 2286441"/>
              <a:gd name="connsiteX29" fmla="*/ 2425884 w 3892734"/>
              <a:gd name="connsiteY29" fmla="*/ 787400 h 2286441"/>
              <a:gd name="connsiteX30" fmla="*/ 2476684 w 3892734"/>
              <a:gd name="connsiteY30" fmla="*/ 749300 h 2286441"/>
              <a:gd name="connsiteX31" fmla="*/ 2546534 w 3892734"/>
              <a:gd name="connsiteY31" fmla="*/ 736600 h 2286441"/>
              <a:gd name="connsiteX32" fmla="*/ 2654484 w 3892734"/>
              <a:gd name="connsiteY32" fmla="*/ 781050 h 2286441"/>
              <a:gd name="connsiteX33" fmla="*/ 2756084 w 3892734"/>
              <a:gd name="connsiteY33" fmla="*/ 838200 h 2286441"/>
              <a:gd name="connsiteX34" fmla="*/ 2851334 w 3892734"/>
              <a:gd name="connsiteY34" fmla="*/ 901700 h 2286441"/>
              <a:gd name="connsiteX35" fmla="*/ 2997384 w 3892734"/>
              <a:gd name="connsiteY35" fmla="*/ 920750 h 2286441"/>
              <a:gd name="connsiteX36" fmla="*/ 3175184 w 3892734"/>
              <a:gd name="connsiteY36" fmla="*/ 895350 h 2286441"/>
              <a:gd name="connsiteX37" fmla="*/ 3295834 w 3892734"/>
              <a:gd name="connsiteY37" fmla="*/ 774700 h 2286441"/>
              <a:gd name="connsiteX38" fmla="*/ 3391084 w 3892734"/>
              <a:gd name="connsiteY38" fmla="*/ 628650 h 2286441"/>
              <a:gd name="connsiteX39" fmla="*/ 3486334 w 3892734"/>
              <a:gd name="connsiteY39" fmla="*/ 495300 h 2286441"/>
              <a:gd name="connsiteX40" fmla="*/ 3594284 w 3892734"/>
              <a:gd name="connsiteY40" fmla="*/ 412750 h 2286441"/>
              <a:gd name="connsiteX41" fmla="*/ 3714934 w 3892734"/>
              <a:gd name="connsiteY41" fmla="*/ 406400 h 2286441"/>
              <a:gd name="connsiteX42" fmla="*/ 3892734 w 3892734"/>
              <a:gd name="connsiteY42" fmla="*/ 412750 h 2286441"/>
              <a:gd name="connsiteX43" fmla="*/ 3892734 w 3892734"/>
              <a:gd name="connsiteY43" fmla="*/ 755650 h 2286441"/>
              <a:gd name="connsiteX44" fmla="*/ 3708584 w 3892734"/>
              <a:gd name="connsiteY44" fmla="*/ 958850 h 2286441"/>
              <a:gd name="connsiteX45" fmla="*/ 3568884 w 3892734"/>
              <a:gd name="connsiteY45" fmla="*/ 1098550 h 2286441"/>
              <a:gd name="connsiteX46" fmla="*/ 3499034 w 3892734"/>
              <a:gd name="connsiteY46" fmla="*/ 1155700 h 2286441"/>
              <a:gd name="connsiteX47" fmla="*/ 3340284 w 3892734"/>
              <a:gd name="connsiteY47" fmla="*/ 1155700 h 2286441"/>
              <a:gd name="connsiteX48" fmla="*/ 3219634 w 3892734"/>
              <a:gd name="connsiteY48" fmla="*/ 1181100 h 2286441"/>
              <a:gd name="connsiteX49" fmla="*/ 3111684 w 3892734"/>
              <a:gd name="connsiteY49" fmla="*/ 1295400 h 2286441"/>
              <a:gd name="connsiteX50" fmla="*/ 2991034 w 3892734"/>
              <a:gd name="connsiteY50" fmla="*/ 1601049 h 2286441"/>
              <a:gd name="connsiteX51" fmla="*/ 2846571 w 3892734"/>
              <a:gd name="connsiteY51" fmla="*/ 1861399 h 2286441"/>
              <a:gd name="connsiteX52" fmla="*/ 2667184 w 3892734"/>
              <a:gd name="connsiteY52" fmla="*/ 2145316 h 2286441"/>
              <a:gd name="connsiteX53" fmla="*/ 2587809 w 3892734"/>
              <a:gd name="connsiteY53" fmla="*/ 2206268 h 2286441"/>
              <a:gd name="connsiteX54" fmla="*/ 2484621 w 3892734"/>
              <a:gd name="connsiteY54" fmla="*/ 2281349 h 2286441"/>
              <a:gd name="connsiteX55" fmla="*/ 2248084 w 3892734"/>
              <a:gd name="connsiteY55" fmla="*/ 2286441 h 2286441"/>
              <a:gd name="connsiteX56" fmla="*/ 2036946 w 3892734"/>
              <a:gd name="connsiteY56" fmla="*/ 2106231 h 2286441"/>
              <a:gd name="connsiteX57" fmla="*/ 1908359 w 3892734"/>
              <a:gd name="connsiteY57" fmla="*/ 1872537 h 2286441"/>
              <a:gd name="connsiteX58" fmla="*/ 1832158 w 3892734"/>
              <a:gd name="connsiteY58" fmla="*/ 1747371 h 2286441"/>
              <a:gd name="connsiteX59" fmla="*/ 1719447 w 3892734"/>
              <a:gd name="connsiteY59" fmla="*/ 1606380 h 2286441"/>
              <a:gd name="connsiteX60" fmla="*/ 1578160 w 3892734"/>
              <a:gd name="connsiteY60" fmla="*/ 1426137 h 2286441"/>
              <a:gd name="connsiteX61" fmla="*/ 1433697 w 3892734"/>
              <a:gd name="connsiteY61" fmla="*/ 1317171 h 2286441"/>
              <a:gd name="connsiteX62" fmla="*/ 1101909 w 3892734"/>
              <a:gd name="connsiteY62" fmla="*/ 1573782 h 2286441"/>
              <a:gd name="connsiteX63" fmla="*/ 895535 w 3892734"/>
              <a:gd name="connsiteY63" fmla="*/ 1609913 h 2286441"/>
              <a:gd name="connsiteX64" fmla="*/ 743134 w 3892734"/>
              <a:gd name="connsiteY64" fmla="*/ 1587266 h 2286441"/>
              <a:gd name="connsiteX65" fmla="*/ 538346 w 3892734"/>
              <a:gd name="connsiteY65" fmla="*/ 1642309 h 2286441"/>
              <a:gd name="connsiteX66" fmla="*/ 358959 w 3892734"/>
              <a:gd name="connsiteY66" fmla="*/ 1593072 h 2286441"/>
              <a:gd name="connsiteX67" fmla="*/ 12884 w 3892734"/>
              <a:gd name="connsiteY67" fmla="*/ 1221921 h 2286441"/>
              <a:gd name="connsiteX68" fmla="*/ 184 w 3892734"/>
              <a:gd name="connsiteY68" fmla="*/ 0 h 2286441"/>
              <a:gd name="connsiteX0" fmla="*/ 184 w 3892734"/>
              <a:gd name="connsiteY0" fmla="*/ 0 h 2286441"/>
              <a:gd name="connsiteX1" fmla="*/ 266884 w 3892734"/>
              <a:gd name="connsiteY1" fmla="*/ 1162050 h 2286441"/>
              <a:gd name="connsiteX2" fmla="*/ 317684 w 3892734"/>
              <a:gd name="connsiteY2" fmla="*/ 1308100 h 2286441"/>
              <a:gd name="connsiteX3" fmla="*/ 362134 w 3892734"/>
              <a:gd name="connsiteY3" fmla="*/ 1371600 h 2286441"/>
              <a:gd name="connsiteX4" fmla="*/ 412934 w 3892734"/>
              <a:gd name="connsiteY4" fmla="*/ 1314450 h 2286441"/>
              <a:gd name="connsiteX5" fmla="*/ 514534 w 3892734"/>
              <a:gd name="connsiteY5" fmla="*/ 996950 h 2286441"/>
              <a:gd name="connsiteX6" fmla="*/ 584384 w 3892734"/>
              <a:gd name="connsiteY6" fmla="*/ 641350 h 2286441"/>
              <a:gd name="connsiteX7" fmla="*/ 641534 w 3892734"/>
              <a:gd name="connsiteY7" fmla="*/ 444500 h 2286441"/>
              <a:gd name="connsiteX8" fmla="*/ 692334 w 3892734"/>
              <a:gd name="connsiteY8" fmla="*/ 330200 h 2286441"/>
              <a:gd name="connsiteX9" fmla="*/ 724084 w 3892734"/>
              <a:gd name="connsiteY9" fmla="*/ 279400 h 2286441"/>
              <a:gd name="connsiteX10" fmla="*/ 806634 w 3892734"/>
              <a:gd name="connsiteY10" fmla="*/ 298450 h 2286441"/>
              <a:gd name="connsiteX11" fmla="*/ 927284 w 3892734"/>
              <a:gd name="connsiteY11" fmla="*/ 495300 h 2286441"/>
              <a:gd name="connsiteX12" fmla="*/ 978084 w 3892734"/>
              <a:gd name="connsiteY12" fmla="*/ 622300 h 2286441"/>
              <a:gd name="connsiteX13" fmla="*/ 1060634 w 3892734"/>
              <a:gd name="connsiteY13" fmla="*/ 666750 h 2286441"/>
              <a:gd name="connsiteX14" fmla="*/ 1136834 w 3892734"/>
              <a:gd name="connsiteY14" fmla="*/ 622300 h 2286441"/>
              <a:gd name="connsiteX15" fmla="*/ 1225734 w 3892734"/>
              <a:gd name="connsiteY15" fmla="*/ 495300 h 2286441"/>
              <a:gd name="connsiteX16" fmla="*/ 1289234 w 3892734"/>
              <a:gd name="connsiteY16" fmla="*/ 355600 h 2286441"/>
              <a:gd name="connsiteX17" fmla="*/ 1352734 w 3892734"/>
              <a:gd name="connsiteY17" fmla="*/ 292100 h 2286441"/>
              <a:gd name="connsiteX18" fmla="*/ 1397184 w 3892734"/>
              <a:gd name="connsiteY18" fmla="*/ 254000 h 2286441"/>
              <a:gd name="connsiteX19" fmla="*/ 1486084 w 3892734"/>
              <a:gd name="connsiteY19" fmla="*/ 285750 h 2286441"/>
              <a:gd name="connsiteX20" fmla="*/ 1581334 w 3892734"/>
              <a:gd name="connsiteY20" fmla="*/ 438150 h 2286441"/>
              <a:gd name="connsiteX21" fmla="*/ 1670234 w 3892734"/>
              <a:gd name="connsiteY21" fmla="*/ 654050 h 2286441"/>
              <a:gd name="connsiteX22" fmla="*/ 1905184 w 3892734"/>
              <a:gd name="connsiteY22" fmla="*/ 1066800 h 2286441"/>
              <a:gd name="connsiteX23" fmla="*/ 2006784 w 3892734"/>
              <a:gd name="connsiteY23" fmla="*/ 1212850 h 2286441"/>
              <a:gd name="connsiteX24" fmla="*/ 2082984 w 3892734"/>
              <a:gd name="connsiteY24" fmla="*/ 1295400 h 2286441"/>
              <a:gd name="connsiteX25" fmla="*/ 2190934 w 3892734"/>
              <a:gd name="connsiteY25" fmla="*/ 1263650 h 2286441"/>
              <a:gd name="connsiteX26" fmla="*/ 2235384 w 3892734"/>
              <a:gd name="connsiteY26" fmla="*/ 1168400 h 2286441"/>
              <a:gd name="connsiteX27" fmla="*/ 2292534 w 3892734"/>
              <a:gd name="connsiteY27" fmla="*/ 1016000 h 2286441"/>
              <a:gd name="connsiteX28" fmla="*/ 2368734 w 3892734"/>
              <a:gd name="connsiteY28" fmla="*/ 876300 h 2286441"/>
              <a:gd name="connsiteX29" fmla="*/ 2425884 w 3892734"/>
              <a:gd name="connsiteY29" fmla="*/ 787400 h 2286441"/>
              <a:gd name="connsiteX30" fmla="*/ 2476684 w 3892734"/>
              <a:gd name="connsiteY30" fmla="*/ 749300 h 2286441"/>
              <a:gd name="connsiteX31" fmla="*/ 2546534 w 3892734"/>
              <a:gd name="connsiteY31" fmla="*/ 736600 h 2286441"/>
              <a:gd name="connsiteX32" fmla="*/ 2654484 w 3892734"/>
              <a:gd name="connsiteY32" fmla="*/ 781050 h 2286441"/>
              <a:gd name="connsiteX33" fmla="*/ 2756084 w 3892734"/>
              <a:gd name="connsiteY33" fmla="*/ 838200 h 2286441"/>
              <a:gd name="connsiteX34" fmla="*/ 2851334 w 3892734"/>
              <a:gd name="connsiteY34" fmla="*/ 901700 h 2286441"/>
              <a:gd name="connsiteX35" fmla="*/ 2997384 w 3892734"/>
              <a:gd name="connsiteY35" fmla="*/ 920750 h 2286441"/>
              <a:gd name="connsiteX36" fmla="*/ 3175184 w 3892734"/>
              <a:gd name="connsiteY36" fmla="*/ 895350 h 2286441"/>
              <a:gd name="connsiteX37" fmla="*/ 3295834 w 3892734"/>
              <a:gd name="connsiteY37" fmla="*/ 774700 h 2286441"/>
              <a:gd name="connsiteX38" fmla="*/ 3391084 w 3892734"/>
              <a:gd name="connsiteY38" fmla="*/ 628650 h 2286441"/>
              <a:gd name="connsiteX39" fmla="*/ 3486334 w 3892734"/>
              <a:gd name="connsiteY39" fmla="*/ 495300 h 2286441"/>
              <a:gd name="connsiteX40" fmla="*/ 3594284 w 3892734"/>
              <a:gd name="connsiteY40" fmla="*/ 412750 h 2286441"/>
              <a:gd name="connsiteX41" fmla="*/ 3714934 w 3892734"/>
              <a:gd name="connsiteY41" fmla="*/ 406400 h 2286441"/>
              <a:gd name="connsiteX42" fmla="*/ 3892734 w 3892734"/>
              <a:gd name="connsiteY42" fmla="*/ 412750 h 2286441"/>
              <a:gd name="connsiteX43" fmla="*/ 3892734 w 3892734"/>
              <a:gd name="connsiteY43" fmla="*/ 755650 h 2286441"/>
              <a:gd name="connsiteX44" fmla="*/ 3708584 w 3892734"/>
              <a:gd name="connsiteY44" fmla="*/ 958850 h 2286441"/>
              <a:gd name="connsiteX45" fmla="*/ 3568884 w 3892734"/>
              <a:gd name="connsiteY45" fmla="*/ 1098550 h 2286441"/>
              <a:gd name="connsiteX46" fmla="*/ 3479984 w 3892734"/>
              <a:gd name="connsiteY46" fmla="*/ 1069891 h 2286441"/>
              <a:gd name="connsiteX47" fmla="*/ 3340284 w 3892734"/>
              <a:gd name="connsiteY47" fmla="*/ 1155700 h 2286441"/>
              <a:gd name="connsiteX48" fmla="*/ 3219634 w 3892734"/>
              <a:gd name="connsiteY48" fmla="*/ 1181100 h 2286441"/>
              <a:gd name="connsiteX49" fmla="*/ 3111684 w 3892734"/>
              <a:gd name="connsiteY49" fmla="*/ 1295400 h 2286441"/>
              <a:gd name="connsiteX50" fmla="*/ 2991034 w 3892734"/>
              <a:gd name="connsiteY50" fmla="*/ 1601049 h 2286441"/>
              <a:gd name="connsiteX51" fmla="*/ 2846571 w 3892734"/>
              <a:gd name="connsiteY51" fmla="*/ 1861399 h 2286441"/>
              <a:gd name="connsiteX52" fmla="*/ 2667184 w 3892734"/>
              <a:gd name="connsiteY52" fmla="*/ 2145316 h 2286441"/>
              <a:gd name="connsiteX53" fmla="*/ 2587809 w 3892734"/>
              <a:gd name="connsiteY53" fmla="*/ 2206268 h 2286441"/>
              <a:gd name="connsiteX54" fmla="*/ 2484621 w 3892734"/>
              <a:gd name="connsiteY54" fmla="*/ 2281349 h 2286441"/>
              <a:gd name="connsiteX55" fmla="*/ 2248084 w 3892734"/>
              <a:gd name="connsiteY55" fmla="*/ 2286441 h 2286441"/>
              <a:gd name="connsiteX56" fmla="*/ 2036946 w 3892734"/>
              <a:gd name="connsiteY56" fmla="*/ 2106231 h 2286441"/>
              <a:gd name="connsiteX57" fmla="*/ 1908359 w 3892734"/>
              <a:gd name="connsiteY57" fmla="*/ 1872537 h 2286441"/>
              <a:gd name="connsiteX58" fmla="*/ 1832158 w 3892734"/>
              <a:gd name="connsiteY58" fmla="*/ 1747371 h 2286441"/>
              <a:gd name="connsiteX59" fmla="*/ 1719447 w 3892734"/>
              <a:gd name="connsiteY59" fmla="*/ 1606380 h 2286441"/>
              <a:gd name="connsiteX60" fmla="*/ 1578160 w 3892734"/>
              <a:gd name="connsiteY60" fmla="*/ 1426137 h 2286441"/>
              <a:gd name="connsiteX61" fmla="*/ 1433697 w 3892734"/>
              <a:gd name="connsiteY61" fmla="*/ 1317171 h 2286441"/>
              <a:gd name="connsiteX62" fmla="*/ 1101909 w 3892734"/>
              <a:gd name="connsiteY62" fmla="*/ 1573782 h 2286441"/>
              <a:gd name="connsiteX63" fmla="*/ 895535 w 3892734"/>
              <a:gd name="connsiteY63" fmla="*/ 1609913 h 2286441"/>
              <a:gd name="connsiteX64" fmla="*/ 743134 w 3892734"/>
              <a:gd name="connsiteY64" fmla="*/ 1587266 h 2286441"/>
              <a:gd name="connsiteX65" fmla="*/ 538346 w 3892734"/>
              <a:gd name="connsiteY65" fmla="*/ 1642309 h 2286441"/>
              <a:gd name="connsiteX66" fmla="*/ 358959 w 3892734"/>
              <a:gd name="connsiteY66" fmla="*/ 1593072 h 2286441"/>
              <a:gd name="connsiteX67" fmla="*/ 12884 w 3892734"/>
              <a:gd name="connsiteY67" fmla="*/ 1221921 h 2286441"/>
              <a:gd name="connsiteX68" fmla="*/ 184 w 3892734"/>
              <a:gd name="connsiteY68" fmla="*/ 0 h 2286441"/>
              <a:gd name="connsiteX0" fmla="*/ 184 w 3892734"/>
              <a:gd name="connsiteY0" fmla="*/ 0 h 2286441"/>
              <a:gd name="connsiteX1" fmla="*/ 266884 w 3892734"/>
              <a:gd name="connsiteY1" fmla="*/ 1162050 h 2286441"/>
              <a:gd name="connsiteX2" fmla="*/ 317684 w 3892734"/>
              <a:gd name="connsiteY2" fmla="*/ 1308100 h 2286441"/>
              <a:gd name="connsiteX3" fmla="*/ 362134 w 3892734"/>
              <a:gd name="connsiteY3" fmla="*/ 1371600 h 2286441"/>
              <a:gd name="connsiteX4" fmla="*/ 412934 w 3892734"/>
              <a:gd name="connsiteY4" fmla="*/ 1314450 h 2286441"/>
              <a:gd name="connsiteX5" fmla="*/ 514534 w 3892734"/>
              <a:gd name="connsiteY5" fmla="*/ 996950 h 2286441"/>
              <a:gd name="connsiteX6" fmla="*/ 584384 w 3892734"/>
              <a:gd name="connsiteY6" fmla="*/ 641350 h 2286441"/>
              <a:gd name="connsiteX7" fmla="*/ 641534 w 3892734"/>
              <a:gd name="connsiteY7" fmla="*/ 444500 h 2286441"/>
              <a:gd name="connsiteX8" fmla="*/ 692334 w 3892734"/>
              <a:gd name="connsiteY8" fmla="*/ 330200 h 2286441"/>
              <a:gd name="connsiteX9" fmla="*/ 724084 w 3892734"/>
              <a:gd name="connsiteY9" fmla="*/ 279400 h 2286441"/>
              <a:gd name="connsiteX10" fmla="*/ 806634 w 3892734"/>
              <a:gd name="connsiteY10" fmla="*/ 298450 h 2286441"/>
              <a:gd name="connsiteX11" fmla="*/ 927284 w 3892734"/>
              <a:gd name="connsiteY11" fmla="*/ 495300 h 2286441"/>
              <a:gd name="connsiteX12" fmla="*/ 978084 w 3892734"/>
              <a:gd name="connsiteY12" fmla="*/ 622300 h 2286441"/>
              <a:gd name="connsiteX13" fmla="*/ 1060634 w 3892734"/>
              <a:gd name="connsiteY13" fmla="*/ 666750 h 2286441"/>
              <a:gd name="connsiteX14" fmla="*/ 1136834 w 3892734"/>
              <a:gd name="connsiteY14" fmla="*/ 622300 h 2286441"/>
              <a:gd name="connsiteX15" fmla="*/ 1225734 w 3892734"/>
              <a:gd name="connsiteY15" fmla="*/ 495300 h 2286441"/>
              <a:gd name="connsiteX16" fmla="*/ 1289234 w 3892734"/>
              <a:gd name="connsiteY16" fmla="*/ 355600 h 2286441"/>
              <a:gd name="connsiteX17" fmla="*/ 1352734 w 3892734"/>
              <a:gd name="connsiteY17" fmla="*/ 292100 h 2286441"/>
              <a:gd name="connsiteX18" fmla="*/ 1397184 w 3892734"/>
              <a:gd name="connsiteY18" fmla="*/ 254000 h 2286441"/>
              <a:gd name="connsiteX19" fmla="*/ 1486084 w 3892734"/>
              <a:gd name="connsiteY19" fmla="*/ 285750 h 2286441"/>
              <a:gd name="connsiteX20" fmla="*/ 1581334 w 3892734"/>
              <a:gd name="connsiteY20" fmla="*/ 438150 h 2286441"/>
              <a:gd name="connsiteX21" fmla="*/ 1670234 w 3892734"/>
              <a:gd name="connsiteY21" fmla="*/ 654050 h 2286441"/>
              <a:gd name="connsiteX22" fmla="*/ 1905184 w 3892734"/>
              <a:gd name="connsiteY22" fmla="*/ 1066800 h 2286441"/>
              <a:gd name="connsiteX23" fmla="*/ 2006784 w 3892734"/>
              <a:gd name="connsiteY23" fmla="*/ 1212850 h 2286441"/>
              <a:gd name="connsiteX24" fmla="*/ 2082984 w 3892734"/>
              <a:gd name="connsiteY24" fmla="*/ 1295400 h 2286441"/>
              <a:gd name="connsiteX25" fmla="*/ 2190934 w 3892734"/>
              <a:gd name="connsiteY25" fmla="*/ 1263650 h 2286441"/>
              <a:gd name="connsiteX26" fmla="*/ 2235384 w 3892734"/>
              <a:gd name="connsiteY26" fmla="*/ 1168400 h 2286441"/>
              <a:gd name="connsiteX27" fmla="*/ 2292534 w 3892734"/>
              <a:gd name="connsiteY27" fmla="*/ 1016000 h 2286441"/>
              <a:gd name="connsiteX28" fmla="*/ 2368734 w 3892734"/>
              <a:gd name="connsiteY28" fmla="*/ 876300 h 2286441"/>
              <a:gd name="connsiteX29" fmla="*/ 2425884 w 3892734"/>
              <a:gd name="connsiteY29" fmla="*/ 787400 h 2286441"/>
              <a:gd name="connsiteX30" fmla="*/ 2476684 w 3892734"/>
              <a:gd name="connsiteY30" fmla="*/ 749300 h 2286441"/>
              <a:gd name="connsiteX31" fmla="*/ 2546534 w 3892734"/>
              <a:gd name="connsiteY31" fmla="*/ 736600 h 2286441"/>
              <a:gd name="connsiteX32" fmla="*/ 2654484 w 3892734"/>
              <a:gd name="connsiteY32" fmla="*/ 781050 h 2286441"/>
              <a:gd name="connsiteX33" fmla="*/ 2756084 w 3892734"/>
              <a:gd name="connsiteY33" fmla="*/ 838200 h 2286441"/>
              <a:gd name="connsiteX34" fmla="*/ 2851334 w 3892734"/>
              <a:gd name="connsiteY34" fmla="*/ 901700 h 2286441"/>
              <a:gd name="connsiteX35" fmla="*/ 2997384 w 3892734"/>
              <a:gd name="connsiteY35" fmla="*/ 920750 h 2286441"/>
              <a:gd name="connsiteX36" fmla="*/ 3175184 w 3892734"/>
              <a:gd name="connsiteY36" fmla="*/ 895350 h 2286441"/>
              <a:gd name="connsiteX37" fmla="*/ 3295834 w 3892734"/>
              <a:gd name="connsiteY37" fmla="*/ 774700 h 2286441"/>
              <a:gd name="connsiteX38" fmla="*/ 3391084 w 3892734"/>
              <a:gd name="connsiteY38" fmla="*/ 628650 h 2286441"/>
              <a:gd name="connsiteX39" fmla="*/ 3486334 w 3892734"/>
              <a:gd name="connsiteY39" fmla="*/ 495300 h 2286441"/>
              <a:gd name="connsiteX40" fmla="*/ 3594284 w 3892734"/>
              <a:gd name="connsiteY40" fmla="*/ 412750 h 2286441"/>
              <a:gd name="connsiteX41" fmla="*/ 3714934 w 3892734"/>
              <a:gd name="connsiteY41" fmla="*/ 406400 h 2286441"/>
              <a:gd name="connsiteX42" fmla="*/ 3892734 w 3892734"/>
              <a:gd name="connsiteY42" fmla="*/ 412750 h 2286441"/>
              <a:gd name="connsiteX43" fmla="*/ 3892734 w 3892734"/>
              <a:gd name="connsiteY43" fmla="*/ 755650 h 2286441"/>
              <a:gd name="connsiteX44" fmla="*/ 3708584 w 3892734"/>
              <a:gd name="connsiteY44" fmla="*/ 958850 h 2286441"/>
              <a:gd name="connsiteX45" fmla="*/ 3568884 w 3892734"/>
              <a:gd name="connsiteY45" fmla="*/ 1098550 h 2286441"/>
              <a:gd name="connsiteX46" fmla="*/ 3479984 w 3892734"/>
              <a:gd name="connsiteY46" fmla="*/ 1124086 h 2286441"/>
              <a:gd name="connsiteX47" fmla="*/ 3340284 w 3892734"/>
              <a:gd name="connsiteY47" fmla="*/ 1155700 h 2286441"/>
              <a:gd name="connsiteX48" fmla="*/ 3219634 w 3892734"/>
              <a:gd name="connsiteY48" fmla="*/ 1181100 h 2286441"/>
              <a:gd name="connsiteX49" fmla="*/ 3111684 w 3892734"/>
              <a:gd name="connsiteY49" fmla="*/ 1295400 h 2286441"/>
              <a:gd name="connsiteX50" fmla="*/ 2991034 w 3892734"/>
              <a:gd name="connsiteY50" fmla="*/ 1601049 h 2286441"/>
              <a:gd name="connsiteX51" fmla="*/ 2846571 w 3892734"/>
              <a:gd name="connsiteY51" fmla="*/ 1861399 h 2286441"/>
              <a:gd name="connsiteX52" fmla="*/ 2667184 w 3892734"/>
              <a:gd name="connsiteY52" fmla="*/ 2145316 h 2286441"/>
              <a:gd name="connsiteX53" fmla="*/ 2587809 w 3892734"/>
              <a:gd name="connsiteY53" fmla="*/ 2206268 h 2286441"/>
              <a:gd name="connsiteX54" fmla="*/ 2484621 w 3892734"/>
              <a:gd name="connsiteY54" fmla="*/ 2281349 h 2286441"/>
              <a:gd name="connsiteX55" fmla="*/ 2248084 w 3892734"/>
              <a:gd name="connsiteY55" fmla="*/ 2286441 h 2286441"/>
              <a:gd name="connsiteX56" fmla="*/ 2036946 w 3892734"/>
              <a:gd name="connsiteY56" fmla="*/ 2106231 h 2286441"/>
              <a:gd name="connsiteX57" fmla="*/ 1908359 w 3892734"/>
              <a:gd name="connsiteY57" fmla="*/ 1872537 h 2286441"/>
              <a:gd name="connsiteX58" fmla="*/ 1832158 w 3892734"/>
              <a:gd name="connsiteY58" fmla="*/ 1747371 h 2286441"/>
              <a:gd name="connsiteX59" fmla="*/ 1719447 w 3892734"/>
              <a:gd name="connsiteY59" fmla="*/ 1606380 h 2286441"/>
              <a:gd name="connsiteX60" fmla="*/ 1578160 w 3892734"/>
              <a:gd name="connsiteY60" fmla="*/ 1426137 h 2286441"/>
              <a:gd name="connsiteX61" fmla="*/ 1433697 w 3892734"/>
              <a:gd name="connsiteY61" fmla="*/ 1317171 h 2286441"/>
              <a:gd name="connsiteX62" fmla="*/ 1101909 w 3892734"/>
              <a:gd name="connsiteY62" fmla="*/ 1573782 h 2286441"/>
              <a:gd name="connsiteX63" fmla="*/ 895535 w 3892734"/>
              <a:gd name="connsiteY63" fmla="*/ 1609913 h 2286441"/>
              <a:gd name="connsiteX64" fmla="*/ 743134 w 3892734"/>
              <a:gd name="connsiteY64" fmla="*/ 1587266 h 2286441"/>
              <a:gd name="connsiteX65" fmla="*/ 538346 w 3892734"/>
              <a:gd name="connsiteY65" fmla="*/ 1642309 h 2286441"/>
              <a:gd name="connsiteX66" fmla="*/ 358959 w 3892734"/>
              <a:gd name="connsiteY66" fmla="*/ 1593072 h 2286441"/>
              <a:gd name="connsiteX67" fmla="*/ 12884 w 3892734"/>
              <a:gd name="connsiteY67" fmla="*/ 1221921 h 2286441"/>
              <a:gd name="connsiteX68" fmla="*/ 184 w 3892734"/>
              <a:gd name="connsiteY68" fmla="*/ 0 h 2286441"/>
              <a:gd name="connsiteX0" fmla="*/ 184 w 3892734"/>
              <a:gd name="connsiteY0" fmla="*/ 0 h 2286441"/>
              <a:gd name="connsiteX1" fmla="*/ 266884 w 3892734"/>
              <a:gd name="connsiteY1" fmla="*/ 1162050 h 2286441"/>
              <a:gd name="connsiteX2" fmla="*/ 317684 w 3892734"/>
              <a:gd name="connsiteY2" fmla="*/ 1308100 h 2286441"/>
              <a:gd name="connsiteX3" fmla="*/ 362134 w 3892734"/>
              <a:gd name="connsiteY3" fmla="*/ 1371600 h 2286441"/>
              <a:gd name="connsiteX4" fmla="*/ 412934 w 3892734"/>
              <a:gd name="connsiteY4" fmla="*/ 1314450 h 2286441"/>
              <a:gd name="connsiteX5" fmla="*/ 514534 w 3892734"/>
              <a:gd name="connsiteY5" fmla="*/ 996950 h 2286441"/>
              <a:gd name="connsiteX6" fmla="*/ 584384 w 3892734"/>
              <a:gd name="connsiteY6" fmla="*/ 641350 h 2286441"/>
              <a:gd name="connsiteX7" fmla="*/ 641534 w 3892734"/>
              <a:gd name="connsiteY7" fmla="*/ 444500 h 2286441"/>
              <a:gd name="connsiteX8" fmla="*/ 692334 w 3892734"/>
              <a:gd name="connsiteY8" fmla="*/ 330200 h 2286441"/>
              <a:gd name="connsiteX9" fmla="*/ 724084 w 3892734"/>
              <a:gd name="connsiteY9" fmla="*/ 279400 h 2286441"/>
              <a:gd name="connsiteX10" fmla="*/ 806634 w 3892734"/>
              <a:gd name="connsiteY10" fmla="*/ 298450 h 2286441"/>
              <a:gd name="connsiteX11" fmla="*/ 927284 w 3892734"/>
              <a:gd name="connsiteY11" fmla="*/ 495300 h 2286441"/>
              <a:gd name="connsiteX12" fmla="*/ 978084 w 3892734"/>
              <a:gd name="connsiteY12" fmla="*/ 622300 h 2286441"/>
              <a:gd name="connsiteX13" fmla="*/ 1060634 w 3892734"/>
              <a:gd name="connsiteY13" fmla="*/ 666750 h 2286441"/>
              <a:gd name="connsiteX14" fmla="*/ 1136834 w 3892734"/>
              <a:gd name="connsiteY14" fmla="*/ 622300 h 2286441"/>
              <a:gd name="connsiteX15" fmla="*/ 1225734 w 3892734"/>
              <a:gd name="connsiteY15" fmla="*/ 495300 h 2286441"/>
              <a:gd name="connsiteX16" fmla="*/ 1289234 w 3892734"/>
              <a:gd name="connsiteY16" fmla="*/ 355600 h 2286441"/>
              <a:gd name="connsiteX17" fmla="*/ 1352734 w 3892734"/>
              <a:gd name="connsiteY17" fmla="*/ 292100 h 2286441"/>
              <a:gd name="connsiteX18" fmla="*/ 1397184 w 3892734"/>
              <a:gd name="connsiteY18" fmla="*/ 254000 h 2286441"/>
              <a:gd name="connsiteX19" fmla="*/ 1486084 w 3892734"/>
              <a:gd name="connsiteY19" fmla="*/ 285750 h 2286441"/>
              <a:gd name="connsiteX20" fmla="*/ 1581334 w 3892734"/>
              <a:gd name="connsiteY20" fmla="*/ 438150 h 2286441"/>
              <a:gd name="connsiteX21" fmla="*/ 1670234 w 3892734"/>
              <a:gd name="connsiteY21" fmla="*/ 654050 h 2286441"/>
              <a:gd name="connsiteX22" fmla="*/ 1905184 w 3892734"/>
              <a:gd name="connsiteY22" fmla="*/ 1066800 h 2286441"/>
              <a:gd name="connsiteX23" fmla="*/ 2006784 w 3892734"/>
              <a:gd name="connsiteY23" fmla="*/ 1212850 h 2286441"/>
              <a:gd name="connsiteX24" fmla="*/ 2082984 w 3892734"/>
              <a:gd name="connsiteY24" fmla="*/ 1295400 h 2286441"/>
              <a:gd name="connsiteX25" fmla="*/ 2190934 w 3892734"/>
              <a:gd name="connsiteY25" fmla="*/ 1263650 h 2286441"/>
              <a:gd name="connsiteX26" fmla="*/ 2235384 w 3892734"/>
              <a:gd name="connsiteY26" fmla="*/ 1168400 h 2286441"/>
              <a:gd name="connsiteX27" fmla="*/ 2292534 w 3892734"/>
              <a:gd name="connsiteY27" fmla="*/ 1016000 h 2286441"/>
              <a:gd name="connsiteX28" fmla="*/ 2368734 w 3892734"/>
              <a:gd name="connsiteY28" fmla="*/ 876300 h 2286441"/>
              <a:gd name="connsiteX29" fmla="*/ 2425884 w 3892734"/>
              <a:gd name="connsiteY29" fmla="*/ 787400 h 2286441"/>
              <a:gd name="connsiteX30" fmla="*/ 2476684 w 3892734"/>
              <a:gd name="connsiteY30" fmla="*/ 749300 h 2286441"/>
              <a:gd name="connsiteX31" fmla="*/ 2546534 w 3892734"/>
              <a:gd name="connsiteY31" fmla="*/ 736600 h 2286441"/>
              <a:gd name="connsiteX32" fmla="*/ 2654484 w 3892734"/>
              <a:gd name="connsiteY32" fmla="*/ 781050 h 2286441"/>
              <a:gd name="connsiteX33" fmla="*/ 2756084 w 3892734"/>
              <a:gd name="connsiteY33" fmla="*/ 838200 h 2286441"/>
              <a:gd name="connsiteX34" fmla="*/ 2851334 w 3892734"/>
              <a:gd name="connsiteY34" fmla="*/ 901700 h 2286441"/>
              <a:gd name="connsiteX35" fmla="*/ 2997384 w 3892734"/>
              <a:gd name="connsiteY35" fmla="*/ 920750 h 2286441"/>
              <a:gd name="connsiteX36" fmla="*/ 3175184 w 3892734"/>
              <a:gd name="connsiteY36" fmla="*/ 895350 h 2286441"/>
              <a:gd name="connsiteX37" fmla="*/ 3295834 w 3892734"/>
              <a:gd name="connsiteY37" fmla="*/ 774700 h 2286441"/>
              <a:gd name="connsiteX38" fmla="*/ 3391084 w 3892734"/>
              <a:gd name="connsiteY38" fmla="*/ 628650 h 2286441"/>
              <a:gd name="connsiteX39" fmla="*/ 3486334 w 3892734"/>
              <a:gd name="connsiteY39" fmla="*/ 495300 h 2286441"/>
              <a:gd name="connsiteX40" fmla="*/ 3594284 w 3892734"/>
              <a:gd name="connsiteY40" fmla="*/ 412750 h 2286441"/>
              <a:gd name="connsiteX41" fmla="*/ 3714934 w 3892734"/>
              <a:gd name="connsiteY41" fmla="*/ 406400 h 2286441"/>
              <a:gd name="connsiteX42" fmla="*/ 3892734 w 3892734"/>
              <a:gd name="connsiteY42" fmla="*/ 412750 h 2286441"/>
              <a:gd name="connsiteX43" fmla="*/ 3892734 w 3892734"/>
              <a:gd name="connsiteY43" fmla="*/ 755650 h 2286441"/>
              <a:gd name="connsiteX44" fmla="*/ 3708584 w 3892734"/>
              <a:gd name="connsiteY44" fmla="*/ 958850 h 2286441"/>
              <a:gd name="connsiteX45" fmla="*/ 3611747 w 3892734"/>
              <a:gd name="connsiteY45" fmla="*/ 1039839 h 2286441"/>
              <a:gd name="connsiteX46" fmla="*/ 3479984 w 3892734"/>
              <a:gd name="connsiteY46" fmla="*/ 1124086 h 2286441"/>
              <a:gd name="connsiteX47" fmla="*/ 3340284 w 3892734"/>
              <a:gd name="connsiteY47" fmla="*/ 1155700 h 2286441"/>
              <a:gd name="connsiteX48" fmla="*/ 3219634 w 3892734"/>
              <a:gd name="connsiteY48" fmla="*/ 1181100 h 2286441"/>
              <a:gd name="connsiteX49" fmla="*/ 3111684 w 3892734"/>
              <a:gd name="connsiteY49" fmla="*/ 1295400 h 2286441"/>
              <a:gd name="connsiteX50" fmla="*/ 2991034 w 3892734"/>
              <a:gd name="connsiteY50" fmla="*/ 1601049 h 2286441"/>
              <a:gd name="connsiteX51" fmla="*/ 2846571 w 3892734"/>
              <a:gd name="connsiteY51" fmla="*/ 1861399 h 2286441"/>
              <a:gd name="connsiteX52" fmla="*/ 2667184 w 3892734"/>
              <a:gd name="connsiteY52" fmla="*/ 2145316 h 2286441"/>
              <a:gd name="connsiteX53" fmla="*/ 2587809 w 3892734"/>
              <a:gd name="connsiteY53" fmla="*/ 2206268 h 2286441"/>
              <a:gd name="connsiteX54" fmla="*/ 2484621 w 3892734"/>
              <a:gd name="connsiteY54" fmla="*/ 2281349 h 2286441"/>
              <a:gd name="connsiteX55" fmla="*/ 2248084 w 3892734"/>
              <a:gd name="connsiteY55" fmla="*/ 2286441 h 2286441"/>
              <a:gd name="connsiteX56" fmla="*/ 2036946 w 3892734"/>
              <a:gd name="connsiteY56" fmla="*/ 2106231 h 2286441"/>
              <a:gd name="connsiteX57" fmla="*/ 1908359 w 3892734"/>
              <a:gd name="connsiteY57" fmla="*/ 1872537 h 2286441"/>
              <a:gd name="connsiteX58" fmla="*/ 1832158 w 3892734"/>
              <a:gd name="connsiteY58" fmla="*/ 1747371 h 2286441"/>
              <a:gd name="connsiteX59" fmla="*/ 1719447 w 3892734"/>
              <a:gd name="connsiteY59" fmla="*/ 1606380 h 2286441"/>
              <a:gd name="connsiteX60" fmla="*/ 1578160 w 3892734"/>
              <a:gd name="connsiteY60" fmla="*/ 1426137 h 2286441"/>
              <a:gd name="connsiteX61" fmla="*/ 1433697 w 3892734"/>
              <a:gd name="connsiteY61" fmla="*/ 1317171 h 2286441"/>
              <a:gd name="connsiteX62" fmla="*/ 1101909 w 3892734"/>
              <a:gd name="connsiteY62" fmla="*/ 1573782 h 2286441"/>
              <a:gd name="connsiteX63" fmla="*/ 895535 w 3892734"/>
              <a:gd name="connsiteY63" fmla="*/ 1609913 h 2286441"/>
              <a:gd name="connsiteX64" fmla="*/ 743134 w 3892734"/>
              <a:gd name="connsiteY64" fmla="*/ 1587266 h 2286441"/>
              <a:gd name="connsiteX65" fmla="*/ 538346 w 3892734"/>
              <a:gd name="connsiteY65" fmla="*/ 1642309 h 2286441"/>
              <a:gd name="connsiteX66" fmla="*/ 358959 w 3892734"/>
              <a:gd name="connsiteY66" fmla="*/ 1593072 h 2286441"/>
              <a:gd name="connsiteX67" fmla="*/ 12884 w 3892734"/>
              <a:gd name="connsiteY67" fmla="*/ 1221921 h 2286441"/>
              <a:gd name="connsiteX68" fmla="*/ 184 w 3892734"/>
              <a:gd name="connsiteY68" fmla="*/ 0 h 2286441"/>
              <a:gd name="connsiteX0" fmla="*/ 184 w 3892734"/>
              <a:gd name="connsiteY0" fmla="*/ 0 h 2286441"/>
              <a:gd name="connsiteX1" fmla="*/ 266884 w 3892734"/>
              <a:gd name="connsiteY1" fmla="*/ 1162050 h 2286441"/>
              <a:gd name="connsiteX2" fmla="*/ 317684 w 3892734"/>
              <a:gd name="connsiteY2" fmla="*/ 1308100 h 2286441"/>
              <a:gd name="connsiteX3" fmla="*/ 362134 w 3892734"/>
              <a:gd name="connsiteY3" fmla="*/ 1371600 h 2286441"/>
              <a:gd name="connsiteX4" fmla="*/ 412934 w 3892734"/>
              <a:gd name="connsiteY4" fmla="*/ 1314450 h 2286441"/>
              <a:gd name="connsiteX5" fmla="*/ 514534 w 3892734"/>
              <a:gd name="connsiteY5" fmla="*/ 996950 h 2286441"/>
              <a:gd name="connsiteX6" fmla="*/ 584384 w 3892734"/>
              <a:gd name="connsiteY6" fmla="*/ 641350 h 2286441"/>
              <a:gd name="connsiteX7" fmla="*/ 641534 w 3892734"/>
              <a:gd name="connsiteY7" fmla="*/ 444500 h 2286441"/>
              <a:gd name="connsiteX8" fmla="*/ 692334 w 3892734"/>
              <a:gd name="connsiteY8" fmla="*/ 330200 h 2286441"/>
              <a:gd name="connsiteX9" fmla="*/ 724084 w 3892734"/>
              <a:gd name="connsiteY9" fmla="*/ 279400 h 2286441"/>
              <a:gd name="connsiteX10" fmla="*/ 806634 w 3892734"/>
              <a:gd name="connsiteY10" fmla="*/ 298450 h 2286441"/>
              <a:gd name="connsiteX11" fmla="*/ 927284 w 3892734"/>
              <a:gd name="connsiteY11" fmla="*/ 495300 h 2286441"/>
              <a:gd name="connsiteX12" fmla="*/ 978084 w 3892734"/>
              <a:gd name="connsiteY12" fmla="*/ 622300 h 2286441"/>
              <a:gd name="connsiteX13" fmla="*/ 1060634 w 3892734"/>
              <a:gd name="connsiteY13" fmla="*/ 666750 h 2286441"/>
              <a:gd name="connsiteX14" fmla="*/ 1136834 w 3892734"/>
              <a:gd name="connsiteY14" fmla="*/ 622300 h 2286441"/>
              <a:gd name="connsiteX15" fmla="*/ 1225734 w 3892734"/>
              <a:gd name="connsiteY15" fmla="*/ 495300 h 2286441"/>
              <a:gd name="connsiteX16" fmla="*/ 1289234 w 3892734"/>
              <a:gd name="connsiteY16" fmla="*/ 355600 h 2286441"/>
              <a:gd name="connsiteX17" fmla="*/ 1352734 w 3892734"/>
              <a:gd name="connsiteY17" fmla="*/ 292100 h 2286441"/>
              <a:gd name="connsiteX18" fmla="*/ 1397184 w 3892734"/>
              <a:gd name="connsiteY18" fmla="*/ 254000 h 2286441"/>
              <a:gd name="connsiteX19" fmla="*/ 1486084 w 3892734"/>
              <a:gd name="connsiteY19" fmla="*/ 285750 h 2286441"/>
              <a:gd name="connsiteX20" fmla="*/ 1581334 w 3892734"/>
              <a:gd name="connsiteY20" fmla="*/ 438150 h 2286441"/>
              <a:gd name="connsiteX21" fmla="*/ 1670234 w 3892734"/>
              <a:gd name="connsiteY21" fmla="*/ 654050 h 2286441"/>
              <a:gd name="connsiteX22" fmla="*/ 1905184 w 3892734"/>
              <a:gd name="connsiteY22" fmla="*/ 1066800 h 2286441"/>
              <a:gd name="connsiteX23" fmla="*/ 2006784 w 3892734"/>
              <a:gd name="connsiteY23" fmla="*/ 1212850 h 2286441"/>
              <a:gd name="connsiteX24" fmla="*/ 2082984 w 3892734"/>
              <a:gd name="connsiteY24" fmla="*/ 1295400 h 2286441"/>
              <a:gd name="connsiteX25" fmla="*/ 2190934 w 3892734"/>
              <a:gd name="connsiteY25" fmla="*/ 1263650 h 2286441"/>
              <a:gd name="connsiteX26" fmla="*/ 2235384 w 3892734"/>
              <a:gd name="connsiteY26" fmla="*/ 1168400 h 2286441"/>
              <a:gd name="connsiteX27" fmla="*/ 2292534 w 3892734"/>
              <a:gd name="connsiteY27" fmla="*/ 1016000 h 2286441"/>
              <a:gd name="connsiteX28" fmla="*/ 2368734 w 3892734"/>
              <a:gd name="connsiteY28" fmla="*/ 876300 h 2286441"/>
              <a:gd name="connsiteX29" fmla="*/ 2425884 w 3892734"/>
              <a:gd name="connsiteY29" fmla="*/ 787400 h 2286441"/>
              <a:gd name="connsiteX30" fmla="*/ 2476684 w 3892734"/>
              <a:gd name="connsiteY30" fmla="*/ 749300 h 2286441"/>
              <a:gd name="connsiteX31" fmla="*/ 2546534 w 3892734"/>
              <a:gd name="connsiteY31" fmla="*/ 736600 h 2286441"/>
              <a:gd name="connsiteX32" fmla="*/ 2654484 w 3892734"/>
              <a:gd name="connsiteY32" fmla="*/ 781050 h 2286441"/>
              <a:gd name="connsiteX33" fmla="*/ 2756084 w 3892734"/>
              <a:gd name="connsiteY33" fmla="*/ 838200 h 2286441"/>
              <a:gd name="connsiteX34" fmla="*/ 2851334 w 3892734"/>
              <a:gd name="connsiteY34" fmla="*/ 901700 h 2286441"/>
              <a:gd name="connsiteX35" fmla="*/ 2997384 w 3892734"/>
              <a:gd name="connsiteY35" fmla="*/ 920750 h 2286441"/>
              <a:gd name="connsiteX36" fmla="*/ 3175184 w 3892734"/>
              <a:gd name="connsiteY36" fmla="*/ 895350 h 2286441"/>
              <a:gd name="connsiteX37" fmla="*/ 3295834 w 3892734"/>
              <a:gd name="connsiteY37" fmla="*/ 774700 h 2286441"/>
              <a:gd name="connsiteX38" fmla="*/ 3391084 w 3892734"/>
              <a:gd name="connsiteY38" fmla="*/ 628650 h 2286441"/>
              <a:gd name="connsiteX39" fmla="*/ 3486334 w 3892734"/>
              <a:gd name="connsiteY39" fmla="*/ 495300 h 2286441"/>
              <a:gd name="connsiteX40" fmla="*/ 3594284 w 3892734"/>
              <a:gd name="connsiteY40" fmla="*/ 412750 h 2286441"/>
              <a:gd name="connsiteX41" fmla="*/ 3714934 w 3892734"/>
              <a:gd name="connsiteY41" fmla="*/ 406400 h 2286441"/>
              <a:gd name="connsiteX42" fmla="*/ 3892734 w 3892734"/>
              <a:gd name="connsiteY42" fmla="*/ 412750 h 2286441"/>
              <a:gd name="connsiteX43" fmla="*/ 3892734 w 3892734"/>
              <a:gd name="connsiteY43" fmla="*/ 755650 h 2286441"/>
              <a:gd name="connsiteX44" fmla="*/ 3708584 w 3892734"/>
              <a:gd name="connsiteY44" fmla="*/ 958850 h 2286441"/>
              <a:gd name="connsiteX45" fmla="*/ 3611747 w 3892734"/>
              <a:gd name="connsiteY45" fmla="*/ 1039839 h 2286441"/>
              <a:gd name="connsiteX46" fmla="*/ 3479984 w 3892734"/>
              <a:gd name="connsiteY46" fmla="*/ 1124086 h 2286441"/>
              <a:gd name="connsiteX47" fmla="*/ 3340284 w 3892734"/>
              <a:gd name="connsiteY47" fmla="*/ 1155700 h 2286441"/>
              <a:gd name="connsiteX48" fmla="*/ 3219634 w 3892734"/>
              <a:gd name="connsiteY48" fmla="*/ 1181100 h 2286441"/>
              <a:gd name="connsiteX49" fmla="*/ 3111684 w 3892734"/>
              <a:gd name="connsiteY49" fmla="*/ 1295400 h 2286441"/>
              <a:gd name="connsiteX50" fmla="*/ 2991034 w 3892734"/>
              <a:gd name="connsiteY50" fmla="*/ 1601049 h 2286441"/>
              <a:gd name="connsiteX51" fmla="*/ 2846571 w 3892734"/>
              <a:gd name="connsiteY51" fmla="*/ 1861399 h 2286441"/>
              <a:gd name="connsiteX52" fmla="*/ 2667184 w 3892734"/>
              <a:gd name="connsiteY52" fmla="*/ 2145316 h 2286441"/>
              <a:gd name="connsiteX53" fmla="*/ 2587809 w 3892734"/>
              <a:gd name="connsiteY53" fmla="*/ 2206268 h 2286441"/>
              <a:gd name="connsiteX54" fmla="*/ 2484621 w 3892734"/>
              <a:gd name="connsiteY54" fmla="*/ 2281349 h 2286441"/>
              <a:gd name="connsiteX55" fmla="*/ 2248084 w 3892734"/>
              <a:gd name="connsiteY55" fmla="*/ 2286441 h 2286441"/>
              <a:gd name="connsiteX56" fmla="*/ 2036946 w 3892734"/>
              <a:gd name="connsiteY56" fmla="*/ 2106231 h 2286441"/>
              <a:gd name="connsiteX57" fmla="*/ 1908359 w 3892734"/>
              <a:gd name="connsiteY57" fmla="*/ 1872537 h 2286441"/>
              <a:gd name="connsiteX58" fmla="*/ 1832158 w 3892734"/>
              <a:gd name="connsiteY58" fmla="*/ 1747371 h 2286441"/>
              <a:gd name="connsiteX59" fmla="*/ 1719447 w 3892734"/>
              <a:gd name="connsiteY59" fmla="*/ 1606380 h 2286441"/>
              <a:gd name="connsiteX60" fmla="*/ 1578160 w 3892734"/>
              <a:gd name="connsiteY60" fmla="*/ 1426137 h 2286441"/>
              <a:gd name="connsiteX61" fmla="*/ 1433697 w 3892734"/>
              <a:gd name="connsiteY61" fmla="*/ 1317171 h 2286441"/>
              <a:gd name="connsiteX62" fmla="*/ 1101909 w 3892734"/>
              <a:gd name="connsiteY62" fmla="*/ 1573782 h 2286441"/>
              <a:gd name="connsiteX63" fmla="*/ 895535 w 3892734"/>
              <a:gd name="connsiteY63" fmla="*/ 1609913 h 2286441"/>
              <a:gd name="connsiteX64" fmla="*/ 743134 w 3892734"/>
              <a:gd name="connsiteY64" fmla="*/ 1587266 h 2286441"/>
              <a:gd name="connsiteX65" fmla="*/ 538346 w 3892734"/>
              <a:gd name="connsiteY65" fmla="*/ 1642309 h 2286441"/>
              <a:gd name="connsiteX66" fmla="*/ 397059 w 3892734"/>
              <a:gd name="connsiteY66" fmla="*/ 1620170 h 2286441"/>
              <a:gd name="connsiteX67" fmla="*/ 12884 w 3892734"/>
              <a:gd name="connsiteY67" fmla="*/ 1221921 h 2286441"/>
              <a:gd name="connsiteX68" fmla="*/ 184 w 3892734"/>
              <a:gd name="connsiteY68" fmla="*/ 0 h 2286441"/>
              <a:gd name="connsiteX0" fmla="*/ 184 w 3892734"/>
              <a:gd name="connsiteY0" fmla="*/ 0 h 2286441"/>
              <a:gd name="connsiteX1" fmla="*/ 266884 w 3892734"/>
              <a:gd name="connsiteY1" fmla="*/ 1162050 h 2286441"/>
              <a:gd name="connsiteX2" fmla="*/ 317684 w 3892734"/>
              <a:gd name="connsiteY2" fmla="*/ 1308100 h 2286441"/>
              <a:gd name="connsiteX3" fmla="*/ 362134 w 3892734"/>
              <a:gd name="connsiteY3" fmla="*/ 1371600 h 2286441"/>
              <a:gd name="connsiteX4" fmla="*/ 412934 w 3892734"/>
              <a:gd name="connsiteY4" fmla="*/ 1314450 h 2286441"/>
              <a:gd name="connsiteX5" fmla="*/ 514534 w 3892734"/>
              <a:gd name="connsiteY5" fmla="*/ 996950 h 2286441"/>
              <a:gd name="connsiteX6" fmla="*/ 584384 w 3892734"/>
              <a:gd name="connsiteY6" fmla="*/ 641350 h 2286441"/>
              <a:gd name="connsiteX7" fmla="*/ 641534 w 3892734"/>
              <a:gd name="connsiteY7" fmla="*/ 444500 h 2286441"/>
              <a:gd name="connsiteX8" fmla="*/ 692334 w 3892734"/>
              <a:gd name="connsiteY8" fmla="*/ 330200 h 2286441"/>
              <a:gd name="connsiteX9" fmla="*/ 724084 w 3892734"/>
              <a:gd name="connsiteY9" fmla="*/ 279400 h 2286441"/>
              <a:gd name="connsiteX10" fmla="*/ 806634 w 3892734"/>
              <a:gd name="connsiteY10" fmla="*/ 298450 h 2286441"/>
              <a:gd name="connsiteX11" fmla="*/ 927284 w 3892734"/>
              <a:gd name="connsiteY11" fmla="*/ 495300 h 2286441"/>
              <a:gd name="connsiteX12" fmla="*/ 978084 w 3892734"/>
              <a:gd name="connsiteY12" fmla="*/ 622300 h 2286441"/>
              <a:gd name="connsiteX13" fmla="*/ 1060634 w 3892734"/>
              <a:gd name="connsiteY13" fmla="*/ 666750 h 2286441"/>
              <a:gd name="connsiteX14" fmla="*/ 1136834 w 3892734"/>
              <a:gd name="connsiteY14" fmla="*/ 622300 h 2286441"/>
              <a:gd name="connsiteX15" fmla="*/ 1225734 w 3892734"/>
              <a:gd name="connsiteY15" fmla="*/ 495300 h 2286441"/>
              <a:gd name="connsiteX16" fmla="*/ 1289234 w 3892734"/>
              <a:gd name="connsiteY16" fmla="*/ 355600 h 2286441"/>
              <a:gd name="connsiteX17" fmla="*/ 1352734 w 3892734"/>
              <a:gd name="connsiteY17" fmla="*/ 292100 h 2286441"/>
              <a:gd name="connsiteX18" fmla="*/ 1397184 w 3892734"/>
              <a:gd name="connsiteY18" fmla="*/ 254000 h 2286441"/>
              <a:gd name="connsiteX19" fmla="*/ 1486084 w 3892734"/>
              <a:gd name="connsiteY19" fmla="*/ 285750 h 2286441"/>
              <a:gd name="connsiteX20" fmla="*/ 1581334 w 3892734"/>
              <a:gd name="connsiteY20" fmla="*/ 438150 h 2286441"/>
              <a:gd name="connsiteX21" fmla="*/ 1670234 w 3892734"/>
              <a:gd name="connsiteY21" fmla="*/ 654050 h 2286441"/>
              <a:gd name="connsiteX22" fmla="*/ 1905184 w 3892734"/>
              <a:gd name="connsiteY22" fmla="*/ 1066800 h 2286441"/>
              <a:gd name="connsiteX23" fmla="*/ 2006784 w 3892734"/>
              <a:gd name="connsiteY23" fmla="*/ 1212850 h 2286441"/>
              <a:gd name="connsiteX24" fmla="*/ 2082984 w 3892734"/>
              <a:gd name="connsiteY24" fmla="*/ 1295400 h 2286441"/>
              <a:gd name="connsiteX25" fmla="*/ 2190934 w 3892734"/>
              <a:gd name="connsiteY25" fmla="*/ 1263650 h 2286441"/>
              <a:gd name="connsiteX26" fmla="*/ 2235384 w 3892734"/>
              <a:gd name="connsiteY26" fmla="*/ 1168400 h 2286441"/>
              <a:gd name="connsiteX27" fmla="*/ 2292534 w 3892734"/>
              <a:gd name="connsiteY27" fmla="*/ 1016000 h 2286441"/>
              <a:gd name="connsiteX28" fmla="*/ 2368734 w 3892734"/>
              <a:gd name="connsiteY28" fmla="*/ 876300 h 2286441"/>
              <a:gd name="connsiteX29" fmla="*/ 2425884 w 3892734"/>
              <a:gd name="connsiteY29" fmla="*/ 787400 h 2286441"/>
              <a:gd name="connsiteX30" fmla="*/ 2476684 w 3892734"/>
              <a:gd name="connsiteY30" fmla="*/ 749300 h 2286441"/>
              <a:gd name="connsiteX31" fmla="*/ 2546534 w 3892734"/>
              <a:gd name="connsiteY31" fmla="*/ 736600 h 2286441"/>
              <a:gd name="connsiteX32" fmla="*/ 2654484 w 3892734"/>
              <a:gd name="connsiteY32" fmla="*/ 781050 h 2286441"/>
              <a:gd name="connsiteX33" fmla="*/ 2756084 w 3892734"/>
              <a:gd name="connsiteY33" fmla="*/ 838200 h 2286441"/>
              <a:gd name="connsiteX34" fmla="*/ 2851334 w 3892734"/>
              <a:gd name="connsiteY34" fmla="*/ 901700 h 2286441"/>
              <a:gd name="connsiteX35" fmla="*/ 2997384 w 3892734"/>
              <a:gd name="connsiteY35" fmla="*/ 920750 h 2286441"/>
              <a:gd name="connsiteX36" fmla="*/ 3175184 w 3892734"/>
              <a:gd name="connsiteY36" fmla="*/ 895350 h 2286441"/>
              <a:gd name="connsiteX37" fmla="*/ 3295834 w 3892734"/>
              <a:gd name="connsiteY37" fmla="*/ 774700 h 2286441"/>
              <a:gd name="connsiteX38" fmla="*/ 3391084 w 3892734"/>
              <a:gd name="connsiteY38" fmla="*/ 628650 h 2286441"/>
              <a:gd name="connsiteX39" fmla="*/ 3486334 w 3892734"/>
              <a:gd name="connsiteY39" fmla="*/ 495300 h 2286441"/>
              <a:gd name="connsiteX40" fmla="*/ 3594284 w 3892734"/>
              <a:gd name="connsiteY40" fmla="*/ 412750 h 2286441"/>
              <a:gd name="connsiteX41" fmla="*/ 3714934 w 3892734"/>
              <a:gd name="connsiteY41" fmla="*/ 406400 h 2286441"/>
              <a:gd name="connsiteX42" fmla="*/ 3892734 w 3892734"/>
              <a:gd name="connsiteY42" fmla="*/ 412750 h 2286441"/>
              <a:gd name="connsiteX43" fmla="*/ 3892734 w 3892734"/>
              <a:gd name="connsiteY43" fmla="*/ 755650 h 2286441"/>
              <a:gd name="connsiteX44" fmla="*/ 3708584 w 3892734"/>
              <a:gd name="connsiteY44" fmla="*/ 958850 h 2286441"/>
              <a:gd name="connsiteX45" fmla="*/ 3611747 w 3892734"/>
              <a:gd name="connsiteY45" fmla="*/ 1039839 h 2286441"/>
              <a:gd name="connsiteX46" fmla="*/ 3479984 w 3892734"/>
              <a:gd name="connsiteY46" fmla="*/ 1124086 h 2286441"/>
              <a:gd name="connsiteX47" fmla="*/ 3340284 w 3892734"/>
              <a:gd name="connsiteY47" fmla="*/ 1155700 h 2286441"/>
              <a:gd name="connsiteX48" fmla="*/ 3219634 w 3892734"/>
              <a:gd name="connsiteY48" fmla="*/ 1181100 h 2286441"/>
              <a:gd name="connsiteX49" fmla="*/ 3135496 w 3892734"/>
              <a:gd name="connsiteY49" fmla="*/ 1299916 h 2286441"/>
              <a:gd name="connsiteX50" fmla="*/ 2991034 w 3892734"/>
              <a:gd name="connsiteY50" fmla="*/ 1601049 h 2286441"/>
              <a:gd name="connsiteX51" fmla="*/ 2846571 w 3892734"/>
              <a:gd name="connsiteY51" fmla="*/ 1861399 h 2286441"/>
              <a:gd name="connsiteX52" fmla="*/ 2667184 w 3892734"/>
              <a:gd name="connsiteY52" fmla="*/ 2145316 h 2286441"/>
              <a:gd name="connsiteX53" fmla="*/ 2587809 w 3892734"/>
              <a:gd name="connsiteY53" fmla="*/ 2206268 h 2286441"/>
              <a:gd name="connsiteX54" fmla="*/ 2484621 w 3892734"/>
              <a:gd name="connsiteY54" fmla="*/ 2281349 h 2286441"/>
              <a:gd name="connsiteX55" fmla="*/ 2248084 w 3892734"/>
              <a:gd name="connsiteY55" fmla="*/ 2286441 h 2286441"/>
              <a:gd name="connsiteX56" fmla="*/ 2036946 w 3892734"/>
              <a:gd name="connsiteY56" fmla="*/ 2106231 h 2286441"/>
              <a:gd name="connsiteX57" fmla="*/ 1908359 w 3892734"/>
              <a:gd name="connsiteY57" fmla="*/ 1872537 h 2286441"/>
              <a:gd name="connsiteX58" fmla="*/ 1832158 w 3892734"/>
              <a:gd name="connsiteY58" fmla="*/ 1747371 h 2286441"/>
              <a:gd name="connsiteX59" fmla="*/ 1719447 w 3892734"/>
              <a:gd name="connsiteY59" fmla="*/ 1606380 h 2286441"/>
              <a:gd name="connsiteX60" fmla="*/ 1578160 w 3892734"/>
              <a:gd name="connsiteY60" fmla="*/ 1426137 h 2286441"/>
              <a:gd name="connsiteX61" fmla="*/ 1433697 w 3892734"/>
              <a:gd name="connsiteY61" fmla="*/ 1317171 h 2286441"/>
              <a:gd name="connsiteX62" fmla="*/ 1101909 w 3892734"/>
              <a:gd name="connsiteY62" fmla="*/ 1573782 h 2286441"/>
              <a:gd name="connsiteX63" fmla="*/ 895535 w 3892734"/>
              <a:gd name="connsiteY63" fmla="*/ 1609913 h 2286441"/>
              <a:gd name="connsiteX64" fmla="*/ 743134 w 3892734"/>
              <a:gd name="connsiteY64" fmla="*/ 1587266 h 2286441"/>
              <a:gd name="connsiteX65" fmla="*/ 538346 w 3892734"/>
              <a:gd name="connsiteY65" fmla="*/ 1642309 h 2286441"/>
              <a:gd name="connsiteX66" fmla="*/ 397059 w 3892734"/>
              <a:gd name="connsiteY66" fmla="*/ 1620170 h 2286441"/>
              <a:gd name="connsiteX67" fmla="*/ 12884 w 3892734"/>
              <a:gd name="connsiteY67" fmla="*/ 1221921 h 2286441"/>
              <a:gd name="connsiteX68" fmla="*/ 184 w 3892734"/>
              <a:gd name="connsiteY68" fmla="*/ 0 h 2286441"/>
              <a:gd name="connsiteX0" fmla="*/ 184 w 3892734"/>
              <a:gd name="connsiteY0" fmla="*/ 0 h 2286441"/>
              <a:gd name="connsiteX1" fmla="*/ 266884 w 3892734"/>
              <a:gd name="connsiteY1" fmla="*/ 1162050 h 2286441"/>
              <a:gd name="connsiteX2" fmla="*/ 317684 w 3892734"/>
              <a:gd name="connsiteY2" fmla="*/ 1308100 h 2286441"/>
              <a:gd name="connsiteX3" fmla="*/ 362134 w 3892734"/>
              <a:gd name="connsiteY3" fmla="*/ 1371600 h 2286441"/>
              <a:gd name="connsiteX4" fmla="*/ 412934 w 3892734"/>
              <a:gd name="connsiteY4" fmla="*/ 1314450 h 2286441"/>
              <a:gd name="connsiteX5" fmla="*/ 514534 w 3892734"/>
              <a:gd name="connsiteY5" fmla="*/ 996950 h 2286441"/>
              <a:gd name="connsiteX6" fmla="*/ 584384 w 3892734"/>
              <a:gd name="connsiteY6" fmla="*/ 641350 h 2286441"/>
              <a:gd name="connsiteX7" fmla="*/ 641534 w 3892734"/>
              <a:gd name="connsiteY7" fmla="*/ 444500 h 2286441"/>
              <a:gd name="connsiteX8" fmla="*/ 692334 w 3892734"/>
              <a:gd name="connsiteY8" fmla="*/ 330200 h 2286441"/>
              <a:gd name="connsiteX9" fmla="*/ 724084 w 3892734"/>
              <a:gd name="connsiteY9" fmla="*/ 279400 h 2286441"/>
              <a:gd name="connsiteX10" fmla="*/ 806634 w 3892734"/>
              <a:gd name="connsiteY10" fmla="*/ 298450 h 2286441"/>
              <a:gd name="connsiteX11" fmla="*/ 927284 w 3892734"/>
              <a:gd name="connsiteY11" fmla="*/ 495300 h 2286441"/>
              <a:gd name="connsiteX12" fmla="*/ 978084 w 3892734"/>
              <a:gd name="connsiteY12" fmla="*/ 622300 h 2286441"/>
              <a:gd name="connsiteX13" fmla="*/ 1060634 w 3892734"/>
              <a:gd name="connsiteY13" fmla="*/ 666750 h 2286441"/>
              <a:gd name="connsiteX14" fmla="*/ 1136834 w 3892734"/>
              <a:gd name="connsiteY14" fmla="*/ 622300 h 2286441"/>
              <a:gd name="connsiteX15" fmla="*/ 1225734 w 3892734"/>
              <a:gd name="connsiteY15" fmla="*/ 495300 h 2286441"/>
              <a:gd name="connsiteX16" fmla="*/ 1289234 w 3892734"/>
              <a:gd name="connsiteY16" fmla="*/ 355600 h 2286441"/>
              <a:gd name="connsiteX17" fmla="*/ 1352734 w 3892734"/>
              <a:gd name="connsiteY17" fmla="*/ 292100 h 2286441"/>
              <a:gd name="connsiteX18" fmla="*/ 1397184 w 3892734"/>
              <a:gd name="connsiteY18" fmla="*/ 254000 h 2286441"/>
              <a:gd name="connsiteX19" fmla="*/ 1486084 w 3892734"/>
              <a:gd name="connsiteY19" fmla="*/ 285750 h 2286441"/>
              <a:gd name="connsiteX20" fmla="*/ 1581334 w 3892734"/>
              <a:gd name="connsiteY20" fmla="*/ 438150 h 2286441"/>
              <a:gd name="connsiteX21" fmla="*/ 1670234 w 3892734"/>
              <a:gd name="connsiteY21" fmla="*/ 654050 h 2286441"/>
              <a:gd name="connsiteX22" fmla="*/ 1905184 w 3892734"/>
              <a:gd name="connsiteY22" fmla="*/ 1066800 h 2286441"/>
              <a:gd name="connsiteX23" fmla="*/ 2006784 w 3892734"/>
              <a:gd name="connsiteY23" fmla="*/ 1212850 h 2286441"/>
              <a:gd name="connsiteX24" fmla="*/ 2082984 w 3892734"/>
              <a:gd name="connsiteY24" fmla="*/ 1295400 h 2286441"/>
              <a:gd name="connsiteX25" fmla="*/ 2190934 w 3892734"/>
              <a:gd name="connsiteY25" fmla="*/ 1263650 h 2286441"/>
              <a:gd name="connsiteX26" fmla="*/ 2235384 w 3892734"/>
              <a:gd name="connsiteY26" fmla="*/ 1168400 h 2286441"/>
              <a:gd name="connsiteX27" fmla="*/ 2292534 w 3892734"/>
              <a:gd name="connsiteY27" fmla="*/ 1016000 h 2286441"/>
              <a:gd name="connsiteX28" fmla="*/ 2368734 w 3892734"/>
              <a:gd name="connsiteY28" fmla="*/ 876300 h 2286441"/>
              <a:gd name="connsiteX29" fmla="*/ 2425884 w 3892734"/>
              <a:gd name="connsiteY29" fmla="*/ 787400 h 2286441"/>
              <a:gd name="connsiteX30" fmla="*/ 2476684 w 3892734"/>
              <a:gd name="connsiteY30" fmla="*/ 749300 h 2286441"/>
              <a:gd name="connsiteX31" fmla="*/ 2546534 w 3892734"/>
              <a:gd name="connsiteY31" fmla="*/ 736600 h 2286441"/>
              <a:gd name="connsiteX32" fmla="*/ 2654484 w 3892734"/>
              <a:gd name="connsiteY32" fmla="*/ 781050 h 2286441"/>
              <a:gd name="connsiteX33" fmla="*/ 2756084 w 3892734"/>
              <a:gd name="connsiteY33" fmla="*/ 838200 h 2286441"/>
              <a:gd name="connsiteX34" fmla="*/ 2851334 w 3892734"/>
              <a:gd name="connsiteY34" fmla="*/ 901700 h 2286441"/>
              <a:gd name="connsiteX35" fmla="*/ 2997384 w 3892734"/>
              <a:gd name="connsiteY35" fmla="*/ 920750 h 2286441"/>
              <a:gd name="connsiteX36" fmla="*/ 3175184 w 3892734"/>
              <a:gd name="connsiteY36" fmla="*/ 895350 h 2286441"/>
              <a:gd name="connsiteX37" fmla="*/ 3295834 w 3892734"/>
              <a:gd name="connsiteY37" fmla="*/ 774700 h 2286441"/>
              <a:gd name="connsiteX38" fmla="*/ 3391084 w 3892734"/>
              <a:gd name="connsiteY38" fmla="*/ 628650 h 2286441"/>
              <a:gd name="connsiteX39" fmla="*/ 3486334 w 3892734"/>
              <a:gd name="connsiteY39" fmla="*/ 495300 h 2286441"/>
              <a:gd name="connsiteX40" fmla="*/ 3594284 w 3892734"/>
              <a:gd name="connsiteY40" fmla="*/ 412750 h 2286441"/>
              <a:gd name="connsiteX41" fmla="*/ 3714934 w 3892734"/>
              <a:gd name="connsiteY41" fmla="*/ 406400 h 2286441"/>
              <a:gd name="connsiteX42" fmla="*/ 3892734 w 3892734"/>
              <a:gd name="connsiteY42" fmla="*/ 412750 h 2286441"/>
              <a:gd name="connsiteX43" fmla="*/ 3892734 w 3892734"/>
              <a:gd name="connsiteY43" fmla="*/ 755650 h 2286441"/>
              <a:gd name="connsiteX44" fmla="*/ 3708584 w 3892734"/>
              <a:gd name="connsiteY44" fmla="*/ 958850 h 2286441"/>
              <a:gd name="connsiteX45" fmla="*/ 3611747 w 3892734"/>
              <a:gd name="connsiteY45" fmla="*/ 1039839 h 2286441"/>
              <a:gd name="connsiteX46" fmla="*/ 3479984 w 3892734"/>
              <a:gd name="connsiteY46" fmla="*/ 1124086 h 2286441"/>
              <a:gd name="connsiteX47" fmla="*/ 3340284 w 3892734"/>
              <a:gd name="connsiteY47" fmla="*/ 1155700 h 2286441"/>
              <a:gd name="connsiteX48" fmla="*/ 3219634 w 3892734"/>
              <a:gd name="connsiteY48" fmla="*/ 1181100 h 2286441"/>
              <a:gd name="connsiteX49" fmla="*/ 3135496 w 3892734"/>
              <a:gd name="connsiteY49" fmla="*/ 1299916 h 2286441"/>
              <a:gd name="connsiteX50" fmla="*/ 2991034 w 3892734"/>
              <a:gd name="connsiteY50" fmla="*/ 1601049 h 2286441"/>
              <a:gd name="connsiteX51" fmla="*/ 2846571 w 3892734"/>
              <a:gd name="connsiteY51" fmla="*/ 1861399 h 2286441"/>
              <a:gd name="connsiteX52" fmla="*/ 2667184 w 3892734"/>
              <a:gd name="connsiteY52" fmla="*/ 2145316 h 2286441"/>
              <a:gd name="connsiteX53" fmla="*/ 2587809 w 3892734"/>
              <a:gd name="connsiteY53" fmla="*/ 2206268 h 2286441"/>
              <a:gd name="connsiteX54" fmla="*/ 2484621 w 3892734"/>
              <a:gd name="connsiteY54" fmla="*/ 2281349 h 2286441"/>
              <a:gd name="connsiteX55" fmla="*/ 2248084 w 3892734"/>
              <a:gd name="connsiteY55" fmla="*/ 2286441 h 2286441"/>
              <a:gd name="connsiteX56" fmla="*/ 2036946 w 3892734"/>
              <a:gd name="connsiteY56" fmla="*/ 2106231 h 2286441"/>
              <a:gd name="connsiteX57" fmla="*/ 1908359 w 3892734"/>
              <a:gd name="connsiteY57" fmla="*/ 1872537 h 2286441"/>
              <a:gd name="connsiteX58" fmla="*/ 1832158 w 3892734"/>
              <a:gd name="connsiteY58" fmla="*/ 1747371 h 2286441"/>
              <a:gd name="connsiteX59" fmla="*/ 1719447 w 3892734"/>
              <a:gd name="connsiteY59" fmla="*/ 1606380 h 2286441"/>
              <a:gd name="connsiteX60" fmla="*/ 1578160 w 3892734"/>
              <a:gd name="connsiteY60" fmla="*/ 1426137 h 2286441"/>
              <a:gd name="connsiteX61" fmla="*/ 1433697 w 3892734"/>
              <a:gd name="connsiteY61" fmla="*/ 1317171 h 2286441"/>
              <a:gd name="connsiteX62" fmla="*/ 1101909 w 3892734"/>
              <a:gd name="connsiteY62" fmla="*/ 1573782 h 2286441"/>
              <a:gd name="connsiteX63" fmla="*/ 895535 w 3892734"/>
              <a:gd name="connsiteY63" fmla="*/ 1609913 h 2286441"/>
              <a:gd name="connsiteX64" fmla="*/ 781234 w 3892734"/>
              <a:gd name="connsiteY64" fmla="*/ 1591782 h 2286441"/>
              <a:gd name="connsiteX65" fmla="*/ 538346 w 3892734"/>
              <a:gd name="connsiteY65" fmla="*/ 1642309 h 2286441"/>
              <a:gd name="connsiteX66" fmla="*/ 397059 w 3892734"/>
              <a:gd name="connsiteY66" fmla="*/ 1620170 h 2286441"/>
              <a:gd name="connsiteX67" fmla="*/ 12884 w 3892734"/>
              <a:gd name="connsiteY67" fmla="*/ 1221921 h 2286441"/>
              <a:gd name="connsiteX68" fmla="*/ 184 w 3892734"/>
              <a:gd name="connsiteY68" fmla="*/ 0 h 2286441"/>
              <a:gd name="connsiteX0" fmla="*/ 184 w 3892734"/>
              <a:gd name="connsiteY0" fmla="*/ 0 h 2286441"/>
              <a:gd name="connsiteX1" fmla="*/ 266884 w 3892734"/>
              <a:gd name="connsiteY1" fmla="*/ 1162050 h 2286441"/>
              <a:gd name="connsiteX2" fmla="*/ 317684 w 3892734"/>
              <a:gd name="connsiteY2" fmla="*/ 1308100 h 2286441"/>
              <a:gd name="connsiteX3" fmla="*/ 376422 w 3892734"/>
              <a:gd name="connsiteY3" fmla="*/ 1353535 h 2286441"/>
              <a:gd name="connsiteX4" fmla="*/ 412934 w 3892734"/>
              <a:gd name="connsiteY4" fmla="*/ 1314450 h 2286441"/>
              <a:gd name="connsiteX5" fmla="*/ 514534 w 3892734"/>
              <a:gd name="connsiteY5" fmla="*/ 996950 h 2286441"/>
              <a:gd name="connsiteX6" fmla="*/ 584384 w 3892734"/>
              <a:gd name="connsiteY6" fmla="*/ 641350 h 2286441"/>
              <a:gd name="connsiteX7" fmla="*/ 641534 w 3892734"/>
              <a:gd name="connsiteY7" fmla="*/ 444500 h 2286441"/>
              <a:gd name="connsiteX8" fmla="*/ 692334 w 3892734"/>
              <a:gd name="connsiteY8" fmla="*/ 330200 h 2286441"/>
              <a:gd name="connsiteX9" fmla="*/ 724084 w 3892734"/>
              <a:gd name="connsiteY9" fmla="*/ 279400 h 2286441"/>
              <a:gd name="connsiteX10" fmla="*/ 806634 w 3892734"/>
              <a:gd name="connsiteY10" fmla="*/ 298450 h 2286441"/>
              <a:gd name="connsiteX11" fmla="*/ 927284 w 3892734"/>
              <a:gd name="connsiteY11" fmla="*/ 495300 h 2286441"/>
              <a:gd name="connsiteX12" fmla="*/ 978084 w 3892734"/>
              <a:gd name="connsiteY12" fmla="*/ 622300 h 2286441"/>
              <a:gd name="connsiteX13" fmla="*/ 1060634 w 3892734"/>
              <a:gd name="connsiteY13" fmla="*/ 666750 h 2286441"/>
              <a:gd name="connsiteX14" fmla="*/ 1136834 w 3892734"/>
              <a:gd name="connsiteY14" fmla="*/ 622300 h 2286441"/>
              <a:gd name="connsiteX15" fmla="*/ 1225734 w 3892734"/>
              <a:gd name="connsiteY15" fmla="*/ 495300 h 2286441"/>
              <a:gd name="connsiteX16" fmla="*/ 1289234 w 3892734"/>
              <a:gd name="connsiteY16" fmla="*/ 355600 h 2286441"/>
              <a:gd name="connsiteX17" fmla="*/ 1352734 w 3892734"/>
              <a:gd name="connsiteY17" fmla="*/ 292100 h 2286441"/>
              <a:gd name="connsiteX18" fmla="*/ 1397184 w 3892734"/>
              <a:gd name="connsiteY18" fmla="*/ 254000 h 2286441"/>
              <a:gd name="connsiteX19" fmla="*/ 1486084 w 3892734"/>
              <a:gd name="connsiteY19" fmla="*/ 285750 h 2286441"/>
              <a:gd name="connsiteX20" fmla="*/ 1581334 w 3892734"/>
              <a:gd name="connsiteY20" fmla="*/ 438150 h 2286441"/>
              <a:gd name="connsiteX21" fmla="*/ 1670234 w 3892734"/>
              <a:gd name="connsiteY21" fmla="*/ 654050 h 2286441"/>
              <a:gd name="connsiteX22" fmla="*/ 1905184 w 3892734"/>
              <a:gd name="connsiteY22" fmla="*/ 1066800 h 2286441"/>
              <a:gd name="connsiteX23" fmla="*/ 2006784 w 3892734"/>
              <a:gd name="connsiteY23" fmla="*/ 1212850 h 2286441"/>
              <a:gd name="connsiteX24" fmla="*/ 2082984 w 3892734"/>
              <a:gd name="connsiteY24" fmla="*/ 1295400 h 2286441"/>
              <a:gd name="connsiteX25" fmla="*/ 2190934 w 3892734"/>
              <a:gd name="connsiteY25" fmla="*/ 1263650 h 2286441"/>
              <a:gd name="connsiteX26" fmla="*/ 2235384 w 3892734"/>
              <a:gd name="connsiteY26" fmla="*/ 1168400 h 2286441"/>
              <a:gd name="connsiteX27" fmla="*/ 2292534 w 3892734"/>
              <a:gd name="connsiteY27" fmla="*/ 1016000 h 2286441"/>
              <a:gd name="connsiteX28" fmla="*/ 2368734 w 3892734"/>
              <a:gd name="connsiteY28" fmla="*/ 876300 h 2286441"/>
              <a:gd name="connsiteX29" fmla="*/ 2425884 w 3892734"/>
              <a:gd name="connsiteY29" fmla="*/ 787400 h 2286441"/>
              <a:gd name="connsiteX30" fmla="*/ 2476684 w 3892734"/>
              <a:gd name="connsiteY30" fmla="*/ 749300 h 2286441"/>
              <a:gd name="connsiteX31" fmla="*/ 2546534 w 3892734"/>
              <a:gd name="connsiteY31" fmla="*/ 736600 h 2286441"/>
              <a:gd name="connsiteX32" fmla="*/ 2654484 w 3892734"/>
              <a:gd name="connsiteY32" fmla="*/ 781050 h 2286441"/>
              <a:gd name="connsiteX33" fmla="*/ 2756084 w 3892734"/>
              <a:gd name="connsiteY33" fmla="*/ 838200 h 2286441"/>
              <a:gd name="connsiteX34" fmla="*/ 2851334 w 3892734"/>
              <a:gd name="connsiteY34" fmla="*/ 901700 h 2286441"/>
              <a:gd name="connsiteX35" fmla="*/ 2997384 w 3892734"/>
              <a:gd name="connsiteY35" fmla="*/ 920750 h 2286441"/>
              <a:gd name="connsiteX36" fmla="*/ 3175184 w 3892734"/>
              <a:gd name="connsiteY36" fmla="*/ 895350 h 2286441"/>
              <a:gd name="connsiteX37" fmla="*/ 3295834 w 3892734"/>
              <a:gd name="connsiteY37" fmla="*/ 774700 h 2286441"/>
              <a:gd name="connsiteX38" fmla="*/ 3391084 w 3892734"/>
              <a:gd name="connsiteY38" fmla="*/ 628650 h 2286441"/>
              <a:gd name="connsiteX39" fmla="*/ 3486334 w 3892734"/>
              <a:gd name="connsiteY39" fmla="*/ 495300 h 2286441"/>
              <a:gd name="connsiteX40" fmla="*/ 3594284 w 3892734"/>
              <a:gd name="connsiteY40" fmla="*/ 412750 h 2286441"/>
              <a:gd name="connsiteX41" fmla="*/ 3714934 w 3892734"/>
              <a:gd name="connsiteY41" fmla="*/ 406400 h 2286441"/>
              <a:gd name="connsiteX42" fmla="*/ 3892734 w 3892734"/>
              <a:gd name="connsiteY42" fmla="*/ 412750 h 2286441"/>
              <a:gd name="connsiteX43" fmla="*/ 3892734 w 3892734"/>
              <a:gd name="connsiteY43" fmla="*/ 755650 h 2286441"/>
              <a:gd name="connsiteX44" fmla="*/ 3708584 w 3892734"/>
              <a:gd name="connsiteY44" fmla="*/ 958850 h 2286441"/>
              <a:gd name="connsiteX45" fmla="*/ 3611747 w 3892734"/>
              <a:gd name="connsiteY45" fmla="*/ 1039839 h 2286441"/>
              <a:gd name="connsiteX46" fmla="*/ 3479984 w 3892734"/>
              <a:gd name="connsiteY46" fmla="*/ 1124086 h 2286441"/>
              <a:gd name="connsiteX47" fmla="*/ 3340284 w 3892734"/>
              <a:gd name="connsiteY47" fmla="*/ 1155700 h 2286441"/>
              <a:gd name="connsiteX48" fmla="*/ 3219634 w 3892734"/>
              <a:gd name="connsiteY48" fmla="*/ 1181100 h 2286441"/>
              <a:gd name="connsiteX49" fmla="*/ 3135496 w 3892734"/>
              <a:gd name="connsiteY49" fmla="*/ 1299916 h 2286441"/>
              <a:gd name="connsiteX50" fmla="*/ 2991034 w 3892734"/>
              <a:gd name="connsiteY50" fmla="*/ 1601049 h 2286441"/>
              <a:gd name="connsiteX51" fmla="*/ 2846571 w 3892734"/>
              <a:gd name="connsiteY51" fmla="*/ 1861399 h 2286441"/>
              <a:gd name="connsiteX52" fmla="*/ 2667184 w 3892734"/>
              <a:gd name="connsiteY52" fmla="*/ 2145316 h 2286441"/>
              <a:gd name="connsiteX53" fmla="*/ 2587809 w 3892734"/>
              <a:gd name="connsiteY53" fmla="*/ 2206268 h 2286441"/>
              <a:gd name="connsiteX54" fmla="*/ 2484621 w 3892734"/>
              <a:gd name="connsiteY54" fmla="*/ 2281349 h 2286441"/>
              <a:gd name="connsiteX55" fmla="*/ 2248084 w 3892734"/>
              <a:gd name="connsiteY55" fmla="*/ 2286441 h 2286441"/>
              <a:gd name="connsiteX56" fmla="*/ 2036946 w 3892734"/>
              <a:gd name="connsiteY56" fmla="*/ 2106231 h 2286441"/>
              <a:gd name="connsiteX57" fmla="*/ 1908359 w 3892734"/>
              <a:gd name="connsiteY57" fmla="*/ 1872537 h 2286441"/>
              <a:gd name="connsiteX58" fmla="*/ 1832158 w 3892734"/>
              <a:gd name="connsiteY58" fmla="*/ 1747371 h 2286441"/>
              <a:gd name="connsiteX59" fmla="*/ 1719447 w 3892734"/>
              <a:gd name="connsiteY59" fmla="*/ 1606380 h 2286441"/>
              <a:gd name="connsiteX60" fmla="*/ 1578160 w 3892734"/>
              <a:gd name="connsiteY60" fmla="*/ 1426137 h 2286441"/>
              <a:gd name="connsiteX61" fmla="*/ 1433697 w 3892734"/>
              <a:gd name="connsiteY61" fmla="*/ 1317171 h 2286441"/>
              <a:gd name="connsiteX62" fmla="*/ 1101909 w 3892734"/>
              <a:gd name="connsiteY62" fmla="*/ 1573782 h 2286441"/>
              <a:gd name="connsiteX63" fmla="*/ 895535 w 3892734"/>
              <a:gd name="connsiteY63" fmla="*/ 1609913 h 2286441"/>
              <a:gd name="connsiteX64" fmla="*/ 781234 w 3892734"/>
              <a:gd name="connsiteY64" fmla="*/ 1591782 h 2286441"/>
              <a:gd name="connsiteX65" fmla="*/ 538346 w 3892734"/>
              <a:gd name="connsiteY65" fmla="*/ 1642309 h 2286441"/>
              <a:gd name="connsiteX66" fmla="*/ 397059 w 3892734"/>
              <a:gd name="connsiteY66" fmla="*/ 1620170 h 2286441"/>
              <a:gd name="connsiteX67" fmla="*/ 12884 w 3892734"/>
              <a:gd name="connsiteY67" fmla="*/ 1221921 h 2286441"/>
              <a:gd name="connsiteX68" fmla="*/ 184 w 3892734"/>
              <a:gd name="connsiteY68" fmla="*/ 0 h 2286441"/>
              <a:gd name="connsiteX0" fmla="*/ 184 w 3892734"/>
              <a:gd name="connsiteY0" fmla="*/ 0 h 2286441"/>
              <a:gd name="connsiteX1" fmla="*/ 266884 w 3892734"/>
              <a:gd name="connsiteY1" fmla="*/ 1162050 h 2286441"/>
              <a:gd name="connsiteX2" fmla="*/ 322447 w 3892734"/>
              <a:gd name="connsiteY2" fmla="*/ 1258421 h 2286441"/>
              <a:gd name="connsiteX3" fmla="*/ 376422 w 3892734"/>
              <a:gd name="connsiteY3" fmla="*/ 1353535 h 2286441"/>
              <a:gd name="connsiteX4" fmla="*/ 412934 w 3892734"/>
              <a:gd name="connsiteY4" fmla="*/ 1314450 h 2286441"/>
              <a:gd name="connsiteX5" fmla="*/ 514534 w 3892734"/>
              <a:gd name="connsiteY5" fmla="*/ 996950 h 2286441"/>
              <a:gd name="connsiteX6" fmla="*/ 584384 w 3892734"/>
              <a:gd name="connsiteY6" fmla="*/ 641350 h 2286441"/>
              <a:gd name="connsiteX7" fmla="*/ 641534 w 3892734"/>
              <a:gd name="connsiteY7" fmla="*/ 444500 h 2286441"/>
              <a:gd name="connsiteX8" fmla="*/ 692334 w 3892734"/>
              <a:gd name="connsiteY8" fmla="*/ 330200 h 2286441"/>
              <a:gd name="connsiteX9" fmla="*/ 724084 w 3892734"/>
              <a:gd name="connsiteY9" fmla="*/ 279400 h 2286441"/>
              <a:gd name="connsiteX10" fmla="*/ 806634 w 3892734"/>
              <a:gd name="connsiteY10" fmla="*/ 298450 h 2286441"/>
              <a:gd name="connsiteX11" fmla="*/ 927284 w 3892734"/>
              <a:gd name="connsiteY11" fmla="*/ 495300 h 2286441"/>
              <a:gd name="connsiteX12" fmla="*/ 978084 w 3892734"/>
              <a:gd name="connsiteY12" fmla="*/ 622300 h 2286441"/>
              <a:gd name="connsiteX13" fmla="*/ 1060634 w 3892734"/>
              <a:gd name="connsiteY13" fmla="*/ 666750 h 2286441"/>
              <a:gd name="connsiteX14" fmla="*/ 1136834 w 3892734"/>
              <a:gd name="connsiteY14" fmla="*/ 622300 h 2286441"/>
              <a:gd name="connsiteX15" fmla="*/ 1225734 w 3892734"/>
              <a:gd name="connsiteY15" fmla="*/ 495300 h 2286441"/>
              <a:gd name="connsiteX16" fmla="*/ 1289234 w 3892734"/>
              <a:gd name="connsiteY16" fmla="*/ 355600 h 2286441"/>
              <a:gd name="connsiteX17" fmla="*/ 1352734 w 3892734"/>
              <a:gd name="connsiteY17" fmla="*/ 292100 h 2286441"/>
              <a:gd name="connsiteX18" fmla="*/ 1397184 w 3892734"/>
              <a:gd name="connsiteY18" fmla="*/ 254000 h 2286441"/>
              <a:gd name="connsiteX19" fmla="*/ 1486084 w 3892734"/>
              <a:gd name="connsiteY19" fmla="*/ 285750 h 2286441"/>
              <a:gd name="connsiteX20" fmla="*/ 1581334 w 3892734"/>
              <a:gd name="connsiteY20" fmla="*/ 438150 h 2286441"/>
              <a:gd name="connsiteX21" fmla="*/ 1670234 w 3892734"/>
              <a:gd name="connsiteY21" fmla="*/ 654050 h 2286441"/>
              <a:gd name="connsiteX22" fmla="*/ 1905184 w 3892734"/>
              <a:gd name="connsiteY22" fmla="*/ 1066800 h 2286441"/>
              <a:gd name="connsiteX23" fmla="*/ 2006784 w 3892734"/>
              <a:gd name="connsiteY23" fmla="*/ 1212850 h 2286441"/>
              <a:gd name="connsiteX24" fmla="*/ 2082984 w 3892734"/>
              <a:gd name="connsiteY24" fmla="*/ 1295400 h 2286441"/>
              <a:gd name="connsiteX25" fmla="*/ 2190934 w 3892734"/>
              <a:gd name="connsiteY25" fmla="*/ 1263650 h 2286441"/>
              <a:gd name="connsiteX26" fmla="*/ 2235384 w 3892734"/>
              <a:gd name="connsiteY26" fmla="*/ 1168400 h 2286441"/>
              <a:gd name="connsiteX27" fmla="*/ 2292534 w 3892734"/>
              <a:gd name="connsiteY27" fmla="*/ 1016000 h 2286441"/>
              <a:gd name="connsiteX28" fmla="*/ 2368734 w 3892734"/>
              <a:gd name="connsiteY28" fmla="*/ 876300 h 2286441"/>
              <a:gd name="connsiteX29" fmla="*/ 2425884 w 3892734"/>
              <a:gd name="connsiteY29" fmla="*/ 787400 h 2286441"/>
              <a:gd name="connsiteX30" fmla="*/ 2476684 w 3892734"/>
              <a:gd name="connsiteY30" fmla="*/ 749300 h 2286441"/>
              <a:gd name="connsiteX31" fmla="*/ 2546534 w 3892734"/>
              <a:gd name="connsiteY31" fmla="*/ 736600 h 2286441"/>
              <a:gd name="connsiteX32" fmla="*/ 2654484 w 3892734"/>
              <a:gd name="connsiteY32" fmla="*/ 781050 h 2286441"/>
              <a:gd name="connsiteX33" fmla="*/ 2756084 w 3892734"/>
              <a:gd name="connsiteY33" fmla="*/ 838200 h 2286441"/>
              <a:gd name="connsiteX34" fmla="*/ 2851334 w 3892734"/>
              <a:gd name="connsiteY34" fmla="*/ 901700 h 2286441"/>
              <a:gd name="connsiteX35" fmla="*/ 2997384 w 3892734"/>
              <a:gd name="connsiteY35" fmla="*/ 920750 h 2286441"/>
              <a:gd name="connsiteX36" fmla="*/ 3175184 w 3892734"/>
              <a:gd name="connsiteY36" fmla="*/ 895350 h 2286441"/>
              <a:gd name="connsiteX37" fmla="*/ 3295834 w 3892734"/>
              <a:gd name="connsiteY37" fmla="*/ 774700 h 2286441"/>
              <a:gd name="connsiteX38" fmla="*/ 3391084 w 3892734"/>
              <a:gd name="connsiteY38" fmla="*/ 628650 h 2286441"/>
              <a:gd name="connsiteX39" fmla="*/ 3486334 w 3892734"/>
              <a:gd name="connsiteY39" fmla="*/ 495300 h 2286441"/>
              <a:gd name="connsiteX40" fmla="*/ 3594284 w 3892734"/>
              <a:gd name="connsiteY40" fmla="*/ 412750 h 2286441"/>
              <a:gd name="connsiteX41" fmla="*/ 3714934 w 3892734"/>
              <a:gd name="connsiteY41" fmla="*/ 406400 h 2286441"/>
              <a:gd name="connsiteX42" fmla="*/ 3892734 w 3892734"/>
              <a:gd name="connsiteY42" fmla="*/ 412750 h 2286441"/>
              <a:gd name="connsiteX43" fmla="*/ 3892734 w 3892734"/>
              <a:gd name="connsiteY43" fmla="*/ 755650 h 2286441"/>
              <a:gd name="connsiteX44" fmla="*/ 3708584 w 3892734"/>
              <a:gd name="connsiteY44" fmla="*/ 958850 h 2286441"/>
              <a:gd name="connsiteX45" fmla="*/ 3611747 w 3892734"/>
              <a:gd name="connsiteY45" fmla="*/ 1039839 h 2286441"/>
              <a:gd name="connsiteX46" fmla="*/ 3479984 w 3892734"/>
              <a:gd name="connsiteY46" fmla="*/ 1124086 h 2286441"/>
              <a:gd name="connsiteX47" fmla="*/ 3340284 w 3892734"/>
              <a:gd name="connsiteY47" fmla="*/ 1155700 h 2286441"/>
              <a:gd name="connsiteX48" fmla="*/ 3219634 w 3892734"/>
              <a:gd name="connsiteY48" fmla="*/ 1181100 h 2286441"/>
              <a:gd name="connsiteX49" fmla="*/ 3135496 w 3892734"/>
              <a:gd name="connsiteY49" fmla="*/ 1299916 h 2286441"/>
              <a:gd name="connsiteX50" fmla="*/ 2991034 w 3892734"/>
              <a:gd name="connsiteY50" fmla="*/ 1601049 h 2286441"/>
              <a:gd name="connsiteX51" fmla="*/ 2846571 w 3892734"/>
              <a:gd name="connsiteY51" fmla="*/ 1861399 h 2286441"/>
              <a:gd name="connsiteX52" fmla="*/ 2667184 w 3892734"/>
              <a:gd name="connsiteY52" fmla="*/ 2145316 h 2286441"/>
              <a:gd name="connsiteX53" fmla="*/ 2587809 w 3892734"/>
              <a:gd name="connsiteY53" fmla="*/ 2206268 h 2286441"/>
              <a:gd name="connsiteX54" fmla="*/ 2484621 w 3892734"/>
              <a:gd name="connsiteY54" fmla="*/ 2281349 h 2286441"/>
              <a:gd name="connsiteX55" fmla="*/ 2248084 w 3892734"/>
              <a:gd name="connsiteY55" fmla="*/ 2286441 h 2286441"/>
              <a:gd name="connsiteX56" fmla="*/ 2036946 w 3892734"/>
              <a:gd name="connsiteY56" fmla="*/ 2106231 h 2286441"/>
              <a:gd name="connsiteX57" fmla="*/ 1908359 w 3892734"/>
              <a:gd name="connsiteY57" fmla="*/ 1872537 h 2286441"/>
              <a:gd name="connsiteX58" fmla="*/ 1832158 w 3892734"/>
              <a:gd name="connsiteY58" fmla="*/ 1747371 h 2286441"/>
              <a:gd name="connsiteX59" fmla="*/ 1719447 w 3892734"/>
              <a:gd name="connsiteY59" fmla="*/ 1606380 h 2286441"/>
              <a:gd name="connsiteX60" fmla="*/ 1578160 w 3892734"/>
              <a:gd name="connsiteY60" fmla="*/ 1426137 h 2286441"/>
              <a:gd name="connsiteX61" fmla="*/ 1433697 w 3892734"/>
              <a:gd name="connsiteY61" fmla="*/ 1317171 h 2286441"/>
              <a:gd name="connsiteX62" fmla="*/ 1101909 w 3892734"/>
              <a:gd name="connsiteY62" fmla="*/ 1573782 h 2286441"/>
              <a:gd name="connsiteX63" fmla="*/ 895535 w 3892734"/>
              <a:gd name="connsiteY63" fmla="*/ 1609913 h 2286441"/>
              <a:gd name="connsiteX64" fmla="*/ 781234 w 3892734"/>
              <a:gd name="connsiteY64" fmla="*/ 1591782 h 2286441"/>
              <a:gd name="connsiteX65" fmla="*/ 538346 w 3892734"/>
              <a:gd name="connsiteY65" fmla="*/ 1642309 h 2286441"/>
              <a:gd name="connsiteX66" fmla="*/ 397059 w 3892734"/>
              <a:gd name="connsiteY66" fmla="*/ 1620170 h 2286441"/>
              <a:gd name="connsiteX67" fmla="*/ 12884 w 3892734"/>
              <a:gd name="connsiteY67" fmla="*/ 1221921 h 2286441"/>
              <a:gd name="connsiteX68" fmla="*/ 184 w 3892734"/>
              <a:gd name="connsiteY68" fmla="*/ 0 h 2286441"/>
              <a:gd name="connsiteX0" fmla="*/ 184 w 3892734"/>
              <a:gd name="connsiteY0" fmla="*/ 0 h 2286441"/>
              <a:gd name="connsiteX1" fmla="*/ 266884 w 3892734"/>
              <a:gd name="connsiteY1" fmla="*/ 1162050 h 2286441"/>
              <a:gd name="connsiteX2" fmla="*/ 322447 w 3892734"/>
              <a:gd name="connsiteY2" fmla="*/ 1258421 h 2286441"/>
              <a:gd name="connsiteX3" fmla="*/ 376422 w 3892734"/>
              <a:gd name="connsiteY3" fmla="*/ 1353535 h 2286441"/>
              <a:gd name="connsiteX4" fmla="*/ 412934 w 3892734"/>
              <a:gd name="connsiteY4" fmla="*/ 1314450 h 2286441"/>
              <a:gd name="connsiteX5" fmla="*/ 514534 w 3892734"/>
              <a:gd name="connsiteY5" fmla="*/ 996950 h 2286441"/>
              <a:gd name="connsiteX6" fmla="*/ 584384 w 3892734"/>
              <a:gd name="connsiteY6" fmla="*/ 641350 h 2286441"/>
              <a:gd name="connsiteX7" fmla="*/ 641534 w 3892734"/>
              <a:gd name="connsiteY7" fmla="*/ 444500 h 2286441"/>
              <a:gd name="connsiteX8" fmla="*/ 692334 w 3892734"/>
              <a:gd name="connsiteY8" fmla="*/ 330200 h 2286441"/>
              <a:gd name="connsiteX9" fmla="*/ 724084 w 3892734"/>
              <a:gd name="connsiteY9" fmla="*/ 279400 h 2286441"/>
              <a:gd name="connsiteX10" fmla="*/ 806634 w 3892734"/>
              <a:gd name="connsiteY10" fmla="*/ 334581 h 2286441"/>
              <a:gd name="connsiteX11" fmla="*/ 927284 w 3892734"/>
              <a:gd name="connsiteY11" fmla="*/ 495300 h 2286441"/>
              <a:gd name="connsiteX12" fmla="*/ 978084 w 3892734"/>
              <a:gd name="connsiteY12" fmla="*/ 622300 h 2286441"/>
              <a:gd name="connsiteX13" fmla="*/ 1060634 w 3892734"/>
              <a:gd name="connsiteY13" fmla="*/ 666750 h 2286441"/>
              <a:gd name="connsiteX14" fmla="*/ 1136834 w 3892734"/>
              <a:gd name="connsiteY14" fmla="*/ 622300 h 2286441"/>
              <a:gd name="connsiteX15" fmla="*/ 1225734 w 3892734"/>
              <a:gd name="connsiteY15" fmla="*/ 495300 h 2286441"/>
              <a:gd name="connsiteX16" fmla="*/ 1289234 w 3892734"/>
              <a:gd name="connsiteY16" fmla="*/ 355600 h 2286441"/>
              <a:gd name="connsiteX17" fmla="*/ 1352734 w 3892734"/>
              <a:gd name="connsiteY17" fmla="*/ 292100 h 2286441"/>
              <a:gd name="connsiteX18" fmla="*/ 1397184 w 3892734"/>
              <a:gd name="connsiteY18" fmla="*/ 254000 h 2286441"/>
              <a:gd name="connsiteX19" fmla="*/ 1486084 w 3892734"/>
              <a:gd name="connsiteY19" fmla="*/ 285750 h 2286441"/>
              <a:gd name="connsiteX20" fmla="*/ 1581334 w 3892734"/>
              <a:gd name="connsiteY20" fmla="*/ 438150 h 2286441"/>
              <a:gd name="connsiteX21" fmla="*/ 1670234 w 3892734"/>
              <a:gd name="connsiteY21" fmla="*/ 654050 h 2286441"/>
              <a:gd name="connsiteX22" fmla="*/ 1905184 w 3892734"/>
              <a:gd name="connsiteY22" fmla="*/ 1066800 h 2286441"/>
              <a:gd name="connsiteX23" fmla="*/ 2006784 w 3892734"/>
              <a:gd name="connsiteY23" fmla="*/ 1212850 h 2286441"/>
              <a:gd name="connsiteX24" fmla="*/ 2082984 w 3892734"/>
              <a:gd name="connsiteY24" fmla="*/ 1295400 h 2286441"/>
              <a:gd name="connsiteX25" fmla="*/ 2190934 w 3892734"/>
              <a:gd name="connsiteY25" fmla="*/ 1263650 h 2286441"/>
              <a:gd name="connsiteX26" fmla="*/ 2235384 w 3892734"/>
              <a:gd name="connsiteY26" fmla="*/ 1168400 h 2286441"/>
              <a:gd name="connsiteX27" fmla="*/ 2292534 w 3892734"/>
              <a:gd name="connsiteY27" fmla="*/ 1016000 h 2286441"/>
              <a:gd name="connsiteX28" fmla="*/ 2368734 w 3892734"/>
              <a:gd name="connsiteY28" fmla="*/ 876300 h 2286441"/>
              <a:gd name="connsiteX29" fmla="*/ 2425884 w 3892734"/>
              <a:gd name="connsiteY29" fmla="*/ 787400 h 2286441"/>
              <a:gd name="connsiteX30" fmla="*/ 2476684 w 3892734"/>
              <a:gd name="connsiteY30" fmla="*/ 749300 h 2286441"/>
              <a:gd name="connsiteX31" fmla="*/ 2546534 w 3892734"/>
              <a:gd name="connsiteY31" fmla="*/ 736600 h 2286441"/>
              <a:gd name="connsiteX32" fmla="*/ 2654484 w 3892734"/>
              <a:gd name="connsiteY32" fmla="*/ 781050 h 2286441"/>
              <a:gd name="connsiteX33" fmla="*/ 2756084 w 3892734"/>
              <a:gd name="connsiteY33" fmla="*/ 838200 h 2286441"/>
              <a:gd name="connsiteX34" fmla="*/ 2851334 w 3892734"/>
              <a:gd name="connsiteY34" fmla="*/ 901700 h 2286441"/>
              <a:gd name="connsiteX35" fmla="*/ 2997384 w 3892734"/>
              <a:gd name="connsiteY35" fmla="*/ 920750 h 2286441"/>
              <a:gd name="connsiteX36" fmla="*/ 3175184 w 3892734"/>
              <a:gd name="connsiteY36" fmla="*/ 895350 h 2286441"/>
              <a:gd name="connsiteX37" fmla="*/ 3295834 w 3892734"/>
              <a:gd name="connsiteY37" fmla="*/ 774700 h 2286441"/>
              <a:gd name="connsiteX38" fmla="*/ 3391084 w 3892734"/>
              <a:gd name="connsiteY38" fmla="*/ 628650 h 2286441"/>
              <a:gd name="connsiteX39" fmla="*/ 3486334 w 3892734"/>
              <a:gd name="connsiteY39" fmla="*/ 495300 h 2286441"/>
              <a:gd name="connsiteX40" fmla="*/ 3594284 w 3892734"/>
              <a:gd name="connsiteY40" fmla="*/ 412750 h 2286441"/>
              <a:gd name="connsiteX41" fmla="*/ 3714934 w 3892734"/>
              <a:gd name="connsiteY41" fmla="*/ 406400 h 2286441"/>
              <a:gd name="connsiteX42" fmla="*/ 3892734 w 3892734"/>
              <a:gd name="connsiteY42" fmla="*/ 412750 h 2286441"/>
              <a:gd name="connsiteX43" fmla="*/ 3892734 w 3892734"/>
              <a:gd name="connsiteY43" fmla="*/ 755650 h 2286441"/>
              <a:gd name="connsiteX44" fmla="*/ 3708584 w 3892734"/>
              <a:gd name="connsiteY44" fmla="*/ 958850 h 2286441"/>
              <a:gd name="connsiteX45" fmla="*/ 3611747 w 3892734"/>
              <a:gd name="connsiteY45" fmla="*/ 1039839 h 2286441"/>
              <a:gd name="connsiteX46" fmla="*/ 3479984 w 3892734"/>
              <a:gd name="connsiteY46" fmla="*/ 1124086 h 2286441"/>
              <a:gd name="connsiteX47" fmla="*/ 3340284 w 3892734"/>
              <a:gd name="connsiteY47" fmla="*/ 1155700 h 2286441"/>
              <a:gd name="connsiteX48" fmla="*/ 3219634 w 3892734"/>
              <a:gd name="connsiteY48" fmla="*/ 1181100 h 2286441"/>
              <a:gd name="connsiteX49" fmla="*/ 3135496 w 3892734"/>
              <a:gd name="connsiteY49" fmla="*/ 1299916 h 2286441"/>
              <a:gd name="connsiteX50" fmla="*/ 2991034 w 3892734"/>
              <a:gd name="connsiteY50" fmla="*/ 1601049 h 2286441"/>
              <a:gd name="connsiteX51" fmla="*/ 2846571 w 3892734"/>
              <a:gd name="connsiteY51" fmla="*/ 1861399 h 2286441"/>
              <a:gd name="connsiteX52" fmla="*/ 2667184 w 3892734"/>
              <a:gd name="connsiteY52" fmla="*/ 2145316 h 2286441"/>
              <a:gd name="connsiteX53" fmla="*/ 2587809 w 3892734"/>
              <a:gd name="connsiteY53" fmla="*/ 2206268 h 2286441"/>
              <a:gd name="connsiteX54" fmla="*/ 2484621 w 3892734"/>
              <a:gd name="connsiteY54" fmla="*/ 2281349 h 2286441"/>
              <a:gd name="connsiteX55" fmla="*/ 2248084 w 3892734"/>
              <a:gd name="connsiteY55" fmla="*/ 2286441 h 2286441"/>
              <a:gd name="connsiteX56" fmla="*/ 2036946 w 3892734"/>
              <a:gd name="connsiteY56" fmla="*/ 2106231 h 2286441"/>
              <a:gd name="connsiteX57" fmla="*/ 1908359 w 3892734"/>
              <a:gd name="connsiteY57" fmla="*/ 1872537 h 2286441"/>
              <a:gd name="connsiteX58" fmla="*/ 1832158 w 3892734"/>
              <a:gd name="connsiteY58" fmla="*/ 1747371 h 2286441"/>
              <a:gd name="connsiteX59" fmla="*/ 1719447 w 3892734"/>
              <a:gd name="connsiteY59" fmla="*/ 1606380 h 2286441"/>
              <a:gd name="connsiteX60" fmla="*/ 1578160 w 3892734"/>
              <a:gd name="connsiteY60" fmla="*/ 1426137 h 2286441"/>
              <a:gd name="connsiteX61" fmla="*/ 1433697 w 3892734"/>
              <a:gd name="connsiteY61" fmla="*/ 1317171 h 2286441"/>
              <a:gd name="connsiteX62" fmla="*/ 1101909 w 3892734"/>
              <a:gd name="connsiteY62" fmla="*/ 1573782 h 2286441"/>
              <a:gd name="connsiteX63" fmla="*/ 895535 w 3892734"/>
              <a:gd name="connsiteY63" fmla="*/ 1609913 h 2286441"/>
              <a:gd name="connsiteX64" fmla="*/ 781234 w 3892734"/>
              <a:gd name="connsiteY64" fmla="*/ 1591782 h 2286441"/>
              <a:gd name="connsiteX65" fmla="*/ 538346 w 3892734"/>
              <a:gd name="connsiteY65" fmla="*/ 1642309 h 2286441"/>
              <a:gd name="connsiteX66" fmla="*/ 397059 w 3892734"/>
              <a:gd name="connsiteY66" fmla="*/ 1620170 h 2286441"/>
              <a:gd name="connsiteX67" fmla="*/ 12884 w 3892734"/>
              <a:gd name="connsiteY67" fmla="*/ 1221921 h 2286441"/>
              <a:gd name="connsiteX68" fmla="*/ 184 w 3892734"/>
              <a:gd name="connsiteY68" fmla="*/ 0 h 2286441"/>
              <a:gd name="connsiteX0" fmla="*/ 184 w 3892734"/>
              <a:gd name="connsiteY0" fmla="*/ 0 h 2286441"/>
              <a:gd name="connsiteX1" fmla="*/ 266884 w 3892734"/>
              <a:gd name="connsiteY1" fmla="*/ 1162050 h 2286441"/>
              <a:gd name="connsiteX2" fmla="*/ 322447 w 3892734"/>
              <a:gd name="connsiteY2" fmla="*/ 1258421 h 2286441"/>
              <a:gd name="connsiteX3" fmla="*/ 376422 w 3892734"/>
              <a:gd name="connsiteY3" fmla="*/ 1353535 h 2286441"/>
              <a:gd name="connsiteX4" fmla="*/ 412934 w 3892734"/>
              <a:gd name="connsiteY4" fmla="*/ 1314450 h 2286441"/>
              <a:gd name="connsiteX5" fmla="*/ 514534 w 3892734"/>
              <a:gd name="connsiteY5" fmla="*/ 996950 h 2286441"/>
              <a:gd name="connsiteX6" fmla="*/ 584384 w 3892734"/>
              <a:gd name="connsiteY6" fmla="*/ 641350 h 2286441"/>
              <a:gd name="connsiteX7" fmla="*/ 641534 w 3892734"/>
              <a:gd name="connsiteY7" fmla="*/ 444500 h 2286441"/>
              <a:gd name="connsiteX8" fmla="*/ 692334 w 3892734"/>
              <a:gd name="connsiteY8" fmla="*/ 330200 h 2286441"/>
              <a:gd name="connsiteX9" fmla="*/ 724084 w 3892734"/>
              <a:gd name="connsiteY9" fmla="*/ 279400 h 2286441"/>
              <a:gd name="connsiteX10" fmla="*/ 806634 w 3892734"/>
              <a:gd name="connsiteY10" fmla="*/ 334581 h 2286441"/>
              <a:gd name="connsiteX11" fmla="*/ 927284 w 3892734"/>
              <a:gd name="connsiteY11" fmla="*/ 495300 h 2286441"/>
              <a:gd name="connsiteX12" fmla="*/ 978084 w 3892734"/>
              <a:gd name="connsiteY12" fmla="*/ 622300 h 2286441"/>
              <a:gd name="connsiteX13" fmla="*/ 1060634 w 3892734"/>
              <a:gd name="connsiteY13" fmla="*/ 666750 h 2286441"/>
              <a:gd name="connsiteX14" fmla="*/ 1136834 w 3892734"/>
              <a:gd name="connsiteY14" fmla="*/ 622300 h 2286441"/>
              <a:gd name="connsiteX15" fmla="*/ 1225734 w 3892734"/>
              <a:gd name="connsiteY15" fmla="*/ 495300 h 2286441"/>
              <a:gd name="connsiteX16" fmla="*/ 1313046 w 3892734"/>
              <a:gd name="connsiteY16" fmla="*/ 369148 h 2286441"/>
              <a:gd name="connsiteX17" fmla="*/ 1352734 w 3892734"/>
              <a:gd name="connsiteY17" fmla="*/ 292100 h 2286441"/>
              <a:gd name="connsiteX18" fmla="*/ 1397184 w 3892734"/>
              <a:gd name="connsiteY18" fmla="*/ 254000 h 2286441"/>
              <a:gd name="connsiteX19" fmla="*/ 1486084 w 3892734"/>
              <a:gd name="connsiteY19" fmla="*/ 285750 h 2286441"/>
              <a:gd name="connsiteX20" fmla="*/ 1581334 w 3892734"/>
              <a:gd name="connsiteY20" fmla="*/ 438150 h 2286441"/>
              <a:gd name="connsiteX21" fmla="*/ 1670234 w 3892734"/>
              <a:gd name="connsiteY21" fmla="*/ 654050 h 2286441"/>
              <a:gd name="connsiteX22" fmla="*/ 1905184 w 3892734"/>
              <a:gd name="connsiteY22" fmla="*/ 1066800 h 2286441"/>
              <a:gd name="connsiteX23" fmla="*/ 2006784 w 3892734"/>
              <a:gd name="connsiteY23" fmla="*/ 1212850 h 2286441"/>
              <a:gd name="connsiteX24" fmla="*/ 2082984 w 3892734"/>
              <a:gd name="connsiteY24" fmla="*/ 1295400 h 2286441"/>
              <a:gd name="connsiteX25" fmla="*/ 2190934 w 3892734"/>
              <a:gd name="connsiteY25" fmla="*/ 1263650 h 2286441"/>
              <a:gd name="connsiteX26" fmla="*/ 2235384 w 3892734"/>
              <a:gd name="connsiteY26" fmla="*/ 1168400 h 2286441"/>
              <a:gd name="connsiteX27" fmla="*/ 2292534 w 3892734"/>
              <a:gd name="connsiteY27" fmla="*/ 1016000 h 2286441"/>
              <a:gd name="connsiteX28" fmla="*/ 2368734 w 3892734"/>
              <a:gd name="connsiteY28" fmla="*/ 876300 h 2286441"/>
              <a:gd name="connsiteX29" fmla="*/ 2425884 w 3892734"/>
              <a:gd name="connsiteY29" fmla="*/ 787400 h 2286441"/>
              <a:gd name="connsiteX30" fmla="*/ 2476684 w 3892734"/>
              <a:gd name="connsiteY30" fmla="*/ 749300 h 2286441"/>
              <a:gd name="connsiteX31" fmla="*/ 2546534 w 3892734"/>
              <a:gd name="connsiteY31" fmla="*/ 736600 h 2286441"/>
              <a:gd name="connsiteX32" fmla="*/ 2654484 w 3892734"/>
              <a:gd name="connsiteY32" fmla="*/ 781050 h 2286441"/>
              <a:gd name="connsiteX33" fmla="*/ 2756084 w 3892734"/>
              <a:gd name="connsiteY33" fmla="*/ 838200 h 2286441"/>
              <a:gd name="connsiteX34" fmla="*/ 2851334 w 3892734"/>
              <a:gd name="connsiteY34" fmla="*/ 901700 h 2286441"/>
              <a:gd name="connsiteX35" fmla="*/ 2997384 w 3892734"/>
              <a:gd name="connsiteY35" fmla="*/ 920750 h 2286441"/>
              <a:gd name="connsiteX36" fmla="*/ 3175184 w 3892734"/>
              <a:gd name="connsiteY36" fmla="*/ 895350 h 2286441"/>
              <a:gd name="connsiteX37" fmla="*/ 3295834 w 3892734"/>
              <a:gd name="connsiteY37" fmla="*/ 774700 h 2286441"/>
              <a:gd name="connsiteX38" fmla="*/ 3391084 w 3892734"/>
              <a:gd name="connsiteY38" fmla="*/ 628650 h 2286441"/>
              <a:gd name="connsiteX39" fmla="*/ 3486334 w 3892734"/>
              <a:gd name="connsiteY39" fmla="*/ 495300 h 2286441"/>
              <a:gd name="connsiteX40" fmla="*/ 3594284 w 3892734"/>
              <a:gd name="connsiteY40" fmla="*/ 412750 h 2286441"/>
              <a:gd name="connsiteX41" fmla="*/ 3714934 w 3892734"/>
              <a:gd name="connsiteY41" fmla="*/ 406400 h 2286441"/>
              <a:gd name="connsiteX42" fmla="*/ 3892734 w 3892734"/>
              <a:gd name="connsiteY42" fmla="*/ 412750 h 2286441"/>
              <a:gd name="connsiteX43" fmla="*/ 3892734 w 3892734"/>
              <a:gd name="connsiteY43" fmla="*/ 755650 h 2286441"/>
              <a:gd name="connsiteX44" fmla="*/ 3708584 w 3892734"/>
              <a:gd name="connsiteY44" fmla="*/ 958850 h 2286441"/>
              <a:gd name="connsiteX45" fmla="*/ 3611747 w 3892734"/>
              <a:gd name="connsiteY45" fmla="*/ 1039839 h 2286441"/>
              <a:gd name="connsiteX46" fmla="*/ 3479984 w 3892734"/>
              <a:gd name="connsiteY46" fmla="*/ 1124086 h 2286441"/>
              <a:gd name="connsiteX47" fmla="*/ 3340284 w 3892734"/>
              <a:gd name="connsiteY47" fmla="*/ 1155700 h 2286441"/>
              <a:gd name="connsiteX48" fmla="*/ 3219634 w 3892734"/>
              <a:gd name="connsiteY48" fmla="*/ 1181100 h 2286441"/>
              <a:gd name="connsiteX49" fmla="*/ 3135496 w 3892734"/>
              <a:gd name="connsiteY49" fmla="*/ 1299916 h 2286441"/>
              <a:gd name="connsiteX50" fmla="*/ 2991034 w 3892734"/>
              <a:gd name="connsiteY50" fmla="*/ 1601049 h 2286441"/>
              <a:gd name="connsiteX51" fmla="*/ 2846571 w 3892734"/>
              <a:gd name="connsiteY51" fmla="*/ 1861399 h 2286441"/>
              <a:gd name="connsiteX52" fmla="*/ 2667184 w 3892734"/>
              <a:gd name="connsiteY52" fmla="*/ 2145316 h 2286441"/>
              <a:gd name="connsiteX53" fmla="*/ 2587809 w 3892734"/>
              <a:gd name="connsiteY53" fmla="*/ 2206268 h 2286441"/>
              <a:gd name="connsiteX54" fmla="*/ 2484621 w 3892734"/>
              <a:gd name="connsiteY54" fmla="*/ 2281349 h 2286441"/>
              <a:gd name="connsiteX55" fmla="*/ 2248084 w 3892734"/>
              <a:gd name="connsiteY55" fmla="*/ 2286441 h 2286441"/>
              <a:gd name="connsiteX56" fmla="*/ 2036946 w 3892734"/>
              <a:gd name="connsiteY56" fmla="*/ 2106231 h 2286441"/>
              <a:gd name="connsiteX57" fmla="*/ 1908359 w 3892734"/>
              <a:gd name="connsiteY57" fmla="*/ 1872537 h 2286441"/>
              <a:gd name="connsiteX58" fmla="*/ 1832158 w 3892734"/>
              <a:gd name="connsiteY58" fmla="*/ 1747371 h 2286441"/>
              <a:gd name="connsiteX59" fmla="*/ 1719447 w 3892734"/>
              <a:gd name="connsiteY59" fmla="*/ 1606380 h 2286441"/>
              <a:gd name="connsiteX60" fmla="*/ 1578160 w 3892734"/>
              <a:gd name="connsiteY60" fmla="*/ 1426137 h 2286441"/>
              <a:gd name="connsiteX61" fmla="*/ 1433697 w 3892734"/>
              <a:gd name="connsiteY61" fmla="*/ 1317171 h 2286441"/>
              <a:gd name="connsiteX62" fmla="*/ 1101909 w 3892734"/>
              <a:gd name="connsiteY62" fmla="*/ 1573782 h 2286441"/>
              <a:gd name="connsiteX63" fmla="*/ 895535 w 3892734"/>
              <a:gd name="connsiteY63" fmla="*/ 1609913 h 2286441"/>
              <a:gd name="connsiteX64" fmla="*/ 781234 w 3892734"/>
              <a:gd name="connsiteY64" fmla="*/ 1591782 h 2286441"/>
              <a:gd name="connsiteX65" fmla="*/ 538346 w 3892734"/>
              <a:gd name="connsiteY65" fmla="*/ 1642309 h 2286441"/>
              <a:gd name="connsiteX66" fmla="*/ 397059 w 3892734"/>
              <a:gd name="connsiteY66" fmla="*/ 1620170 h 2286441"/>
              <a:gd name="connsiteX67" fmla="*/ 12884 w 3892734"/>
              <a:gd name="connsiteY67" fmla="*/ 1221921 h 2286441"/>
              <a:gd name="connsiteX68" fmla="*/ 184 w 3892734"/>
              <a:gd name="connsiteY68" fmla="*/ 0 h 2286441"/>
              <a:gd name="connsiteX0" fmla="*/ 184 w 3892734"/>
              <a:gd name="connsiteY0" fmla="*/ 0 h 2286441"/>
              <a:gd name="connsiteX1" fmla="*/ 266884 w 3892734"/>
              <a:gd name="connsiteY1" fmla="*/ 1162050 h 2286441"/>
              <a:gd name="connsiteX2" fmla="*/ 322447 w 3892734"/>
              <a:gd name="connsiteY2" fmla="*/ 1258421 h 2286441"/>
              <a:gd name="connsiteX3" fmla="*/ 376422 w 3892734"/>
              <a:gd name="connsiteY3" fmla="*/ 1353535 h 2286441"/>
              <a:gd name="connsiteX4" fmla="*/ 412934 w 3892734"/>
              <a:gd name="connsiteY4" fmla="*/ 1314450 h 2286441"/>
              <a:gd name="connsiteX5" fmla="*/ 514534 w 3892734"/>
              <a:gd name="connsiteY5" fmla="*/ 996950 h 2286441"/>
              <a:gd name="connsiteX6" fmla="*/ 584384 w 3892734"/>
              <a:gd name="connsiteY6" fmla="*/ 641350 h 2286441"/>
              <a:gd name="connsiteX7" fmla="*/ 641534 w 3892734"/>
              <a:gd name="connsiteY7" fmla="*/ 444500 h 2286441"/>
              <a:gd name="connsiteX8" fmla="*/ 692334 w 3892734"/>
              <a:gd name="connsiteY8" fmla="*/ 330200 h 2286441"/>
              <a:gd name="connsiteX9" fmla="*/ 724084 w 3892734"/>
              <a:gd name="connsiteY9" fmla="*/ 279400 h 2286441"/>
              <a:gd name="connsiteX10" fmla="*/ 806634 w 3892734"/>
              <a:gd name="connsiteY10" fmla="*/ 334581 h 2286441"/>
              <a:gd name="connsiteX11" fmla="*/ 912996 w 3892734"/>
              <a:gd name="connsiteY11" fmla="*/ 612723 h 2286441"/>
              <a:gd name="connsiteX12" fmla="*/ 978084 w 3892734"/>
              <a:gd name="connsiteY12" fmla="*/ 622300 h 2286441"/>
              <a:gd name="connsiteX13" fmla="*/ 1060634 w 3892734"/>
              <a:gd name="connsiteY13" fmla="*/ 666750 h 2286441"/>
              <a:gd name="connsiteX14" fmla="*/ 1136834 w 3892734"/>
              <a:gd name="connsiteY14" fmla="*/ 622300 h 2286441"/>
              <a:gd name="connsiteX15" fmla="*/ 1225734 w 3892734"/>
              <a:gd name="connsiteY15" fmla="*/ 495300 h 2286441"/>
              <a:gd name="connsiteX16" fmla="*/ 1313046 w 3892734"/>
              <a:gd name="connsiteY16" fmla="*/ 369148 h 2286441"/>
              <a:gd name="connsiteX17" fmla="*/ 1352734 w 3892734"/>
              <a:gd name="connsiteY17" fmla="*/ 292100 h 2286441"/>
              <a:gd name="connsiteX18" fmla="*/ 1397184 w 3892734"/>
              <a:gd name="connsiteY18" fmla="*/ 254000 h 2286441"/>
              <a:gd name="connsiteX19" fmla="*/ 1486084 w 3892734"/>
              <a:gd name="connsiteY19" fmla="*/ 285750 h 2286441"/>
              <a:gd name="connsiteX20" fmla="*/ 1581334 w 3892734"/>
              <a:gd name="connsiteY20" fmla="*/ 438150 h 2286441"/>
              <a:gd name="connsiteX21" fmla="*/ 1670234 w 3892734"/>
              <a:gd name="connsiteY21" fmla="*/ 654050 h 2286441"/>
              <a:gd name="connsiteX22" fmla="*/ 1905184 w 3892734"/>
              <a:gd name="connsiteY22" fmla="*/ 1066800 h 2286441"/>
              <a:gd name="connsiteX23" fmla="*/ 2006784 w 3892734"/>
              <a:gd name="connsiteY23" fmla="*/ 1212850 h 2286441"/>
              <a:gd name="connsiteX24" fmla="*/ 2082984 w 3892734"/>
              <a:gd name="connsiteY24" fmla="*/ 1295400 h 2286441"/>
              <a:gd name="connsiteX25" fmla="*/ 2190934 w 3892734"/>
              <a:gd name="connsiteY25" fmla="*/ 1263650 h 2286441"/>
              <a:gd name="connsiteX26" fmla="*/ 2235384 w 3892734"/>
              <a:gd name="connsiteY26" fmla="*/ 1168400 h 2286441"/>
              <a:gd name="connsiteX27" fmla="*/ 2292534 w 3892734"/>
              <a:gd name="connsiteY27" fmla="*/ 1016000 h 2286441"/>
              <a:gd name="connsiteX28" fmla="*/ 2368734 w 3892734"/>
              <a:gd name="connsiteY28" fmla="*/ 876300 h 2286441"/>
              <a:gd name="connsiteX29" fmla="*/ 2425884 w 3892734"/>
              <a:gd name="connsiteY29" fmla="*/ 787400 h 2286441"/>
              <a:gd name="connsiteX30" fmla="*/ 2476684 w 3892734"/>
              <a:gd name="connsiteY30" fmla="*/ 749300 h 2286441"/>
              <a:gd name="connsiteX31" fmla="*/ 2546534 w 3892734"/>
              <a:gd name="connsiteY31" fmla="*/ 736600 h 2286441"/>
              <a:gd name="connsiteX32" fmla="*/ 2654484 w 3892734"/>
              <a:gd name="connsiteY32" fmla="*/ 781050 h 2286441"/>
              <a:gd name="connsiteX33" fmla="*/ 2756084 w 3892734"/>
              <a:gd name="connsiteY33" fmla="*/ 838200 h 2286441"/>
              <a:gd name="connsiteX34" fmla="*/ 2851334 w 3892734"/>
              <a:gd name="connsiteY34" fmla="*/ 901700 h 2286441"/>
              <a:gd name="connsiteX35" fmla="*/ 2997384 w 3892734"/>
              <a:gd name="connsiteY35" fmla="*/ 920750 h 2286441"/>
              <a:gd name="connsiteX36" fmla="*/ 3175184 w 3892734"/>
              <a:gd name="connsiteY36" fmla="*/ 895350 h 2286441"/>
              <a:gd name="connsiteX37" fmla="*/ 3295834 w 3892734"/>
              <a:gd name="connsiteY37" fmla="*/ 774700 h 2286441"/>
              <a:gd name="connsiteX38" fmla="*/ 3391084 w 3892734"/>
              <a:gd name="connsiteY38" fmla="*/ 628650 h 2286441"/>
              <a:gd name="connsiteX39" fmla="*/ 3486334 w 3892734"/>
              <a:gd name="connsiteY39" fmla="*/ 495300 h 2286441"/>
              <a:gd name="connsiteX40" fmla="*/ 3594284 w 3892734"/>
              <a:gd name="connsiteY40" fmla="*/ 412750 h 2286441"/>
              <a:gd name="connsiteX41" fmla="*/ 3714934 w 3892734"/>
              <a:gd name="connsiteY41" fmla="*/ 406400 h 2286441"/>
              <a:gd name="connsiteX42" fmla="*/ 3892734 w 3892734"/>
              <a:gd name="connsiteY42" fmla="*/ 412750 h 2286441"/>
              <a:gd name="connsiteX43" fmla="*/ 3892734 w 3892734"/>
              <a:gd name="connsiteY43" fmla="*/ 755650 h 2286441"/>
              <a:gd name="connsiteX44" fmla="*/ 3708584 w 3892734"/>
              <a:gd name="connsiteY44" fmla="*/ 958850 h 2286441"/>
              <a:gd name="connsiteX45" fmla="*/ 3611747 w 3892734"/>
              <a:gd name="connsiteY45" fmla="*/ 1039839 h 2286441"/>
              <a:gd name="connsiteX46" fmla="*/ 3479984 w 3892734"/>
              <a:gd name="connsiteY46" fmla="*/ 1124086 h 2286441"/>
              <a:gd name="connsiteX47" fmla="*/ 3340284 w 3892734"/>
              <a:gd name="connsiteY47" fmla="*/ 1155700 h 2286441"/>
              <a:gd name="connsiteX48" fmla="*/ 3219634 w 3892734"/>
              <a:gd name="connsiteY48" fmla="*/ 1181100 h 2286441"/>
              <a:gd name="connsiteX49" fmla="*/ 3135496 w 3892734"/>
              <a:gd name="connsiteY49" fmla="*/ 1299916 h 2286441"/>
              <a:gd name="connsiteX50" fmla="*/ 2991034 w 3892734"/>
              <a:gd name="connsiteY50" fmla="*/ 1601049 h 2286441"/>
              <a:gd name="connsiteX51" fmla="*/ 2846571 w 3892734"/>
              <a:gd name="connsiteY51" fmla="*/ 1861399 h 2286441"/>
              <a:gd name="connsiteX52" fmla="*/ 2667184 w 3892734"/>
              <a:gd name="connsiteY52" fmla="*/ 2145316 h 2286441"/>
              <a:gd name="connsiteX53" fmla="*/ 2587809 w 3892734"/>
              <a:gd name="connsiteY53" fmla="*/ 2206268 h 2286441"/>
              <a:gd name="connsiteX54" fmla="*/ 2484621 w 3892734"/>
              <a:gd name="connsiteY54" fmla="*/ 2281349 h 2286441"/>
              <a:gd name="connsiteX55" fmla="*/ 2248084 w 3892734"/>
              <a:gd name="connsiteY55" fmla="*/ 2286441 h 2286441"/>
              <a:gd name="connsiteX56" fmla="*/ 2036946 w 3892734"/>
              <a:gd name="connsiteY56" fmla="*/ 2106231 h 2286441"/>
              <a:gd name="connsiteX57" fmla="*/ 1908359 w 3892734"/>
              <a:gd name="connsiteY57" fmla="*/ 1872537 h 2286441"/>
              <a:gd name="connsiteX58" fmla="*/ 1832158 w 3892734"/>
              <a:gd name="connsiteY58" fmla="*/ 1747371 h 2286441"/>
              <a:gd name="connsiteX59" fmla="*/ 1719447 w 3892734"/>
              <a:gd name="connsiteY59" fmla="*/ 1606380 h 2286441"/>
              <a:gd name="connsiteX60" fmla="*/ 1578160 w 3892734"/>
              <a:gd name="connsiteY60" fmla="*/ 1426137 h 2286441"/>
              <a:gd name="connsiteX61" fmla="*/ 1433697 w 3892734"/>
              <a:gd name="connsiteY61" fmla="*/ 1317171 h 2286441"/>
              <a:gd name="connsiteX62" fmla="*/ 1101909 w 3892734"/>
              <a:gd name="connsiteY62" fmla="*/ 1573782 h 2286441"/>
              <a:gd name="connsiteX63" fmla="*/ 895535 w 3892734"/>
              <a:gd name="connsiteY63" fmla="*/ 1609913 h 2286441"/>
              <a:gd name="connsiteX64" fmla="*/ 781234 w 3892734"/>
              <a:gd name="connsiteY64" fmla="*/ 1591782 h 2286441"/>
              <a:gd name="connsiteX65" fmla="*/ 538346 w 3892734"/>
              <a:gd name="connsiteY65" fmla="*/ 1642309 h 2286441"/>
              <a:gd name="connsiteX66" fmla="*/ 397059 w 3892734"/>
              <a:gd name="connsiteY66" fmla="*/ 1620170 h 2286441"/>
              <a:gd name="connsiteX67" fmla="*/ 12884 w 3892734"/>
              <a:gd name="connsiteY67" fmla="*/ 1221921 h 2286441"/>
              <a:gd name="connsiteX68" fmla="*/ 184 w 3892734"/>
              <a:gd name="connsiteY68" fmla="*/ 0 h 2286441"/>
              <a:gd name="connsiteX0" fmla="*/ 184 w 3892734"/>
              <a:gd name="connsiteY0" fmla="*/ 0 h 2286441"/>
              <a:gd name="connsiteX1" fmla="*/ 266884 w 3892734"/>
              <a:gd name="connsiteY1" fmla="*/ 1162050 h 2286441"/>
              <a:gd name="connsiteX2" fmla="*/ 322447 w 3892734"/>
              <a:gd name="connsiteY2" fmla="*/ 1258421 h 2286441"/>
              <a:gd name="connsiteX3" fmla="*/ 376422 w 3892734"/>
              <a:gd name="connsiteY3" fmla="*/ 1353535 h 2286441"/>
              <a:gd name="connsiteX4" fmla="*/ 412934 w 3892734"/>
              <a:gd name="connsiteY4" fmla="*/ 1314450 h 2286441"/>
              <a:gd name="connsiteX5" fmla="*/ 514534 w 3892734"/>
              <a:gd name="connsiteY5" fmla="*/ 996950 h 2286441"/>
              <a:gd name="connsiteX6" fmla="*/ 584384 w 3892734"/>
              <a:gd name="connsiteY6" fmla="*/ 641350 h 2286441"/>
              <a:gd name="connsiteX7" fmla="*/ 641534 w 3892734"/>
              <a:gd name="connsiteY7" fmla="*/ 444500 h 2286441"/>
              <a:gd name="connsiteX8" fmla="*/ 692334 w 3892734"/>
              <a:gd name="connsiteY8" fmla="*/ 330200 h 2286441"/>
              <a:gd name="connsiteX9" fmla="*/ 724084 w 3892734"/>
              <a:gd name="connsiteY9" fmla="*/ 279400 h 2286441"/>
              <a:gd name="connsiteX10" fmla="*/ 806634 w 3892734"/>
              <a:gd name="connsiteY10" fmla="*/ 334581 h 2286441"/>
              <a:gd name="connsiteX11" fmla="*/ 941571 w 3892734"/>
              <a:gd name="connsiteY11" fmla="*/ 603691 h 2286441"/>
              <a:gd name="connsiteX12" fmla="*/ 978084 w 3892734"/>
              <a:gd name="connsiteY12" fmla="*/ 622300 h 2286441"/>
              <a:gd name="connsiteX13" fmla="*/ 1060634 w 3892734"/>
              <a:gd name="connsiteY13" fmla="*/ 666750 h 2286441"/>
              <a:gd name="connsiteX14" fmla="*/ 1136834 w 3892734"/>
              <a:gd name="connsiteY14" fmla="*/ 622300 h 2286441"/>
              <a:gd name="connsiteX15" fmla="*/ 1225734 w 3892734"/>
              <a:gd name="connsiteY15" fmla="*/ 495300 h 2286441"/>
              <a:gd name="connsiteX16" fmla="*/ 1313046 w 3892734"/>
              <a:gd name="connsiteY16" fmla="*/ 369148 h 2286441"/>
              <a:gd name="connsiteX17" fmla="*/ 1352734 w 3892734"/>
              <a:gd name="connsiteY17" fmla="*/ 292100 h 2286441"/>
              <a:gd name="connsiteX18" fmla="*/ 1397184 w 3892734"/>
              <a:gd name="connsiteY18" fmla="*/ 254000 h 2286441"/>
              <a:gd name="connsiteX19" fmla="*/ 1486084 w 3892734"/>
              <a:gd name="connsiteY19" fmla="*/ 285750 h 2286441"/>
              <a:gd name="connsiteX20" fmla="*/ 1581334 w 3892734"/>
              <a:gd name="connsiteY20" fmla="*/ 438150 h 2286441"/>
              <a:gd name="connsiteX21" fmla="*/ 1670234 w 3892734"/>
              <a:gd name="connsiteY21" fmla="*/ 654050 h 2286441"/>
              <a:gd name="connsiteX22" fmla="*/ 1905184 w 3892734"/>
              <a:gd name="connsiteY22" fmla="*/ 1066800 h 2286441"/>
              <a:gd name="connsiteX23" fmla="*/ 2006784 w 3892734"/>
              <a:gd name="connsiteY23" fmla="*/ 1212850 h 2286441"/>
              <a:gd name="connsiteX24" fmla="*/ 2082984 w 3892734"/>
              <a:gd name="connsiteY24" fmla="*/ 1295400 h 2286441"/>
              <a:gd name="connsiteX25" fmla="*/ 2190934 w 3892734"/>
              <a:gd name="connsiteY25" fmla="*/ 1263650 h 2286441"/>
              <a:gd name="connsiteX26" fmla="*/ 2235384 w 3892734"/>
              <a:gd name="connsiteY26" fmla="*/ 1168400 h 2286441"/>
              <a:gd name="connsiteX27" fmla="*/ 2292534 w 3892734"/>
              <a:gd name="connsiteY27" fmla="*/ 1016000 h 2286441"/>
              <a:gd name="connsiteX28" fmla="*/ 2368734 w 3892734"/>
              <a:gd name="connsiteY28" fmla="*/ 876300 h 2286441"/>
              <a:gd name="connsiteX29" fmla="*/ 2425884 w 3892734"/>
              <a:gd name="connsiteY29" fmla="*/ 787400 h 2286441"/>
              <a:gd name="connsiteX30" fmla="*/ 2476684 w 3892734"/>
              <a:gd name="connsiteY30" fmla="*/ 749300 h 2286441"/>
              <a:gd name="connsiteX31" fmla="*/ 2546534 w 3892734"/>
              <a:gd name="connsiteY31" fmla="*/ 736600 h 2286441"/>
              <a:gd name="connsiteX32" fmla="*/ 2654484 w 3892734"/>
              <a:gd name="connsiteY32" fmla="*/ 781050 h 2286441"/>
              <a:gd name="connsiteX33" fmla="*/ 2756084 w 3892734"/>
              <a:gd name="connsiteY33" fmla="*/ 838200 h 2286441"/>
              <a:gd name="connsiteX34" fmla="*/ 2851334 w 3892734"/>
              <a:gd name="connsiteY34" fmla="*/ 901700 h 2286441"/>
              <a:gd name="connsiteX35" fmla="*/ 2997384 w 3892734"/>
              <a:gd name="connsiteY35" fmla="*/ 920750 h 2286441"/>
              <a:gd name="connsiteX36" fmla="*/ 3175184 w 3892734"/>
              <a:gd name="connsiteY36" fmla="*/ 895350 h 2286441"/>
              <a:gd name="connsiteX37" fmla="*/ 3295834 w 3892734"/>
              <a:gd name="connsiteY37" fmla="*/ 774700 h 2286441"/>
              <a:gd name="connsiteX38" fmla="*/ 3391084 w 3892734"/>
              <a:gd name="connsiteY38" fmla="*/ 628650 h 2286441"/>
              <a:gd name="connsiteX39" fmla="*/ 3486334 w 3892734"/>
              <a:gd name="connsiteY39" fmla="*/ 495300 h 2286441"/>
              <a:gd name="connsiteX40" fmla="*/ 3594284 w 3892734"/>
              <a:gd name="connsiteY40" fmla="*/ 412750 h 2286441"/>
              <a:gd name="connsiteX41" fmla="*/ 3714934 w 3892734"/>
              <a:gd name="connsiteY41" fmla="*/ 406400 h 2286441"/>
              <a:gd name="connsiteX42" fmla="*/ 3892734 w 3892734"/>
              <a:gd name="connsiteY42" fmla="*/ 412750 h 2286441"/>
              <a:gd name="connsiteX43" fmla="*/ 3892734 w 3892734"/>
              <a:gd name="connsiteY43" fmla="*/ 755650 h 2286441"/>
              <a:gd name="connsiteX44" fmla="*/ 3708584 w 3892734"/>
              <a:gd name="connsiteY44" fmla="*/ 958850 h 2286441"/>
              <a:gd name="connsiteX45" fmla="*/ 3611747 w 3892734"/>
              <a:gd name="connsiteY45" fmla="*/ 1039839 h 2286441"/>
              <a:gd name="connsiteX46" fmla="*/ 3479984 w 3892734"/>
              <a:gd name="connsiteY46" fmla="*/ 1124086 h 2286441"/>
              <a:gd name="connsiteX47" fmla="*/ 3340284 w 3892734"/>
              <a:gd name="connsiteY47" fmla="*/ 1155700 h 2286441"/>
              <a:gd name="connsiteX48" fmla="*/ 3219634 w 3892734"/>
              <a:gd name="connsiteY48" fmla="*/ 1181100 h 2286441"/>
              <a:gd name="connsiteX49" fmla="*/ 3135496 w 3892734"/>
              <a:gd name="connsiteY49" fmla="*/ 1299916 h 2286441"/>
              <a:gd name="connsiteX50" fmla="*/ 2991034 w 3892734"/>
              <a:gd name="connsiteY50" fmla="*/ 1601049 h 2286441"/>
              <a:gd name="connsiteX51" fmla="*/ 2846571 w 3892734"/>
              <a:gd name="connsiteY51" fmla="*/ 1861399 h 2286441"/>
              <a:gd name="connsiteX52" fmla="*/ 2667184 w 3892734"/>
              <a:gd name="connsiteY52" fmla="*/ 2145316 h 2286441"/>
              <a:gd name="connsiteX53" fmla="*/ 2587809 w 3892734"/>
              <a:gd name="connsiteY53" fmla="*/ 2206268 h 2286441"/>
              <a:gd name="connsiteX54" fmla="*/ 2484621 w 3892734"/>
              <a:gd name="connsiteY54" fmla="*/ 2281349 h 2286441"/>
              <a:gd name="connsiteX55" fmla="*/ 2248084 w 3892734"/>
              <a:gd name="connsiteY55" fmla="*/ 2286441 h 2286441"/>
              <a:gd name="connsiteX56" fmla="*/ 2036946 w 3892734"/>
              <a:gd name="connsiteY56" fmla="*/ 2106231 h 2286441"/>
              <a:gd name="connsiteX57" fmla="*/ 1908359 w 3892734"/>
              <a:gd name="connsiteY57" fmla="*/ 1872537 h 2286441"/>
              <a:gd name="connsiteX58" fmla="*/ 1832158 w 3892734"/>
              <a:gd name="connsiteY58" fmla="*/ 1747371 h 2286441"/>
              <a:gd name="connsiteX59" fmla="*/ 1719447 w 3892734"/>
              <a:gd name="connsiteY59" fmla="*/ 1606380 h 2286441"/>
              <a:gd name="connsiteX60" fmla="*/ 1578160 w 3892734"/>
              <a:gd name="connsiteY60" fmla="*/ 1426137 h 2286441"/>
              <a:gd name="connsiteX61" fmla="*/ 1433697 w 3892734"/>
              <a:gd name="connsiteY61" fmla="*/ 1317171 h 2286441"/>
              <a:gd name="connsiteX62" fmla="*/ 1101909 w 3892734"/>
              <a:gd name="connsiteY62" fmla="*/ 1573782 h 2286441"/>
              <a:gd name="connsiteX63" fmla="*/ 895535 w 3892734"/>
              <a:gd name="connsiteY63" fmla="*/ 1609913 h 2286441"/>
              <a:gd name="connsiteX64" fmla="*/ 781234 w 3892734"/>
              <a:gd name="connsiteY64" fmla="*/ 1591782 h 2286441"/>
              <a:gd name="connsiteX65" fmla="*/ 538346 w 3892734"/>
              <a:gd name="connsiteY65" fmla="*/ 1642309 h 2286441"/>
              <a:gd name="connsiteX66" fmla="*/ 397059 w 3892734"/>
              <a:gd name="connsiteY66" fmla="*/ 1620170 h 2286441"/>
              <a:gd name="connsiteX67" fmla="*/ 12884 w 3892734"/>
              <a:gd name="connsiteY67" fmla="*/ 1221921 h 2286441"/>
              <a:gd name="connsiteX68" fmla="*/ 184 w 3892734"/>
              <a:gd name="connsiteY68" fmla="*/ 0 h 2286441"/>
              <a:gd name="connsiteX0" fmla="*/ 184 w 3892734"/>
              <a:gd name="connsiteY0" fmla="*/ 0 h 2286441"/>
              <a:gd name="connsiteX1" fmla="*/ 266884 w 3892734"/>
              <a:gd name="connsiteY1" fmla="*/ 1162050 h 2286441"/>
              <a:gd name="connsiteX2" fmla="*/ 322447 w 3892734"/>
              <a:gd name="connsiteY2" fmla="*/ 1258421 h 2286441"/>
              <a:gd name="connsiteX3" fmla="*/ 376422 w 3892734"/>
              <a:gd name="connsiteY3" fmla="*/ 1353535 h 2286441"/>
              <a:gd name="connsiteX4" fmla="*/ 412934 w 3892734"/>
              <a:gd name="connsiteY4" fmla="*/ 1314450 h 2286441"/>
              <a:gd name="connsiteX5" fmla="*/ 514534 w 3892734"/>
              <a:gd name="connsiteY5" fmla="*/ 996950 h 2286441"/>
              <a:gd name="connsiteX6" fmla="*/ 584384 w 3892734"/>
              <a:gd name="connsiteY6" fmla="*/ 641350 h 2286441"/>
              <a:gd name="connsiteX7" fmla="*/ 641534 w 3892734"/>
              <a:gd name="connsiteY7" fmla="*/ 444500 h 2286441"/>
              <a:gd name="connsiteX8" fmla="*/ 692334 w 3892734"/>
              <a:gd name="connsiteY8" fmla="*/ 330200 h 2286441"/>
              <a:gd name="connsiteX9" fmla="*/ 724084 w 3892734"/>
              <a:gd name="connsiteY9" fmla="*/ 279400 h 2286441"/>
              <a:gd name="connsiteX10" fmla="*/ 806634 w 3892734"/>
              <a:gd name="connsiteY10" fmla="*/ 334581 h 2286441"/>
              <a:gd name="connsiteX11" fmla="*/ 941571 w 3892734"/>
              <a:gd name="connsiteY11" fmla="*/ 603691 h 2286441"/>
              <a:gd name="connsiteX12" fmla="*/ 978084 w 3892734"/>
              <a:gd name="connsiteY12" fmla="*/ 622300 h 2286441"/>
              <a:gd name="connsiteX13" fmla="*/ 1093971 w 3892734"/>
              <a:gd name="connsiteY13" fmla="*/ 833852 h 2286441"/>
              <a:gd name="connsiteX14" fmla="*/ 1136834 w 3892734"/>
              <a:gd name="connsiteY14" fmla="*/ 622300 h 2286441"/>
              <a:gd name="connsiteX15" fmla="*/ 1225734 w 3892734"/>
              <a:gd name="connsiteY15" fmla="*/ 495300 h 2286441"/>
              <a:gd name="connsiteX16" fmla="*/ 1313046 w 3892734"/>
              <a:gd name="connsiteY16" fmla="*/ 369148 h 2286441"/>
              <a:gd name="connsiteX17" fmla="*/ 1352734 w 3892734"/>
              <a:gd name="connsiteY17" fmla="*/ 292100 h 2286441"/>
              <a:gd name="connsiteX18" fmla="*/ 1397184 w 3892734"/>
              <a:gd name="connsiteY18" fmla="*/ 254000 h 2286441"/>
              <a:gd name="connsiteX19" fmla="*/ 1486084 w 3892734"/>
              <a:gd name="connsiteY19" fmla="*/ 285750 h 2286441"/>
              <a:gd name="connsiteX20" fmla="*/ 1581334 w 3892734"/>
              <a:gd name="connsiteY20" fmla="*/ 438150 h 2286441"/>
              <a:gd name="connsiteX21" fmla="*/ 1670234 w 3892734"/>
              <a:gd name="connsiteY21" fmla="*/ 654050 h 2286441"/>
              <a:gd name="connsiteX22" fmla="*/ 1905184 w 3892734"/>
              <a:gd name="connsiteY22" fmla="*/ 1066800 h 2286441"/>
              <a:gd name="connsiteX23" fmla="*/ 2006784 w 3892734"/>
              <a:gd name="connsiteY23" fmla="*/ 1212850 h 2286441"/>
              <a:gd name="connsiteX24" fmla="*/ 2082984 w 3892734"/>
              <a:gd name="connsiteY24" fmla="*/ 1295400 h 2286441"/>
              <a:gd name="connsiteX25" fmla="*/ 2190934 w 3892734"/>
              <a:gd name="connsiteY25" fmla="*/ 1263650 h 2286441"/>
              <a:gd name="connsiteX26" fmla="*/ 2235384 w 3892734"/>
              <a:gd name="connsiteY26" fmla="*/ 1168400 h 2286441"/>
              <a:gd name="connsiteX27" fmla="*/ 2292534 w 3892734"/>
              <a:gd name="connsiteY27" fmla="*/ 1016000 h 2286441"/>
              <a:gd name="connsiteX28" fmla="*/ 2368734 w 3892734"/>
              <a:gd name="connsiteY28" fmla="*/ 876300 h 2286441"/>
              <a:gd name="connsiteX29" fmla="*/ 2425884 w 3892734"/>
              <a:gd name="connsiteY29" fmla="*/ 787400 h 2286441"/>
              <a:gd name="connsiteX30" fmla="*/ 2476684 w 3892734"/>
              <a:gd name="connsiteY30" fmla="*/ 749300 h 2286441"/>
              <a:gd name="connsiteX31" fmla="*/ 2546534 w 3892734"/>
              <a:gd name="connsiteY31" fmla="*/ 736600 h 2286441"/>
              <a:gd name="connsiteX32" fmla="*/ 2654484 w 3892734"/>
              <a:gd name="connsiteY32" fmla="*/ 781050 h 2286441"/>
              <a:gd name="connsiteX33" fmla="*/ 2756084 w 3892734"/>
              <a:gd name="connsiteY33" fmla="*/ 838200 h 2286441"/>
              <a:gd name="connsiteX34" fmla="*/ 2851334 w 3892734"/>
              <a:gd name="connsiteY34" fmla="*/ 901700 h 2286441"/>
              <a:gd name="connsiteX35" fmla="*/ 2997384 w 3892734"/>
              <a:gd name="connsiteY35" fmla="*/ 920750 h 2286441"/>
              <a:gd name="connsiteX36" fmla="*/ 3175184 w 3892734"/>
              <a:gd name="connsiteY36" fmla="*/ 895350 h 2286441"/>
              <a:gd name="connsiteX37" fmla="*/ 3295834 w 3892734"/>
              <a:gd name="connsiteY37" fmla="*/ 774700 h 2286441"/>
              <a:gd name="connsiteX38" fmla="*/ 3391084 w 3892734"/>
              <a:gd name="connsiteY38" fmla="*/ 628650 h 2286441"/>
              <a:gd name="connsiteX39" fmla="*/ 3486334 w 3892734"/>
              <a:gd name="connsiteY39" fmla="*/ 495300 h 2286441"/>
              <a:gd name="connsiteX40" fmla="*/ 3594284 w 3892734"/>
              <a:gd name="connsiteY40" fmla="*/ 412750 h 2286441"/>
              <a:gd name="connsiteX41" fmla="*/ 3714934 w 3892734"/>
              <a:gd name="connsiteY41" fmla="*/ 406400 h 2286441"/>
              <a:gd name="connsiteX42" fmla="*/ 3892734 w 3892734"/>
              <a:gd name="connsiteY42" fmla="*/ 412750 h 2286441"/>
              <a:gd name="connsiteX43" fmla="*/ 3892734 w 3892734"/>
              <a:gd name="connsiteY43" fmla="*/ 755650 h 2286441"/>
              <a:gd name="connsiteX44" fmla="*/ 3708584 w 3892734"/>
              <a:gd name="connsiteY44" fmla="*/ 958850 h 2286441"/>
              <a:gd name="connsiteX45" fmla="*/ 3611747 w 3892734"/>
              <a:gd name="connsiteY45" fmla="*/ 1039839 h 2286441"/>
              <a:gd name="connsiteX46" fmla="*/ 3479984 w 3892734"/>
              <a:gd name="connsiteY46" fmla="*/ 1124086 h 2286441"/>
              <a:gd name="connsiteX47" fmla="*/ 3340284 w 3892734"/>
              <a:gd name="connsiteY47" fmla="*/ 1155700 h 2286441"/>
              <a:gd name="connsiteX48" fmla="*/ 3219634 w 3892734"/>
              <a:gd name="connsiteY48" fmla="*/ 1181100 h 2286441"/>
              <a:gd name="connsiteX49" fmla="*/ 3135496 w 3892734"/>
              <a:gd name="connsiteY49" fmla="*/ 1299916 h 2286441"/>
              <a:gd name="connsiteX50" fmla="*/ 2991034 w 3892734"/>
              <a:gd name="connsiteY50" fmla="*/ 1601049 h 2286441"/>
              <a:gd name="connsiteX51" fmla="*/ 2846571 w 3892734"/>
              <a:gd name="connsiteY51" fmla="*/ 1861399 h 2286441"/>
              <a:gd name="connsiteX52" fmla="*/ 2667184 w 3892734"/>
              <a:gd name="connsiteY52" fmla="*/ 2145316 h 2286441"/>
              <a:gd name="connsiteX53" fmla="*/ 2587809 w 3892734"/>
              <a:gd name="connsiteY53" fmla="*/ 2206268 h 2286441"/>
              <a:gd name="connsiteX54" fmla="*/ 2484621 w 3892734"/>
              <a:gd name="connsiteY54" fmla="*/ 2281349 h 2286441"/>
              <a:gd name="connsiteX55" fmla="*/ 2248084 w 3892734"/>
              <a:gd name="connsiteY55" fmla="*/ 2286441 h 2286441"/>
              <a:gd name="connsiteX56" fmla="*/ 2036946 w 3892734"/>
              <a:gd name="connsiteY56" fmla="*/ 2106231 h 2286441"/>
              <a:gd name="connsiteX57" fmla="*/ 1908359 w 3892734"/>
              <a:gd name="connsiteY57" fmla="*/ 1872537 h 2286441"/>
              <a:gd name="connsiteX58" fmla="*/ 1832158 w 3892734"/>
              <a:gd name="connsiteY58" fmla="*/ 1747371 h 2286441"/>
              <a:gd name="connsiteX59" fmla="*/ 1719447 w 3892734"/>
              <a:gd name="connsiteY59" fmla="*/ 1606380 h 2286441"/>
              <a:gd name="connsiteX60" fmla="*/ 1578160 w 3892734"/>
              <a:gd name="connsiteY60" fmla="*/ 1426137 h 2286441"/>
              <a:gd name="connsiteX61" fmla="*/ 1433697 w 3892734"/>
              <a:gd name="connsiteY61" fmla="*/ 1317171 h 2286441"/>
              <a:gd name="connsiteX62" fmla="*/ 1101909 w 3892734"/>
              <a:gd name="connsiteY62" fmla="*/ 1573782 h 2286441"/>
              <a:gd name="connsiteX63" fmla="*/ 895535 w 3892734"/>
              <a:gd name="connsiteY63" fmla="*/ 1609913 h 2286441"/>
              <a:gd name="connsiteX64" fmla="*/ 781234 w 3892734"/>
              <a:gd name="connsiteY64" fmla="*/ 1591782 h 2286441"/>
              <a:gd name="connsiteX65" fmla="*/ 538346 w 3892734"/>
              <a:gd name="connsiteY65" fmla="*/ 1642309 h 2286441"/>
              <a:gd name="connsiteX66" fmla="*/ 397059 w 3892734"/>
              <a:gd name="connsiteY66" fmla="*/ 1620170 h 2286441"/>
              <a:gd name="connsiteX67" fmla="*/ 12884 w 3892734"/>
              <a:gd name="connsiteY67" fmla="*/ 1221921 h 2286441"/>
              <a:gd name="connsiteX68" fmla="*/ 184 w 3892734"/>
              <a:gd name="connsiteY68" fmla="*/ 0 h 2286441"/>
              <a:gd name="connsiteX0" fmla="*/ 184 w 3892734"/>
              <a:gd name="connsiteY0" fmla="*/ 0 h 2286441"/>
              <a:gd name="connsiteX1" fmla="*/ 266884 w 3892734"/>
              <a:gd name="connsiteY1" fmla="*/ 1162050 h 2286441"/>
              <a:gd name="connsiteX2" fmla="*/ 322447 w 3892734"/>
              <a:gd name="connsiteY2" fmla="*/ 1258421 h 2286441"/>
              <a:gd name="connsiteX3" fmla="*/ 376422 w 3892734"/>
              <a:gd name="connsiteY3" fmla="*/ 1353535 h 2286441"/>
              <a:gd name="connsiteX4" fmla="*/ 412934 w 3892734"/>
              <a:gd name="connsiteY4" fmla="*/ 1314450 h 2286441"/>
              <a:gd name="connsiteX5" fmla="*/ 514534 w 3892734"/>
              <a:gd name="connsiteY5" fmla="*/ 996950 h 2286441"/>
              <a:gd name="connsiteX6" fmla="*/ 584384 w 3892734"/>
              <a:gd name="connsiteY6" fmla="*/ 641350 h 2286441"/>
              <a:gd name="connsiteX7" fmla="*/ 641534 w 3892734"/>
              <a:gd name="connsiteY7" fmla="*/ 444500 h 2286441"/>
              <a:gd name="connsiteX8" fmla="*/ 692334 w 3892734"/>
              <a:gd name="connsiteY8" fmla="*/ 330200 h 2286441"/>
              <a:gd name="connsiteX9" fmla="*/ 724084 w 3892734"/>
              <a:gd name="connsiteY9" fmla="*/ 279400 h 2286441"/>
              <a:gd name="connsiteX10" fmla="*/ 806634 w 3892734"/>
              <a:gd name="connsiteY10" fmla="*/ 334581 h 2286441"/>
              <a:gd name="connsiteX11" fmla="*/ 941571 w 3892734"/>
              <a:gd name="connsiteY11" fmla="*/ 603691 h 2286441"/>
              <a:gd name="connsiteX12" fmla="*/ 978084 w 3892734"/>
              <a:gd name="connsiteY12" fmla="*/ 622300 h 2286441"/>
              <a:gd name="connsiteX13" fmla="*/ 1070159 w 3892734"/>
              <a:gd name="connsiteY13" fmla="*/ 860950 h 2286441"/>
              <a:gd name="connsiteX14" fmla="*/ 1136834 w 3892734"/>
              <a:gd name="connsiteY14" fmla="*/ 622300 h 2286441"/>
              <a:gd name="connsiteX15" fmla="*/ 1225734 w 3892734"/>
              <a:gd name="connsiteY15" fmla="*/ 495300 h 2286441"/>
              <a:gd name="connsiteX16" fmla="*/ 1313046 w 3892734"/>
              <a:gd name="connsiteY16" fmla="*/ 369148 h 2286441"/>
              <a:gd name="connsiteX17" fmla="*/ 1352734 w 3892734"/>
              <a:gd name="connsiteY17" fmla="*/ 292100 h 2286441"/>
              <a:gd name="connsiteX18" fmla="*/ 1397184 w 3892734"/>
              <a:gd name="connsiteY18" fmla="*/ 254000 h 2286441"/>
              <a:gd name="connsiteX19" fmla="*/ 1486084 w 3892734"/>
              <a:gd name="connsiteY19" fmla="*/ 285750 h 2286441"/>
              <a:gd name="connsiteX20" fmla="*/ 1581334 w 3892734"/>
              <a:gd name="connsiteY20" fmla="*/ 438150 h 2286441"/>
              <a:gd name="connsiteX21" fmla="*/ 1670234 w 3892734"/>
              <a:gd name="connsiteY21" fmla="*/ 654050 h 2286441"/>
              <a:gd name="connsiteX22" fmla="*/ 1905184 w 3892734"/>
              <a:gd name="connsiteY22" fmla="*/ 1066800 h 2286441"/>
              <a:gd name="connsiteX23" fmla="*/ 2006784 w 3892734"/>
              <a:gd name="connsiteY23" fmla="*/ 1212850 h 2286441"/>
              <a:gd name="connsiteX24" fmla="*/ 2082984 w 3892734"/>
              <a:gd name="connsiteY24" fmla="*/ 1295400 h 2286441"/>
              <a:gd name="connsiteX25" fmla="*/ 2190934 w 3892734"/>
              <a:gd name="connsiteY25" fmla="*/ 1263650 h 2286441"/>
              <a:gd name="connsiteX26" fmla="*/ 2235384 w 3892734"/>
              <a:gd name="connsiteY26" fmla="*/ 1168400 h 2286441"/>
              <a:gd name="connsiteX27" fmla="*/ 2292534 w 3892734"/>
              <a:gd name="connsiteY27" fmla="*/ 1016000 h 2286441"/>
              <a:gd name="connsiteX28" fmla="*/ 2368734 w 3892734"/>
              <a:gd name="connsiteY28" fmla="*/ 876300 h 2286441"/>
              <a:gd name="connsiteX29" fmla="*/ 2425884 w 3892734"/>
              <a:gd name="connsiteY29" fmla="*/ 787400 h 2286441"/>
              <a:gd name="connsiteX30" fmla="*/ 2476684 w 3892734"/>
              <a:gd name="connsiteY30" fmla="*/ 749300 h 2286441"/>
              <a:gd name="connsiteX31" fmla="*/ 2546534 w 3892734"/>
              <a:gd name="connsiteY31" fmla="*/ 736600 h 2286441"/>
              <a:gd name="connsiteX32" fmla="*/ 2654484 w 3892734"/>
              <a:gd name="connsiteY32" fmla="*/ 781050 h 2286441"/>
              <a:gd name="connsiteX33" fmla="*/ 2756084 w 3892734"/>
              <a:gd name="connsiteY33" fmla="*/ 838200 h 2286441"/>
              <a:gd name="connsiteX34" fmla="*/ 2851334 w 3892734"/>
              <a:gd name="connsiteY34" fmla="*/ 901700 h 2286441"/>
              <a:gd name="connsiteX35" fmla="*/ 2997384 w 3892734"/>
              <a:gd name="connsiteY35" fmla="*/ 920750 h 2286441"/>
              <a:gd name="connsiteX36" fmla="*/ 3175184 w 3892734"/>
              <a:gd name="connsiteY36" fmla="*/ 895350 h 2286441"/>
              <a:gd name="connsiteX37" fmla="*/ 3295834 w 3892734"/>
              <a:gd name="connsiteY37" fmla="*/ 774700 h 2286441"/>
              <a:gd name="connsiteX38" fmla="*/ 3391084 w 3892734"/>
              <a:gd name="connsiteY38" fmla="*/ 628650 h 2286441"/>
              <a:gd name="connsiteX39" fmla="*/ 3486334 w 3892734"/>
              <a:gd name="connsiteY39" fmla="*/ 495300 h 2286441"/>
              <a:gd name="connsiteX40" fmla="*/ 3594284 w 3892734"/>
              <a:gd name="connsiteY40" fmla="*/ 412750 h 2286441"/>
              <a:gd name="connsiteX41" fmla="*/ 3714934 w 3892734"/>
              <a:gd name="connsiteY41" fmla="*/ 406400 h 2286441"/>
              <a:gd name="connsiteX42" fmla="*/ 3892734 w 3892734"/>
              <a:gd name="connsiteY42" fmla="*/ 412750 h 2286441"/>
              <a:gd name="connsiteX43" fmla="*/ 3892734 w 3892734"/>
              <a:gd name="connsiteY43" fmla="*/ 755650 h 2286441"/>
              <a:gd name="connsiteX44" fmla="*/ 3708584 w 3892734"/>
              <a:gd name="connsiteY44" fmla="*/ 958850 h 2286441"/>
              <a:gd name="connsiteX45" fmla="*/ 3611747 w 3892734"/>
              <a:gd name="connsiteY45" fmla="*/ 1039839 h 2286441"/>
              <a:gd name="connsiteX46" fmla="*/ 3479984 w 3892734"/>
              <a:gd name="connsiteY46" fmla="*/ 1124086 h 2286441"/>
              <a:gd name="connsiteX47" fmla="*/ 3340284 w 3892734"/>
              <a:gd name="connsiteY47" fmla="*/ 1155700 h 2286441"/>
              <a:gd name="connsiteX48" fmla="*/ 3219634 w 3892734"/>
              <a:gd name="connsiteY48" fmla="*/ 1181100 h 2286441"/>
              <a:gd name="connsiteX49" fmla="*/ 3135496 w 3892734"/>
              <a:gd name="connsiteY49" fmla="*/ 1299916 h 2286441"/>
              <a:gd name="connsiteX50" fmla="*/ 2991034 w 3892734"/>
              <a:gd name="connsiteY50" fmla="*/ 1601049 h 2286441"/>
              <a:gd name="connsiteX51" fmla="*/ 2846571 w 3892734"/>
              <a:gd name="connsiteY51" fmla="*/ 1861399 h 2286441"/>
              <a:gd name="connsiteX52" fmla="*/ 2667184 w 3892734"/>
              <a:gd name="connsiteY52" fmla="*/ 2145316 h 2286441"/>
              <a:gd name="connsiteX53" fmla="*/ 2587809 w 3892734"/>
              <a:gd name="connsiteY53" fmla="*/ 2206268 h 2286441"/>
              <a:gd name="connsiteX54" fmla="*/ 2484621 w 3892734"/>
              <a:gd name="connsiteY54" fmla="*/ 2281349 h 2286441"/>
              <a:gd name="connsiteX55" fmla="*/ 2248084 w 3892734"/>
              <a:gd name="connsiteY55" fmla="*/ 2286441 h 2286441"/>
              <a:gd name="connsiteX56" fmla="*/ 2036946 w 3892734"/>
              <a:gd name="connsiteY56" fmla="*/ 2106231 h 2286441"/>
              <a:gd name="connsiteX57" fmla="*/ 1908359 w 3892734"/>
              <a:gd name="connsiteY57" fmla="*/ 1872537 h 2286441"/>
              <a:gd name="connsiteX58" fmla="*/ 1832158 w 3892734"/>
              <a:gd name="connsiteY58" fmla="*/ 1747371 h 2286441"/>
              <a:gd name="connsiteX59" fmla="*/ 1719447 w 3892734"/>
              <a:gd name="connsiteY59" fmla="*/ 1606380 h 2286441"/>
              <a:gd name="connsiteX60" fmla="*/ 1578160 w 3892734"/>
              <a:gd name="connsiteY60" fmla="*/ 1426137 h 2286441"/>
              <a:gd name="connsiteX61" fmla="*/ 1433697 w 3892734"/>
              <a:gd name="connsiteY61" fmla="*/ 1317171 h 2286441"/>
              <a:gd name="connsiteX62" fmla="*/ 1101909 w 3892734"/>
              <a:gd name="connsiteY62" fmla="*/ 1573782 h 2286441"/>
              <a:gd name="connsiteX63" fmla="*/ 895535 w 3892734"/>
              <a:gd name="connsiteY63" fmla="*/ 1609913 h 2286441"/>
              <a:gd name="connsiteX64" fmla="*/ 781234 w 3892734"/>
              <a:gd name="connsiteY64" fmla="*/ 1591782 h 2286441"/>
              <a:gd name="connsiteX65" fmla="*/ 538346 w 3892734"/>
              <a:gd name="connsiteY65" fmla="*/ 1642309 h 2286441"/>
              <a:gd name="connsiteX66" fmla="*/ 397059 w 3892734"/>
              <a:gd name="connsiteY66" fmla="*/ 1620170 h 2286441"/>
              <a:gd name="connsiteX67" fmla="*/ 12884 w 3892734"/>
              <a:gd name="connsiteY67" fmla="*/ 1221921 h 2286441"/>
              <a:gd name="connsiteX68" fmla="*/ 184 w 3892734"/>
              <a:gd name="connsiteY68" fmla="*/ 0 h 2286441"/>
              <a:gd name="connsiteX0" fmla="*/ 184 w 3892734"/>
              <a:gd name="connsiteY0" fmla="*/ 0 h 2286441"/>
              <a:gd name="connsiteX1" fmla="*/ 266884 w 3892734"/>
              <a:gd name="connsiteY1" fmla="*/ 1162050 h 2286441"/>
              <a:gd name="connsiteX2" fmla="*/ 322447 w 3892734"/>
              <a:gd name="connsiteY2" fmla="*/ 1258421 h 2286441"/>
              <a:gd name="connsiteX3" fmla="*/ 376422 w 3892734"/>
              <a:gd name="connsiteY3" fmla="*/ 1353535 h 2286441"/>
              <a:gd name="connsiteX4" fmla="*/ 412934 w 3892734"/>
              <a:gd name="connsiteY4" fmla="*/ 1314450 h 2286441"/>
              <a:gd name="connsiteX5" fmla="*/ 514534 w 3892734"/>
              <a:gd name="connsiteY5" fmla="*/ 996950 h 2286441"/>
              <a:gd name="connsiteX6" fmla="*/ 584384 w 3892734"/>
              <a:gd name="connsiteY6" fmla="*/ 641350 h 2286441"/>
              <a:gd name="connsiteX7" fmla="*/ 641534 w 3892734"/>
              <a:gd name="connsiteY7" fmla="*/ 444500 h 2286441"/>
              <a:gd name="connsiteX8" fmla="*/ 692334 w 3892734"/>
              <a:gd name="connsiteY8" fmla="*/ 330200 h 2286441"/>
              <a:gd name="connsiteX9" fmla="*/ 724084 w 3892734"/>
              <a:gd name="connsiteY9" fmla="*/ 279400 h 2286441"/>
              <a:gd name="connsiteX10" fmla="*/ 806634 w 3892734"/>
              <a:gd name="connsiteY10" fmla="*/ 334581 h 2286441"/>
              <a:gd name="connsiteX11" fmla="*/ 941571 w 3892734"/>
              <a:gd name="connsiteY11" fmla="*/ 603691 h 2286441"/>
              <a:gd name="connsiteX12" fmla="*/ 992372 w 3892734"/>
              <a:gd name="connsiteY12" fmla="*/ 744240 h 2286441"/>
              <a:gd name="connsiteX13" fmla="*/ 1070159 w 3892734"/>
              <a:gd name="connsiteY13" fmla="*/ 860950 h 2286441"/>
              <a:gd name="connsiteX14" fmla="*/ 1136834 w 3892734"/>
              <a:gd name="connsiteY14" fmla="*/ 622300 h 2286441"/>
              <a:gd name="connsiteX15" fmla="*/ 1225734 w 3892734"/>
              <a:gd name="connsiteY15" fmla="*/ 495300 h 2286441"/>
              <a:gd name="connsiteX16" fmla="*/ 1313046 w 3892734"/>
              <a:gd name="connsiteY16" fmla="*/ 369148 h 2286441"/>
              <a:gd name="connsiteX17" fmla="*/ 1352734 w 3892734"/>
              <a:gd name="connsiteY17" fmla="*/ 292100 h 2286441"/>
              <a:gd name="connsiteX18" fmla="*/ 1397184 w 3892734"/>
              <a:gd name="connsiteY18" fmla="*/ 254000 h 2286441"/>
              <a:gd name="connsiteX19" fmla="*/ 1486084 w 3892734"/>
              <a:gd name="connsiteY19" fmla="*/ 285750 h 2286441"/>
              <a:gd name="connsiteX20" fmla="*/ 1581334 w 3892734"/>
              <a:gd name="connsiteY20" fmla="*/ 438150 h 2286441"/>
              <a:gd name="connsiteX21" fmla="*/ 1670234 w 3892734"/>
              <a:gd name="connsiteY21" fmla="*/ 654050 h 2286441"/>
              <a:gd name="connsiteX22" fmla="*/ 1905184 w 3892734"/>
              <a:gd name="connsiteY22" fmla="*/ 1066800 h 2286441"/>
              <a:gd name="connsiteX23" fmla="*/ 2006784 w 3892734"/>
              <a:gd name="connsiteY23" fmla="*/ 1212850 h 2286441"/>
              <a:gd name="connsiteX24" fmla="*/ 2082984 w 3892734"/>
              <a:gd name="connsiteY24" fmla="*/ 1295400 h 2286441"/>
              <a:gd name="connsiteX25" fmla="*/ 2190934 w 3892734"/>
              <a:gd name="connsiteY25" fmla="*/ 1263650 h 2286441"/>
              <a:gd name="connsiteX26" fmla="*/ 2235384 w 3892734"/>
              <a:gd name="connsiteY26" fmla="*/ 1168400 h 2286441"/>
              <a:gd name="connsiteX27" fmla="*/ 2292534 w 3892734"/>
              <a:gd name="connsiteY27" fmla="*/ 1016000 h 2286441"/>
              <a:gd name="connsiteX28" fmla="*/ 2368734 w 3892734"/>
              <a:gd name="connsiteY28" fmla="*/ 876300 h 2286441"/>
              <a:gd name="connsiteX29" fmla="*/ 2425884 w 3892734"/>
              <a:gd name="connsiteY29" fmla="*/ 787400 h 2286441"/>
              <a:gd name="connsiteX30" fmla="*/ 2476684 w 3892734"/>
              <a:gd name="connsiteY30" fmla="*/ 749300 h 2286441"/>
              <a:gd name="connsiteX31" fmla="*/ 2546534 w 3892734"/>
              <a:gd name="connsiteY31" fmla="*/ 736600 h 2286441"/>
              <a:gd name="connsiteX32" fmla="*/ 2654484 w 3892734"/>
              <a:gd name="connsiteY32" fmla="*/ 781050 h 2286441"/>
              <a:gd name="connsiteX33" fmla="*/ 2756084 w 3892734"/>
              <a:gd name="connsiteY33" fmla="*/ 838200 h 2286441"/>
              <a:gd name="connsiteX34" fmla="*/ 2851334 w 3892734"/>
              <a:gd name="connsiteY34" fmla="*/ 901700 h 2286441"/>
              <a:gd name="connsiteX35" fmla="*/ 2997384 w 3892734"/>
              <a:gd name="connsiteY35" fmla="*/ 920750 h 2286441"/>
              <a:gd name="connsiteX36" fmla="*/ 3175184 w 3892734"/>
              <a:gd name="connsiteY36" fmla="*/ 895350 h 2286441"/>
              <a:gd name="connsiteX37" fmla="*/ 3295834 w 3892734"/>
              <a:gd name="connsiteY37" fmla="*/ 774700 h 2286441"/>
              <a:gd name="connsiteX38" fmla="*/ 3391084 w 3892734"/>
              <a:gd name="connsiteY38" fmla="*/ 628650 h 2286441"/>
              <a:gd name="connsiteX39" fmla="*/ 3486334 w 3892734"/>
              <a:gd name="connsiteY39" fmla="*/ 495300 h 2286441"/>
              <a:gd name="connsiteX40" fmla="*/ 3594284 w 3892734"/>
              <a:gd name="connsiteY40" fmla="*/ 412750 h 2286441"/>
              <a:gd name="connsiteX41" fmla="*/ 3714934 w 3892734"/>
              <a:gd name="connsiteY41" fmla="*/ 406400 h 2286441"/>
              <a:gd name="connsiteX42" fmla="*/ 3892734 w 3892734"/>
              <a:gd name="connsiteY42" fmla="*/ 412750 h 2286441"/>
              <a:gd name="connsiteX43" fmla="*/ 3892734 w 3892734"/>
              <a:gd name="connsiteY43" fmla="*/ 755650 h 2286441"/>
              <a:gd name="connsiteX44" fmla="*/ 3708584 w 3892734"/>
              <a:gd name="connsiteY44" fmla="*/ 958850 h 2286441"/>
              <a:gd name="connsiteX45" fmla="*/ 3611747 w 3892734"/>
              <a:gd name="connsiteY45" fmla="*/ 1039839 h 2286441"/>
              <a:gd name="connsiteX46" fmla="*/ 3479984 w 3892734"/>
              <a:gd name="connsiteY46" fmla="*/ 1124086 h 2286441"/>
              <a:gd name="connsiteX47" fmla="*/ 3340284 w 3892734"/>
              <a:gd name="connsiteY47" fmla="*/ 1155700 h 2286441"/>
              <a:gd name="connsiteX48" fmla="*/ 3219634 w 3892734"/>
              <a:gd name="connsiteY48" fmla="*/ 1181100 h 2286441"/>
              <a:gd name="connsiteX49" fmla="*/ 3135496 w 3892734"/>
              <a:gd name="connsiteY49" fmla="*/ 1299916 h 2286441"/>
              <a:gd name="connsiteX50" fmla="*/ 2991034 w 3892734"/>
              <a:gd name="connsiteY50" fmla="*/ 1601049 h 2286441"/>
              <a:gd name="connsiteX51" fmla="*/ 2846571 w 3892734"/>
              <a:gd name="connsiteY51" fmla="*/ 1861399 h 2286441"/>
              <a:gd name="connsiteX52" fmla="*/ 2667184 w 3892734"/>
              <a:gd name="connsiteY52" fmla="*/ 2145316 h 2286441"/>
              <a:gd name="connsiteX53" fmla="*/ 2587809 w 3892734"/>
              <a:gd name="connsiteY53" fmla="*/ 2206268 h 2286441"/>
              <a:gd name="connsiteX54" fmla="*/ 2484621 w 3892734"/>
              <a:gd name="connsiteY54" fmla="*/ 2281349 h 2286441"/>
              <a:gd name="connsiteX55" fmla="*/ 2248084 w 3892734"/>
              <a:gd name="connsiteY55" fmla="*/ 2286441 h 2286441"/>
              <a:gd name="connsiteX56" fmla="*/ 2036946 w 3892734"/>
              <a:gd name="connsiteY56" fmla="*/ 2106231 h 2286441"/>
              <a:gd name="connsiteX57" fmla="*/ 1908359 w 3892734"/>
              <a:gd name="connsiteY57" fmla="*/ 1872537 h 2286441"/>
              <a:gd name="connsiteX58" fmla="*/ 1832158 w 3892734"/>
              <a:gd name="connsiteY58" fmla="*/ 1747371 h 2286441"/>
              <a:gd name="connsiteX59" fmla="*/ 1719447 w 3892734"/>
              <a:gd name="connsiteY59" fmla="*/ 1606380 h 2286441"/>
              <a:gd name="connsiteX60" fmla="*/ 1578160 w 3892734"/>
              <a:gd name="connsiteY60" fmla="*/ 1426137 h 2286441"/>
              <a:gd name="connsiteX61" fmla="*/ 1433697 w 3892734"/>
              <a:gd name="connsiteY61" fmla="*/ 1317171 h 2286441"/>
              <a:gd name="connsiteX62" fmla="*/ 1101909 w 3892734"/>
              <a:gd name="connsiteY62" fmla="*/ 1573782 h 2286441"/>
              <a:gd name="connsiteX63" fmla="*/ 895535 w 3892734"/>
              <a:gd name="connsiteY63" fmla="*/ 1609913 h 2286441"/>
              <a:gd name="connsiteX64" fmla="*/ 781234 w 3892734"/>
              <a:gd name="connsiteY64" fmla="*/ 1591782 h 2286441"/>
              <a:gd name="connsiteX65" fmla="*/ 538346 w 3892734"/>
              <a:gd name="connsiteY65" fmla="*/ 1642309 h 2286441"/>
              <a:gd name="connsiteX66" fmla="*/ 397059 w 3892734"/>
              <a:gd name="connsiteY66" fmla="*/ 1620170 h 2286441"/>
              <a:gd name="connsiteX67" fmla="*/ 12884 w 3892734"/>
              <a:gd name="connsiteY67" fmla="*/ 1221921 h 2286441"/>
              <a:gd name="connsiteX68" fmla="*/ 184 w 3892734"/>
              <a:gd name="connsiteY68" fmla="*/ 0 h 2286441"/>
              <a:gd name="connsiteX0" fmla="*/ 184 w 3892734"/>
              <a:gd name="connsiteY0" fmla="*/ 0 h 2286441"/>
              <a:gd name="connsiteX1" fmla="*/ 266884 w 3892734"/>
              <a:gd name="connsiteY1" fmla="*/ 1162050 h 2286441"/>
              <a:gd name="connsiteX2" fmla="*/ 322447 w 3892734"/>
              <a:gd name="connsiteY2" fmla="*/ 1258421 h 2286441"/>
              <a:gd name="connsiteX3" fmla="*/ 376422 w 3892734"/>
              <a:gd name="connsiteY3" fmla="*/ 1353535 h 2286441"/>
              <a:gd name="connsiteX4" fmla="*/ 412934 w 3892734"/>
              <a:gd name="connsiteY4" fmla="*/ 1314450 h 2286441"/>
              <a:gd name="connsiteX5" fmla="*/ 514534 w 3892734"/>
              <a:gd name="connsiteY5" fmla="*/ 996950 h 2286441"/>
              <a:gd name="connsiteX6" fmla="*/ 584384 w 3892734"/>
              <a:gd name="connsiteY6" fmla="*/ 641350 h 2286441"/>
              <a:gd name="connsiteX7" fmla="*/ 641534 w 3892734"/>
              <a:gd name="connsiteY7" fmla="*/ 444500 h 2286441"/>
              <a:gd name="connsiteX8" fmla="*/ 692334 w 3892734"/>
              <a:gd name="connsiteY8" fmla="*/ 330200 h 2286441"/>
              <a:gd name="connsiteX9" fmla="*/ 724084 w 3892734"/>
              <a:gd name="connsiteY9" fmla="*/ 279400 h 2286441"/>
              <a:gd name="connsiteX10" fmla="*/ 806634 w 3892734"/>
              <a:gd name="connsiteY10" fmla="*/ 334581 h 2286441"/>
              <a:gd name="connsiteX11" fmla="*/ 941571 w 3892734"/>
              <a:gd name="connsiteY11" fmla="*/ 603691 h 2286441"/>
              <a:gd name="connsiteX12" fmla="*/ 992372 w 3892734"/>
              <a:gd name="connsiteY12" fmla="*/ 744240 h 2286441"/>
              <a:gd name="connsiteX13" fmla="*/ 1070159 w 3892734"/>
              <a:gd name="connsiteY13" fmla="*/ 860950 h 2286441"/>
              <a:gd name="connsiteX14" fmla="*/ 1198746 w 3892734"/>
              <a:gd name="connsiteY14" fmla="*/ 929407 h 2286441"/>
              <a:gd name="connsiteX15" fmla="*/ 1225734 w 3892734"/>
              <a:gd name="connsiteY15" fmla="*/ 495300 h 2286441"/>
              <a:gd name="connsiteX16" fmla="*/ 1313046 w 3892734"/>
              <a:gd name="connsiteY16" fmla="*/ 369148 h 2286441"/>
              <a:gd name="connsiteX17" fmla="*/ 1352734 w 3892734"/>
              <a:gd name="connsiteY17" fmla="*/ 292100 h 2286441"/>
              <a:gd name="connsiteX18" fmla="*/ 1397184 w 3892734"/>
              <a:gd name="connsiteY18" fmla="*/ 254000 h 2286441"/>
              <a:gd name="connsiteX19" fmla="*/ 1486084 w 3892734"/>
              <a:gd name="connsiteY19" fmla="*/ 285750 h 2286441"/>
              <a:gd name="connsiteX20" fmla="*/ 1581334 w 3892734"/>
              <a:gd name="connsiteY20" fmla="*/ 438150 h 2286441"/>
              <a:gd name="connsiteX21" fmla="*/ 1670234 w 3892734"/>
              <a:gd name="connsiteY21" fmla="*/ 654050 h 2286441"/>
              <a:gd name="connsiteX22" fmla="*/ 1905184 w 3892734"/>
              <a:gd name="connsiteY22" fmla="*/ 1066800 h 2286441"/>
              <a:gd name="connsiteX23" fmla="*/ 2006784 w 3892734"/>
              <a:gd name="connsiteY23" fmla="*/ 1212850 h 2286441"/>
              <a:gd name="connsiteX24" fmla="*/ 2082984 w 3892734"/>
              <a:gd name="connsiteY24" fmla="*/ 1295400 h 2286441"/>
              <a:gd name="connsiteX25" fmla="*/ 2190934 w 3892734"/>
              <a:gd name="connsiteY25" fmla="*/ 1263650 h 2286441"/>
              <a:gd name="connsiteX26" fmla="*/ 2235384 w 3892734"/>
              <a:gd name="connsiteY26" fmla="*/ 1168400 h 2286441"/>
              <a:gd name="connsiteX27" fmla="*/ 2292534 w 3892734"/>
              <a:gd name="connsiteY27" fmla="*/ 1016000 h 2286441"/>
              <a:gd name="connsiteX28" fmla="*/ 2368734 w 3892734"/>
              <a:gd name="connsiteY28" fmla="*/ 876300 h 2286441"/>
              <a:gd name="connsiteX29" fmla="*/ 2425884 w 3892734"/>
              <a:gd name="connsiteY29" fmla="*/ 787400 h 2286441"/>
              <a:gd name="connsiteX30" fmla="*/ 2476684 w 3892734"/>
              <a:gd name="connsiteY30" fmla="*/ 749300 h 2286441"/>
              <a:gd name="connsiteX31" fmla="*/ 2546534 w 3892734"/>
              <a:gd name="connsiteY31" fmla="*/ 736600 h 2286441"/>
              <a:gd name="connsiteX32" fmla="*/ 2654484 w 3892734"/>
              <a:gd name="connsiteY32" fmla="*/ 781050 h 2286441"/>
              <a:gd name="connsiteX33" fmla="*/ 2756084 w 3892734"/>
              <a:gd name="connsiteY33" fmla="*/ 838200 h 2286441"/>
              <a:gd name="connsiteX34" fmla="*/ 2851334 w 3892734"/>
              <a:gd name="connsiteY34" fmla="*/ 901700 h 2286441"/>
              <a:gd name="connsiteX35" fmla="*/ 2997384 w 3892734"/>
              <a:gd name="connsiteY35" fmla="*/ 920750 h 2286441"/>
              <a:gd name="connsiteX36" fmla="*/ 3175184 w 3892734"/>
              <a:gd name="connsiteY36" fmla="*/ 895350 h 2286441"/>
              <a:gd name="connsiteX37" fmla="*/ 3295834 w 3892734"/>
              <a:gd name="connsiteY37" fmla="*/ 774700 h 2286441"/>
              <a:gd name="connsiteX38" fmla="*/ 3391084 w 3892734"/>
              <a:gd name="connsiteY38" fmla="*/ 628650 h 2286441"/>
              <a:gd name="connsiteX39" fmla="*/ 3486334 w 3892734"/>
              <a:gd name="connsiteY39" fmla="*/ 495300 h 2286441"/>
              <a:gd name="connsiteX40" fmla="*/ 3594284 w 3892734"/>
              <a:gd name="connsiteY40" fmla="*/ 412750 h 2286441"/>
              <a:gd name="connsiteX41" fmla="*/ 3714934 w 3892734"/>
              <a:gd name="connsiteY41" fmla="*/ 406400 h 2286441"/>
              <a:gd name="connsiteX42" fmla="*/ 3892734 w 3892734"/>
              <a:gd name="connsiteY42" fmla="*/ 412750 h 2286441"/>
              <a:gd name="connsiteX43" fmla="*/ 3892734 w 3892734"/>
              <a:gd name="connsiteY43" fmla="*/ 755650 h 2286441"/>
              <a:gd name="connsiteX44" fmla="*/ 3708584 w 3892734"/>
              <a:gd name="connsiteY44" fmla="*/ 958850 h 2286441"/>
              <a:gd name="connsiteX45" fmla="*/ 3611747 w 3892734"/>
              <a:gd name="connsiteY45" fmla="*/ 1039839 h 2286441"/>
              <a:gd name="connsiteX46" fmla="*/ 3479984 w 3892734"/>
              <a:gd name="connsiteY46" fmla="*/ 1124086 h 2286441"/>
              <a:gd name="connsiteX47" fmla="*/ 3340284 w 3892734"/>
              <a:gd name="connsiteY47" fmla="*/ 1155700 h 2286441"/>
              <a:gd name="connsiteX48" fmla="*/ 3219634 w 3892734"/>
              <a:gd name="connsiteY48" fmla="*/ 1181100 h 2286441"/>
              <a:gd name="connsiteX49" fmla="*/ 3135496 w 3892734"/>
              <a:gd name="connsiteY49" fmla="*/ 1299916 h 2286441"/>
              <a:gd name="connsiteX50" fmla="*/ 2991034 w 3892734"/>
              <a:gd name="connsiteY50" fmla="*/ 1601049 h 2286441"/>
              <a:gd name="connsiteX51" fmla="*/ 2846571 w 3892734"/>
              <a:gd name="connsiteY51" fmla="*/ 1861399 h 2286441"/>
              <a:gd name="connsiteX52" fmla="*/ 2667184 w 3892734"/>
              <a:gd name="connsiteY52" fmla="*/ 2145316 h 2286441"/>
              <a:gd name="connsiteX53" fmla="*/ 2587809 w 3892734"/>
              <a:gd name="connsiteY53" fmla="*/ 2206268 h 2286441"/>
              <a:gd name="connsiteX54" fmla="*/ 2484621 w 3892734"/>
              <a:gd name="connsiteY54" fmla="*/ 2281349 h 2286441"/>
              <a:gd name="connsiteX55" fmla="*/ 2248084 w 3892734"/>
              <a:gd name="connsiteY55" fmla="*/ 2286441 h 2286441"/>
              <a:gd name="connsiteX56" fmla="*/ 2036946 w 3892734"/>
              <a:gd name="connsiteY56" fmla="*/ 2106231 h 2286441"/>
              <a:gd name="connsiteX57" fmla="*/ 1908359 w 3892734"/>
              <a:gd name="connsiteY57" fmla="*/ 1872537 h 2286441"/>
              <a:gd name="connsiteX58" fmla="*/ 1832158 w 3892734"/>
              <a:gd name="connsiteY58" fmla="*/ 1747371 h 2286441"/>
              <a:gd name="connsiteX59" fmla="*/ 1719447 w 3892734"/>
              <a:gd name="connsiteY59" fmla="*/ 1606380 h 2286441"/>
              <a:gd name="connsiteX60" fmla="*/ 1578160 w 3892734"/>
              <a:gd name="connsiteY60" fmla="*/ 1426137 h 2286441"/>
              <a:gd name="connsiteX61" fmla="*/ 1433697 w 3892734"/>
              <a:gd name="connsiteY61" fmla="*/ 1317171 h 2286441"/>
              <a:gd name="connsiteX62" fmla="*/ 1101909 w 3892734"/>
              <a:gd name="connsiteY62" fmla="*/ 1573782 h 2286441"/>
              <a:gd name="connsiteX63" fmla="*/ 895535 w 3892734"/>
              <a:gd name="connsiteY63" fmla="*/ 1609913 h 2286441"/>
              <a:gd name="connsiteX64" fmla="*/ 781234 w 3892734"/>
              <a:gd name="connsiteY64" fmla="*/ 1591782 h 2286441"/>
              <a:gd name="connsiteX65" fmla="*/ 538346 w 3892734"/>
              <a:gd name="connsiteY65" fmla="*/ 1642309 h 2286441"/>
              <a:gd name="connsiteX66" fmla="*/ 397059 w 3892734"/>
              <a:gd name="connsiteY66" fmla="*/ 1620170 h 2286441"/>
              <a:gd name="connsiteX67" fmla="*/ 12884 w 3892734"/>
              <a:gd name="connsiteY67" fmla="*/ 1221921 h 2286441"/>
              <a:gd name="connsiteX68" fmla="*/ 184 w 3892734"/>
              <a:gd name="connsiteY68" fmla="*/ 0 h 2286441"/>
              <a:gd name="connsiteX0" fmla="*/ 184 w 3892734"/>
              <a:gd name="connsiteY0" fmla="*/ 0 h 2286441"/>
              <a:gd name="connsiteX1" fmla="*/ 266884 w 3892734"/>
              <a:gd name="connsiteY1" fmla="*/ 1162050 h 2286441"/>
              <a:gd name="connsiteX2" fmla="*/ 322447 w 3892734"/>
              <a:gd name="connsiteY2" fmla="*/ 1258421 h 2286441"/>
              <a:gd name="connsiteX3" fmla="*/ 376422 w 3892734"/>
              <a:gd name="connsiteY3" fmla="*/ 1353535 h 2286441"/>
              <a:gd name="connsiteX4" fmla="*/ 412934 w 3892734"/>
              <a:gd name="connsiteY4" fmla="*/ 1314450 h 2286441"/>
              <a:gd name="connsiteX5" fmla="*/ 514534 w 3892734"/>
              <a:gd name="connsiteY5" fmla="*/ 996950 h 2286441"/>
              <a:gd name="connsiteX6" fmla="*/ 584384 w 3892734"/>
              <a:gd name="connsiteY6" fmla="*/ 641350 h 2286441"/>
              <a:gd name="connsiteX7" fmla="*/ 641534 w 3892734"/>
              <a:gd name="connsiteY7" fmla="*/ 444500 h 2286441"/>
              <a:gd name="connsiteX8" fmla="*/ 692334 w 3892734"/>
              <a:gd name="connsiteY8" fmla="*/ 330200 h 2286441"/>
              <a:gd name="connsiteX9" fmla="*/ 724084 w 3892734"/>
              <a:gd name="connsiteY9" fmla="*/ 279400 h 2286441"/>
              <a:gd name="connsiteX10" fmla="*/ 806634 w 3892734"/>
              <a:gd name="connsiteY10" fmla="*/ 334581 h 2286441"/>
              <a:gd name="connsiteX11" fmla="*/ 941571 w 3892734"/>
              <a:gd name="connsiteY11" fmla="*/ 603691 h 2286441"/>
              <a:gd name="connsiteX12" fmla="*/ 992372 w 3892734"/>
              <a:gd name="connsiteY12" fmla="*/ 744240 h 2286441"/>
              <a:gd name="connsiteX13" fmla="*/ 1070159 w 3892734"/>
              <a:gd name="connsiteY13" fmla="*/ 860950 h 2286441"/>
              <a:gd name="connsiteX14" fmla="*/ 1160646 w 3892734"/>
              <a:gd name="connsiteY14" fmla="*/ 848114 h 2286441"/>
              <a:gd name="connsiteX15" fmla="*/ 1225734 w 3892734"/>
              <a:gd name="connsiteY15" fmla="*/ 495300 h 2286441"/>
              <a:gd name="connsiteX16" fmla="*/ 1313046 w 3892734"/>
              <a:gd name="connsiteY16" fmla="*/ 369148 h 2286441"/>
              <a:gd name="connsiteX17" fmla="*/ 1352734 w 3892734"/>
              <a:gd name="connsiteY17" fmla="*/ 292100 h 2286441"/>
              <a:gd name="connsiteX18" fmla="*/ 1397184 w 3892734"/>
              <a:gd name="connsiteY18" fmla="*/ 254000 h 2286441"/>
              <a:gd name="connsiteX19" fmla="*/ 1486084 w 3892734"/>
              <a:gd name="connsiteY19" fmla="*/ 285750 h 2286441"/>
              <a:gd name="connsiteX20" fmla="*/ 1581334 w 3892734"/>
              <a:gd name="connsiteY20" fmla="*/ 438150 h 2286441"/>
              <a:gd name="connsiteX21" fmla="*/ 1670234 w 3892734"/>
              <a:gd name="connsiteY21" fmla="*/ 654050 h 2286441"/>
              <a:gd name="connsiteX22" fmla="*/ 1905184 w 3892734"/>
              <a:gd name="connsiteY22" fmla="*/ 1066800 h 2286441"/>
              <a:gd name="connsiteX23" fmla="*/ 2006784 w 3892734"/>
              <a:gd name="connsiteY23" fmla="*/ 1212850 h 2286441"/>
              <a:gd name="connsiteX24" fmla="*/ 2082984 w 3892734"/>
              <a:gd name="connsiteY24" fmla="*/ 1295400 h 2286441"/>
              <a:gd name="connsiteX25" fmla="*/ 2190934 w 3892734"/>
              <a:gd name="connsiteY25" fmla="*/ 1263650 h 2286441"/>
              <a:gd name="connsiteX26" fmla="*/ 2235384 w 3892734"/>
              <a:gd name="connsiteY26" fmla="*/ 1168400 h 2286441"/>
              <a:gd name="connsiteX27" fmla="*/ 2292534 w 3892734"/>
              <a:gd name="connsiteY27" fmla="*/ 1016000 h 2286441"/>
              <a:gd name="connsiteX28" fmla="*/ 2368734 w 3892734"/>
              <a:gd name="connsiteY28" fmla="*/ 876300 h 2286441"/>
              <a:gd name="connsiteX29" fmla="*/ 2425884 w 3892734"/>
              <a:gd name="connsiteY29" fmla="*/ 787400 h 2286441"/>
              <a:gd name="connsiteX30" fmla="*/ 2476684 w 3892734"/>
              <a:gd name="connsiteY30" fmla="*/ 749300 h 2286441"/>
              <a:gd name="connsiteX31" fmla="*/ 2546534 w 3892734"/>
              <a:gd name="connsiteY31" fmla="*/ 736600 h 2286441"/>
              <a:gd name="connsiteX32" fmla="*/ 2654484 w 3892734"/>
              <a:gd name="connsiteY32" fmla="*/ 781050 h 2286441"/>
              <a:gd name="connsiteX33" fmla="*/ 2756084 w 3892734"/>
              <a:gd name="connsiteY33" fmla="*/ 838200 h 2286441"/>
              <a:gd name="connsiteX34" fmla="*/ 2851334 w 3892734"/>
              <a:gd name="connsiteY34" fmla="*/ 901700 h 2286441"/>
              <a:gd name="connsiteX35" fmla="*/ 2997384 w 3892734"/>
              <a:gd name="connsiteY35" fmla="*/ 920750 h 2286441"/>
              <a:gd name="connsiteX36" fmla="*/ 3175184 w 3892734"/>
              <a:gd name="connsiteY36" fmla="*/ 895350 h 2286441"/>
              <a:gd name="connsiteX37" fmla="*/ 3295834 w 3892734"/>
              <a:gd name="connsiteY37" fmla="*/ 774700 h 2286441"/>
              <a:gd name="connsiteX38" fmla="*/ 3391084 w 3892734"/>
              <a:gd name="connsiteY38" fmla="*/ 628650 h 2286441"/>
              <a:gd name="connsiteX39" fmla="*/ 3486334 w 3892734"/>
              <a:gd name="connsiteY39" fmla="*/ 495300 h 2286441"/>
              <a:gd name="connsiteX40" fmla="*/ 3594284 w 3892734"/>
              <a:gd name="connsiteY40" fmla="*/ 412750 h 2286441"/>
              <a:gd name="connsiteX41" fmla="*/ 3714934 w 3892734"/>
              <a:gd name="connsiteY41" fmla="*/ 406400 h 2286441"/>
              <a:gd name="connsiteX42" fmla="*/ 3892734 w 3892734"/>
              <a:gd name="connsiteY42" fmla="*/ 412750 h 2286441"/>
              <a:gd name="connsiteX43" fmla="*/ 3892734 w 3892734"/>
              <a:gd name="connsiteY43" fmla="*/ 755650 h 2286441"/>
              <a:gd name="connsiteX44" fmla="*/ 3708584 w 3892734"/>
              <a:gd name="connsiteY44" fmla="*/ 958850 h 2286441"/>
              <a:gd name="connsiteX45" fmla="*/ 3611747 w 3892734"/>
              <a:gd name="connsiteY45" fmla="*/ 1039839 h 2286441"/>
              <a:gd name="connsiteX46" fmla="*/ 3479984 w 3892734"/>
              <a:gd name="connsiteY46" fmla="*/ 1124086 h 2286441"/>
              <a:gd name="connsiteX47" fmla="*/ 3340284 w 3892734"/>
              <a:gd name="connsiteY47" fmla="*/ 1155700 h 2286441"/>
              <a:gd name="connsiteX48" fmla="*/ 3219634 w 3892734"/>
              <a:gd name="connsiteY48" fmla="*/ 1181100 h 2286441"/>
              <a:gd name="connsiteX49" fmla="*/ 3135496 w 3892734"/>
              <a:gd name="connsiteY49" fmla="*/ 1299916 h 2286441"/>
              <a:gd name="connsiteX50" fmla="*/ 2991034 w 3892734"/>
              <a:gd name="connsiteY50" fmla="*/ 1601049 h 2286441"/>
              <a:gd name="connsiteX51" fmla="*/ 2846571 w 3892734"/>
              <a:gd name="connsiteY51" fmla="*/ 1861399 h 2286441"/>
              <a:gd name="connsiteX52" fmla="*/ 2667184 w 3892734"/>
              <a:gd name="connsiteY52" fmla="*/ 2145316 h 2286441"/>
              <a:gd name="connsiteX53" fmla="*/ 2587809 w 3892734"/>
              <a:gd name="connsiteY53" fmla="*/ 2206268 h 2286441"/>
              <a:gd name="connsiteX54" fmla="*/ 2484621 w 3892734"/>
              <a:gd name="connsiteY54" fmla="*/ 2281349 h 2286441"/>
              <a:gd name="connsiteX55" fmla="*/ 2248084 w 3892734"/>
              <a:gd name="connsiteY55" fmla="*/ 2286441 h 2286441"/>
              <a:gd name="connsiteX56" fmla="*/ 2036946 w 3892734"/>
              <a:gd name="connsiteY56" fmla="*/ 2106231 h 2286441"/>
              <a:gd name="connsiteX57" fmla="*/ 1908359 w 3892734"/>
              <a:gd name="connsiteY57" fmla="*/ 1872537 h 2286441"/>
              <a:gd name="connsiteX58" fmla="*/ 1832158 w 3892734"/>
              <a:gd name="connsiteY58" fmla="*/ 1747371 h 2286441"/>
              <a:gd name="connsiteX59" fmla="*/ 1719447 w 3892734"/>
              <a:gd name="connsiteY59" fmla="*/ 1606380 h 2286441"/>
              <a:gd name="connsiteX60" fmla="*/ 1578160 w 3892734"/>
              <a:gd name="connsiteY60" fmla="*/ 1426137 h 2286441"/>
              <a:gd name="connsiteX61" fmla="*/ 1433697 w 3892734"/>
              <a:gd name="connsiteY61" fmla="*/ 1317171 h 2286441"/>
              <a:gd name="connsiteX62" fmla="*/ 1101909 w 3892734"/>
              <a:gd name="connsiteY62" fmla="*/ 1573782 h 2286441"/>
              <a:gd name="connsiteX63" fmla="*/ 895535 w 3892734"/>
              <a:gd name="connsiteY63" fmla="*/ 1609913 h 2286441"/>
              <a:gd name="connsiteX64" fmla="*/ 781234 w 3892734"/>
              <a:gd name="connsiteY64" fmla="*/ 1591782 h 2286441"/>
              <a:gd name="connsiteX65" fmla="*/ 538346 w 3892734"/>
              <a:gd name="connsiteY65" fmla="*/ 1642309 h 2286441"/>
              <a:gd name="connsiteX66" fmla="*/ 397059 w 3892734"/>
              <a:gd name="connsiteY66" fmla="*/ 1620170 h 2286441"/>
              <a:gd name="connsiteX67" fmla="*/ 12884 w 3892734"/>
              <a:gd name="connsiteY67" fmla="*/ 1221921 h 2286441"/>
              <a:gd name="connsiteX68" fmla="*/ 184 w 3892734"/>
              <a:gd name="connsiteY68" fmla="*/ 0 h 2286441"/>
              <a:gd name="connsiteX0" fmla="*/ 184 w 3892734"/>
              <a:gd name="connsiteY0" fmla="*/ 0 h 2286441"/>
              <a:gd name="connsiteX1" fmla="*/ 266884 w 3892734"/>
              <a:gd name="connsiteY1" fmla="*/ 1162050 h 2286441"/>
              <a:gd name="connsiteX2" fmla="*/ 322447 w 3892734"/>
              <a:gd name="connsiteY2" fmla="*/ 1258421 h 2286441"/>
              <a:gd name="connsiteX3" fmla="*/ 376422 w 3892734"/>
              <a:gd name="connsiteY3" fmla="*/ 1353535 h 2286441"/>
              <a:gd name="connsiteX4" fmla="*/ 412934 w 3892734"/>
              <a:gd name="connsiteY4" fmla="*/ 1314450 h 2286441"/>
              <a:gd name="connsiteX5" fmla="*/ 514534 w 3892734"/>
              <a:gd name="connsiteY5" fmla="*/ 996950 h 2286441"/>
              <a:gd name="connsiteX6" fmla="*/ 584384 w 3892734"/>
              <a:gd name="connsiteY6" fmla="*/ 641350 h 2286441"/>
              <a:gd name="connsiteX7" fmla="*/ 641534 w 3892734"/>
              <a:gd name="connsiteY7" fmla="*/ 444500 h 2286441"/>
              <a:gd name="connsiteX8" fmla="*/ 692334 w 3892734"/>
              <a:gd name="connsiteY8" fmla="*/ 330200 h 2286441"/>
              <a:gd name="connsiteX9" fmla="*/ 724084 w 3892734"/>
              <a:gd name="connsiteY9" fmla="*/ 279400 h 2286441"/>
              <a:gd name="connsiteX10" fmla="*/ 806634 w 3892734"/>
              <a:gd name="connsiteY10" fmla="*/ 334581 h 2286441"/>
              <a:gd name="connsiteX11" fmla="*/ 941571 w 3892734"/>
              <a:gd name="connsiteY11" fmla="*/ 603691 h 2286441"/>
              <a:gd name="connsiteX12" fmla="*/ 992372 w 3892734"/>
              <a:gd name="connsiteY12" fmla="*/ 744240 h 2286441"/>
              <a:gd name="connsiteX13" fmla="*/ 1093972 w 3892734"/>
              <a:gd name="connsiteY13" fmla="*/ 842884 h 2286441"/>
              <a:gd name="connsiteX14" fmla="*/ 1160646 w 3892734"/>
              <a:gd name="connsiteY14" fmla="*/ 848114 h 2286441"/>
              <a:gd name="connsiteX15" fmla="*/ 1225734 w 3892734"/>
              <a:gd name="connsiteY15" fmla="*/ 495300 h 2286441"/>
              <a:gd name="connsiteX16" fmla="*/ 1313046 w 3892734"/>
              <a:gd name="connsiteY16" fmla="*/ 369148 h 2286441"/>
              <a:gd name="connsiteX17" fmla="*/ 1352734 w 3892734"/>
              <a:gd name="connsiteY17" fmla="*/ 292100 h 2286441"/>
              <a:gd name="connsiteX18" fmla="*/ 1397184 w 3892734"/>
              <a:gd name="connsiteY18" fmla="*/ 254000 h 2286441"/>
              <a:gd name="connsiteX19" fmla="*/ 1486084 w 3892734"/>
              <a:gd name="connsiteY19" fmla="*/ 285750 h 2286441"/>
              <a:gd name="connsiteX20" fmla="*/ 1581334 w 3892734"/>
              <a:gd name="connsiteY20" fmla="*/ 438150 h 2286441"/>
              <a:gd name="connsiteX21" fmla="*/ 1670234 w 3892734"/>
              <a:gd name="connsiteY21" fmla="*/ 654050 h 2286441"/>
              <a:gd name="connsiteX22" fmla="*/ 1905184 w 3892734"/>
              <a:gd name="connsiteY22" fmla="*/ 1066800 h 2286441"/>
              <a:gd name="connsiteX23" fmla="*/ 2006784 w 3892734"/>
              <a:gd name="connsiteY23" fmla="*/ 1212850 h 2286441"/>
              <a:gd name="connsiteX24" fmla="*/ 2082984 w 3892734"/>
              <a:gd name="connsiteY24" fmla="*/ 1295400 h 2286441"/>
              <a:gd name="connsiteX25" fmla="*/ 2190934 w 3892734"/>
              <a:gd name="connsiteY25" fmla="*/ 1263650 h 2286441"/>
              <a:gd name="connsiteX26" fmla="*/ 2235384 w 3892734"/>
              <a:gd name="connsiteY26" fmla="*/ 1168400 h 2286441"/>
              <a:gd name="connsiteX27" fmla="*/ 2292534 w 3892734"/>
              <a:gd name="connsiteY27" fmla="*/ 1016000 h 2286441"/>
              <a:gd name="connsiteX28" fmla="*/ 2368734 w 3892734"/>
              <a:gd name="connsiteY28" fmla="*/ 876300 h 2286441"/>
              <a:gd name="connsiteX29" fmla="*/ 2425884 w 3892734"/>
              <a:gd name="connsiteY29" fmla="*/ 787400 h 2286441"/>
              <a:gd name="connsiteX30" fmla="*/ 2476684 w 3892734"/>
              <a:gd name="connsiteY30" fmla="*/ 749300 h 2286441"/>
              <a:gd name="connsiteX31" fmla="*/ 2546534 w 3892734"/>
              <a:gd name="connsiteY31" fmla="*/ 736600 h 2286441"/>
              <a:gd name="connsiteX32" fmla="*/ 2654484 w 3892734"/>
              <a:gd name="connsiteY32" fmla="*/ 781050 h 2286441"/>
              <a:gd name="connsiteX33" fmla="*/ 2756084 w 3892734"/>
              <a:gd name="connsiteY33" fmla="*/ 838200 h 2286441"/>
              <a:gd name="connsiteX34" fmla="*/ 2851334 w 3892734"/>
              <a:gd name="connsiteY34" fmla="*/ 901700 h 2286441"/>
              <a:gd name="connsiteX35" fmla="*/ 2997384 w 3892734"/>
              <a:gd name="connsiteY35" fmla="*/ 920750 h 2286441"/>
              <a:gd name="connsiteX36" fmla="*/ 3175184 w 3892734"/>
              <a:gd name="connsiteY36" fmla="*/ 895350 h 2286441"/>
              <a:gd name="connsiteX37" fmla="*/ 3295834 w 3892734"/>
              <a:gd name="connsiteY37" fmla="*/ 774700 h 2286441"/>
              <a:gd name="connsiteX38" fmla="*/ 3391084 w 3892734"/>
              <a:gd name="connsiteY38" fmla="*/ 628650 h 2286441"/>
              <a:gd name="connsiteX39" fmla="*/ 3486334 w 3892734"/>
              <a:gd name="connsiteY39" fmla="*/ 495300 h 2286441"/>
              <a:gd name="connsiteX40" fmla="*/ 3594284 w 3892734"/>
              <a:gd name="connsiteY40" fmla="*/ 412750 h 2286441"/>
              <a:gd name="connsiteX41" fmla="*/ 3714934 w 3892734"/>
              <a:gd name="connsiteY41" fmla="*/ 406400 h 2286441"/>
              <a:gd name="connsiteX42" fmla="*/ 3892734 w 3892734"/>
              <a:gd name="connsiteY42" fmla="*/ 412750 h 2286441"/>
              <a:gd name="connsiteX43" fmla="*/ 3892734 w 3892734"/>
              <a:gd name="connsiteY43" fmla="*/ 755650 h 2286441"/>
              <a:gd name="connsiteX44" fmla="*/ 3708584 w 3892734"/>
              <a:gd name="connsiteY44" fmla="*/ 958850 h 2286441"/>
              <a:gd name="connsiteX45" fmla="*/ 3611747 w 3892734"/>
              <a:gd name="connsiteY45" fmla="*/ 1039839 h 2286441"/>
              <a:gd name="connsiteX46" fmla="*/ 3479984 w 3892734"/>
              <a:gd name="connsiteY46" fmla="*/ 1124086 h 2286441"/>
              <a:gd name="connsiteX47" fmla="*/ 3340284 w 3892734"/>
              <a:gd name="connsiteY47" fmla="*/ 1155700 h 2286441"/>
              <a:gd name="connsiteX48" fmla="*/ 3219634 w 3892734"/>
              <a:gd name="connsiteY48" fmla="*/ 1181100 h 2286441"/>
              <a:gd name="connsiteX49" fmla="*/ 3135496 w 3892734"/>
              <a:gd name="connsiteY49" fmla="*/ 1299916 h 2286441"/>
              <a:gd name="connsiteX50" fmla="*/ 2991034 w 3892734"/>
              <a:gd name="connsiteY50" fmla="*/ 1601049 h 2286441"/>
              <a:gd name="connsiteX51" fmla="*/ 2846571 w 3892734"/>
              <a:gd name="connsiteY51" fmla="*/ 1861399 h 2286441"/>
              <a:gd name="connsiteX52" fmla="*/ 2667184 w 3892734"/>
              <a:gd name="connsiteY52" fmla="*/ 2145316 h 2286441"/>
              <a:gd name="connsiteX53" fmla="*/ 2587809 w 3892734"/>
              <a:gd name="connsiteY53" fmla="*/ 2206268 h 2286441"/>
              <a:gd name="connsiteX54" fmla="*/ 2484621 w 3892734"/>
              <a:gd name="connsiteY54" fmla="*/ 2281349 h 2286441"/>
              <a:gd name="connsiteX55" fmla="*/ 2248084 w 3892734"/>
              <a:gd name="connsiteY55" fmla="*/ 2286441 h 2286441"/>
              <a:gd name="connsiteX56" fmla="*/ 2036946 w 3892734"/>
              <a:gd name="connsiteY56" fmla="*/ 2106231 h 2286441"/>
              <a:gd name="connsiteX57" fmla="*/ 1908359 w 3892734"/>
              <a:gd name="connsiteY57" fmla="*/ 1872537 h 2286441"/>
              <a:gd name="connsiteX58" fmla="*/ 1832158 w 3892734"/>
              <a:gd name="connsiteY58" fmla="*/ 1747371 h 2286441"/>
              <a:gd name="connsiteX59" fmla="*/ 1719447 w 3892734"/>
              <a:gd name="connsiteY59" fmla="*/ 1606380 h 2286441"/>
              <a:gd name="connsiteX60" fmla="*/ 1578160 w 3892734"/>
              <a:gd name="connsiteY60" fmla="*/ 1426137 h 2286441"/>
              <a:gd name="connsiteX61" fmla="*/ 1433697 w 3892734"/>
              <a:gd name="connsiteY61" fmla="*/ 1317171 h 2286441"/>
              <a:gd name="connsiteX62" fmla="*/ 1101909 w 3892734"/>
              <a:gd name="connsiteY62" fmla="*/ 1573782 h 2286441"/>
              <a:gd name="connsiteX63" fmla="*/ 895535 w 3892734"/>
              <a:gd name="connsiteY63" fmla="*/ 1609913 h 2286441"/>
              <a:gd name="connsiteX64" fmla="*/ 781234 w 3892734"/>
              <a:gd name="connsiteY64" fmla="*/ 1591782 h 2286441"/>
              <a:gd name="connsiteX65" fmla="*/ 538346 w 3892734"/>
              <a:gd name="connsiteY65" fmla="*/ 1642309 h 2286441"/>
              <a:gd name="connsiteX66" fmla="*/ 397059 w 3892734"/>
              <a:gd name="connsiteY66" fmla="*/ 1620170 h 2286441"/>
              <a:gd name="connsiteX67" fmla="*/ 12884 w 3892734"/>
              <a:gd name="connsiteY67" fmla="*/ 1221921 h 2286441"/>
              <a:gd name="connsiteX68" fmla="*/ 184 w 3892734"/>
              <a:gd name="connsiteY68" fmla="*/ 0 h 2286441"/>
              <a:gd name="connsiteX0" fmla="*/ 184 w 3892734"/>
              <a:gd name="connsiteY0" fmla="*/ 0 h 2286441"/>
              <a:gd name="connsiteX1" fmla="*/ 266884 w 3892734"/>
              <a:gd name="connsiteY1" fmla="*/ 1162050 h 2286441"/>
              <a:gd name="connsiteX2" fmla="*/ 322447 w 3892734"/>
              <a:gd name="connsiteY2" fmla="*/ 1258421 h 2286441"/>
              <a:gd name="connsiteX3" fmla="*/ 376422 w 3892734"/>
              <a:gd name="connsiteY3" fmla="*/ 1353535 h 2286441"/>
              <a:gd name="connsiteX4" fmla="*/ 412934 w 3892734"/>
              <a:gd name="connsiteY4" fmla="*/ 1314450 h 2286441"/>
              <a:gd name="connsiteX5" fmla="*/ 514534 w 3892734"/>
              <a:gd name="connsiteY5" fmla="*/ 996950 h 2286441"/>
              <a:gd name="connsiteX6" fmla="*/ 584384 w 3892734"/>
              <a:gd name="connsiteY6" fmla="*/ 641350 h 2286441"/>
              <a:gd name="connsiteX7" fmla="*/ 641534 w 3892734"/>
              <a:gd name="connsiteY7" fmla="*/ 444500 h 2286441"/>
              <a:gd name="connsiteX8" fmla="*/ 692334 w 3892734"/>
              <a:gd name="connsiteY8" fmla="*/ 330200 h 2286441"/>
              <a:gd name="connsiteX9" fmla="*/ 724084 w 3892734"/>
              <a:gd name="connsiteY9" fmla="*/ 279400 h 2286441"/>
              <a:gd name="connsiteX10" fmla="*/ 806634 w 3892734"/>
              <a:gd name="connsiteY10" fmla="*/ 334581 h 2286441"/>
              <a:gd name="connsiteX11" fmla="*/ 941571 w 3892734"/>
              <a:gd name="connsiteY11" fmla="*/ 603691 h 2286441"/>
              <a:gd name="connsiteX12" fmla="*/ 992372 w 3892734"/>
              <a:gd name="connsiteY12" fmla="*/ 744240 h 2286441"/>
              <a:gd name="connsiteX13" fmla="*/ 1093972 w 3892734"/>
              <a:gd name="connsiteY13" fmla="*/ 842884 h 2286441"/>
              <a:gd name="connsiteX14" fmla="*/ 1198746 w 3892734"/>
              <a:gd name="connsiteY14" fmla="*/ 780371 h 2286441"/>
              <a:gd name="connsiteX15" fmla="*/ 1225734 w 3892734"/>
              <a:gd name="connsiteY15" fmla="*/ 495300 h 2286441"/>
              <a:gd name="connsiteX16" fmla="*/ 1313046 w 3892734"/>
              <a:gd name="connsiteY16" fmla="*/ 369148 h 2286441"/>
              <a:gd name="connsiteX17" fmla="*/ 1352734 w 3892734"/>
              <a:gd name="connsiteY17" fmla="*/ 292100 h 2286441"/>
              <a:gd name="connsiteX18" fmla="*/ 1397184 w 3892734"/>
              <a:gd name="connsiteY18" fmla="*/ 254000 h 2286441"/>
              <a:gd name="connsiteX19" fmla="*/ 1486084 w 3892734"/>
              <a:gd name="connsiteY19" fmla="*/ 285750 h 2286441"/>
              <a:gd name="connsiteX20" fmla="*/ 1581334 w 3892734"/>
              <a:gd name="connsiteY20" fmla="*/ 438150 h 2286441"/>
              <a:gd name="connsiteX21" fmla="*/ 1670234 w 3892734"/>
              <a:gd name="connsiteY21" fmla="*/ 654050 h 2286441"/>
              <a:gd name="connsiteX22" fmla="*/ 1905184 w 3892734"/>
              <a:gd name="connsiteY22" fmla="*/ 1066800 h 2286441"/>
              <a:gd name="connsiteX23" fmla="*/ 2006784 w 3892734"/>
              <a:gd name="connsiteY23" fmla="*/ 1212850 h 2286441"/>
              <a:gd name="connsiteX24" fmla="*/ 2082984 w 3892734"/>
              <a:gd name="connsiteY24" fmla="*/ 1295400 h 2286441"/>
              <a:gd name="connsiteX25" fmla="*/ 2190934 w 3892734"/>
              <a:gd name="connsiteY25" fmla="*/ 1263650 h 2286441"/>
              <a:gd name="connsiteX26" fmla="*/ 2235384 w 3892734"/>
              <a:gd name="connsiteY26" fmla="*/ 1168400 h 2286441"/>
              <a:gd name="connsiteX27" fmla="*/ 2292534 w 3892734"/>
              <a:gd name="connsiteY27" fmla="*/ 1016000 h 2286441"/>
              <a:gd name="connsiteX28" fmla="*/ 2368734 w 3892734"/>
              <a:gd name="connsiteY28" fmla="*/ 876300 h 2286441"/>
              <a:gd name="connsiteX29" fmla="*/ 2425884 w 3892734"/>
              <a:gd name="connsiteY29" fmla="*/ 787400 h 2286441"/>
              <a:gd name="connsiteX30" fmla="*/ 2476684 w 3892734"/>
              <a:gd name="connsiteY30" fmla="*/ 749300 h 2286441"/>
              <a:gd name="connsiteX31" fmla="*/ 2546534 w 3892734"/>
              <a:gd name="connsiteY31" fmla="*/ 736600 h 2286441"/>
              <a:gd name="connsiteX32" fmla="*/ 2654484 w 3892734"/>
              <a:gd name="connsiteY32" fmla="*/ 781050 h 2286441"/>
              <a:gd name="connsiteX33" fmla="*/ 2756084 w 3892734"/>
              <a:gd name="connsiteY33" fmla="*/ 838200 h 2286441"/>
              <a:gd name="connsiteX34" fmla="*/ 2851334 w 3892734"/>
              <a:gd name="connsiteY34" fmla="*/ 901700 h 2286441"/>
              <a:gd name="connsiteX35" fmla="*/ 2997384 w 3892734"/>
              <a:gd name="connsiteY35" fmla="*/ 920750 h 2286441"/>
              <a:gd name="connsiteX36" fmla="*/ 3175184 w 3892734"/>
              <a:gd name="connsiteY36" fmla="*/ 895350 h 2286441"/>
              <a:gd name="connsiteX37" fmla="*/ 3295834 w 3892734"/>
              <a:gd name="connsiteY37" fmla="*/ 774700 h 2286441"/>
              <a:gd name="connsiteX38" fmla="*/ 3391084 w 3892734"/>
              <a:gd name="connsiteY38" fmla="*/ 628650 h 2286441"/>
              <a:gd name="connsiteX39" fmla="*/ 3486334 w 3892734"/>
              <a:gd name="connsiteY39" fmla="*/ 495300 h 2286441"/>
              <a:gd name="connsiteX40" fmla="*/ 3594284 w 3892734"/>
              <a:gd name="connsiteY40" fmla="*/ 412750 h 2286441"/>
              <a:gd name="connsiteX41" fmla="*/ 3714934 w 3892734"/>
              <a:gd name="connsiteY41" fmla="*/ 406400 h 2286441"/>
              <a:gd name="connsiteX42" fmla="*/ 3892734 w 3892734"/>
              <a:gd name="connsiteY42" fmla="*/ 412750 h 2286441"/>
              <a:gd name="connsiteX43" fmla="*/ 3892734 w 3892734"/>
              <a:gd name="connsiteY43" fmla="*/ 755650 h 2286441"/>
              <a:gd name="connsiteX44" fmla="*/ 3708584 w 3892734"/>
              <a:gd name="connsiteY44" fmla="*/ 958850 h 2286441"/>
              <a:gd name="connsiteX45" fmla="*/ 3611747 w 3892734"/>
              <a:gd name="connsiteY45" fmla="*/ 1039839 h 2286441"/>
              <a:gd name="connsiteX46" fmla="*/ 3479984 w 3892734"/>
              <a:gd name="connsiteY46" fmla="*/ 1124086 h 2286441"/>
              <a:gd name="connsiteX47" fmla="*/ 3340284 w 3892734"/>
              <a:gd name="connsiteY47" fmla="*/ 1155700 h 2286441"/>
              <a:gd name="connsiteX48" fmla="*/ 3219634 w 3892734"/>
              <a:gd name="connsiteY48" fmla="*/ 1181100 h 2286441"/>
              <a:gd name="connsiteX49" fmla="*/ 3135496 w 3892734"/>
              <a:gd name="connsiteY49" fmla="*/ 1299916 h 2286441"/>
              <a:gd name="connsiteX50" fmla="*/ 2991034 w 3892734"/>
              <a:gd name="connsiteY50" fmla="*/ 1601049 h 2286441"/>
              <a:gd name="connsiteX51" fmla="*/ 2846571 w 3892734"/>
              <a:gd name="connsiteY51" fmla="*/ 1861399 h 2286441"/>
              <a:gd name="connsiteX52" fmla="*/ 2667184 w 3892734"/>
              <a:gd name="connsiteY52" fmla="*/ 2145316 h 2286441"/>
              <a:gd name="connsiteX53" fmla="*/ 2587809 w 3892734"/>
              <a:gd name="connsiteY53" fmla="*/ 2206268 h 2286441"/>
              <a:gd name="connsiteX54" fmla="*/ 2484621 w 3892734"/>
              <a:gd name="connsiteY54" fmla="*/ 2281349 h 2286441"/>
              <a:gd name="connsiteX55" fmla="*/ 2248084 w 3892734"/>
              <a:gd name="connsiteY55" fmla="*/ 2286441 h 2286441"/>
              <a:gd name="connsiteX56" fmla="*/ 2036946 w 3892734"/>
              <a:gd name="connsiteY56" fmla="*/ 2106231 h 2286441"/>
              <a:gd name="connsiteX57" fmla="*/ 1908359 w 3892734"/>
              <a:gd name="connsiteY57" fmla="*/ 1872537 h 2286441"/>
              <a:gd name="connsiteX58" fmla="*/ 1832158 w 3892734"/>
              <a:gd name="connsiteY58" fmla="*/ 1747371 h 2286441"/>
              <a:gd name="connsiteX59" fmla="*/ 1719447 w 3892734"/>
              <a:gd name="connsiteY59" fmla="*/ 1606380 h 2286441"/>
              <a:gd name="connsiteX60" fmla="*/ 1578160 w 3892734"/>
              <a:gd name="connsiteY60" fmla="*/ 1426137 h 2286441"/>
              <a:gd name="connsiteX61" fmla="*/ 1433697 w 3892734"/>
              <a:gd name="connsiteY61" fmla="*/ 1317171 h 2286441"/>
              <a:gd name="connsiteX62" fmla="*/ 1101909 w 3892734"/>
              <a:gd name="connsiteY62" fmla="*/ 1573782 h 2286441"/>
              <a:gd name="connsiteX63" fmla="*/ 895535 w 3892734"/>
              <a:gd name="connsiteY63" fmla="*/ 1609913 h 2286441"/>
              <a:gd name="connsiteX64" fmla="*/ 781234 w 3892734"/>
              <a:gd name="connsiteY64" fmla="*/ 1591782 h 2286441"/>
              <a:gd name="connsiteX65" fmla="*/ 538346 w 3892734"/>
              <a:gd name="connsiteY65" fmla="*/ 1642309 h 2286441"/>
              <a:gd name="connsiteX66" fmla="*/ 397059 w 3892734"/>
              <a:gd name="connsiteY66" fmla="*/ 1620170 h 2286441"/>
              <a:gd name="connsiteX67" fmla="*/ 12884 w 3892734"/>
              <a:gd name="connsiteY67" fmla="*/ 1221921 h 2286441"/>
              <a:gd name="connsiteX68" fmla="*/ 184 w 3892734"/>
              <a:gd name="connsiteY68" fmla="*/ 0 h 2286441"/>
              <a:gd name="connsiteX0" fmla="*/ 184 w 3892734"/>
              <a:gd name="connsiteY0" fmla="*/ 0 h 2286441"/>
              <a:gd name="connsiteX1" fmla="*/ 266884 w 3892734"/>
              <a:gd name="connsiteY1" fmla="*/ 1162050 h 2286441"/>
              <a:gd name="connsiteX2" fmla="*/ 322447 w 3892734"/>
              <a:gd name="connsiteY2" fmla="*/ 1258421 h 2286441"/>
              <a:gd name="connsiteX3" fmla="*/ 376422 w 3892734"/>
              <a:gd name="connsiteY3" fmla="*/ 1353535 h 2286441"/>
              <a:gd name="connsiteX4" fmla="*/ 412934 w 3892734"/>
              <a:gd name="connsiteY4" fmla="*/ 1314450 h 2286441"/>
              <a:gd name="connsiteX5" fmla="*/ 514534 w 3892734"/>
              <a:gd name="connsiteY5" fmla="*/ 996950 h 2286441"/>
              <a:gd name="connsiteX6" fmla="*/ 584384 w 3892734"/>
              <a:gd name="connsiteY6" fmla="*/ 641350 h 2286441"/>
              <a:gd name="connsiteX7" fmla="*/ 641534 w 3892734"/>
              <a:gd name="connsiteY7" fmla="*/ 444500 h 2286441"/>
              <a:gd name="connsiteX8" fmla="*/ 692334 w 3892734"/>
              <a:gd name="connsiteY8" fmla="*/ 330200 h 2286441"/>
              <a:gd name="connsiteX9" fmla="*/ 724084 w 3892734"/>
              <a:gd name="connsiteY9" fmla="*/ 279400 h 2286441"/>
              <a:gd name="connsiteX10" fmla="*/ 806634 w 3892734"/>
              <a:gd name="connsiteY10" fmla="*/ 334581 h 2286441"/>
              <a:gd name="connsiteX11" fmla="*/ 941571 w 3892734"/>
              <a:gd name="connsiteY11" fmla="*/ 603691 h 2286441"/>
              <a:gd name="connsiteX12" fmla="*/ 992372 w 3892734"/>
              <a:gd name="connsiteY12" fmla="*/ 744240 h 2286441"/>
              <a:gd name="connsiteX13" fmla="*/ 1093972 w 3892734"/>
              <a:gd name="connsiteY13" fmla="*/ 842884 h 2286441"/>
              <a:gd name="connsiteX14" fmla="*/ 1198746 w 3892734"/>
              <a:gd name="connsiteY14" fmla="*/ 780371 h 2286441"/>
              <a:gd name="connsiteX15" fmla="*/ 1335271 w 3892734"/>
              <a:gd name="connsiteY15" fmla="*/ 531430 h 2286441"/>
              <a:gd name="connsiteX16" fmla="*/ 1313046 w 3892734"/>
              <a:gd name="connsiteY16" fmla="*/ 369148 h 2286441"/>
              <a:gd name="connsiteX17" fmla="*/ 1352734 w 3892734"/>
              <a:gd name="connsiteY17" fmla="*/ 292100 h 2286441"/>
              <a:gd name="connsiteX18" fmla="*/ 1397184 w 3892734"/>
              <a:gd name="connsiteY18" fmla="*/ 254000 h 2286441"/>
              <a:gd name="connsiteX19" fmla="*/ 1486084 w 3892734"/>
              <a:gd name="connsiteY19" fmla="*/ 285750 h 2286441"/>
              <a:gd name="connsiteX20" fmla="*/ 1581334 w 3892734"/>
              <a:gd name="connsiteY20" fmla="*/ 438150 h 2286441"/>
              <a:gd name="connsiteX21" fmla="*/ 1670234 w 3892734"/>
              <a:gd name="connsiteY21" fmla="*/ 654050 h 2286441"/>
              <a:gd name="connsiteX22" fmla="*/ 1905184 w 3892734"/>
              <a:gd name="connsiteY22" fmla="*/ 1066800 h 2286441"/>
              <a:gd name="connsiteX23" fmla="*/ 2006784 w 3892734"/>
              <a:gd name="connsiteY23" fmla="*/ 1212850 h 2286441"/>
              <a:gd name="connsiteX24" fmla="*/ 2082984 w 3892734"/>
              <a:gd name="connsiteY24" fmla="*/ 1295400 h 2286441"/>
              <a:gd name="connsiteX25" fmla="*/ 2190934 w 3892734"/>
              <a:gd name="connsiteY25" fmla="*/ 1263650 h 2286441"/>
              <a:gd name="connsiteX26" fmla="*/ 2235384 w 3892734"/>
              <a:gd name="connsiteY26" fmla="*/ 1168400 h 2286441"/>
              <a:gd name="connsiteX27" fmla="*/ 2292534 w 3892734"/>
              <a:gd name="connsiteY27" fmla="*/ 1016000 h 2286441"/>
              <a:gd name="connsiteX28" fmla="*/ 2368734 w 3892734"/>
              <a:gd name="connsiteY28" fmla="*/ 876300 h 2286441"/>
              <a:gd name="connsiteX29" fmla="*/ 2425884 w 3892734"/>
              <a:gd name="connsiteY29" fmla="*/ 787400 h 2286441"/>
              <a:gd name="connsiteX30" fmla="*/ 2476684 w 3892734"/>
              <a:gd name="connsiteY30" fmla="*/ 749300 h 2286441"/>
              <a:gd name="connsiteX31" fmla="*/ 2546534 w 3892734"/>
              <a:gd name="connsiteY31" fmla="*/ 736600 h 2286441"/>
              <a:gd name="connsiteX32" fmla="*/ 2654484 w 3892734"/>
              <a:gd name="connsiteY32" fmla="*/ 781050 h 2286441"/>
              <a:gd name="connsiteX33" fmla="*/ 2756084 w 3892734"/>
              <a:gd name="connsiteY33" fmla="*/ 838200 h 2286441"/>
              <a:gd name="connsiteX34" fmla="*/ 2851334 w 3892734"/>
              <a:gd name="connsiteY34" fmla="*/ 901700 h 2286441"/>
              <a:gd name="connsiteX35" fmla="*/ 2997384 w 3892734"/>
              <a:gd name="connsiteY35" fmla="*/ 920750 h 2286441"/>
              <a:gd name="connsiteX36" fmla="*/ 3175184 w 3892734"/>
              <a:gd name="connsiteY36" fmla="*/ 895350 h 2286441"/>
              <a:gd name="connsiteX37" fmla="*/ 3295834 w 3892734"/>
              <a:gd name="connsiteY37" fmla="*/ 774700 h 2286441"/>
              <a:gd name="connsiteX38" fmla="*/ 3391084 w 3892734"/>
              <a:gd name="connsiteY38" fmla="*/ 628650 h 2286441"/>
              <a:gd name="connsiteX39" fmla="*/ 3486334 w 3892734"/>
              <a:gd name="connsiteY39" fmla="*/ 495300 h 2286441"/>
              <a:gd name="connsiteX40" fmla="*/ 3594284 w 3892734"/>
              <a:gd name="connsiteY40" fmla="*/ 412750 h 2286441"/>
              <a:gd name="connsiteX41" fmla="*/ 3714934 w 3892734"/>
              <a:gd name="connsiteY41" fmla="*/ 406400 h 2286441"/>
              <a:gd name="connsiteX42" fmla="*/ 3892734 w 3892734"/>
              <a:gd name="connsiteY42" fmla="*/ 412750 h 2286441"/>
              <a:gd name="connsiteX43" fmla="*/ 3892734 w 3892734"/>
              <a:gd name="connsiteY43" fmla="*/ 755650 h 2286441"/>
              <a:gd name="connsiteX44" fmla="*/ 3708584 w 3892734"/>
              <a:gd name="connsiteY44" fmla="*/ 958850 h 2286441"/>
              <a:gd name="connsiteX45" fmla="*/ 3611747 w 3892734"/>
              <a:gd name="connsiteY45" fmla="*/ 1039839 h 2286441"/>
              <a:gd name="connsiteX46" fmla="*/ 3479984 w 3892734"/>
              <a:gd name="connsiteY46" fmla="*/ 1124086 h 2286441"/>
              <a:gd name="connsiteX47" fmla="*/ 3340284 w 3892734"/>
              <a:gd name="connsiteY47" fmla="*/ 1155700 h 2286441"/>
              <a:gd name="connsiteX48" fmla="*/ 3219634 w 3892734"/>
              <a:gd name="connsiteY48" fmla="*/ 1181100 h 2286441"/>
              <a:gd name="connsiteX49" fmla="*/ 3135496 w 3892734"/>
              <a:gd name="connsiteY49" fmla="*/ 1299916 h 2286441"/>
              <a:gd name="connsiteX50" fmla="*/ 2991034 w 3892734"/>
              <a:gd name="connsiteY50" fmla="*/ 1601049 h 2286441"/>
              <a:gd name="connsiteX51" fmla="*/ 2846571 w 3892734"/>
              <a:gd name="connsiteY51" fmla="*/ 1861399 h 2286441"/>
              <a:gd name="connsiteX52" fmla="*/ 2667184 w 3892734"/>
              <a:gd name="connsiteY52" fmla="*/ 2145316 h 2286441"/>
              <a:gd name="connsiteX53" fmla="*/ 2587809 w 3892734"/>
              <a:gd name="connsiteY53" fmla="*/ 2206268 h 2286441"/>
              <a:gd name="connsiteX54" fmla="*/ 2484621 w 3892734"/>
              <a:gd name="connsiteY54" fmla="*/ 2281349 h 2286441"/>
              <a:gd name="connsiteX55" fmla="*/ 2248084 w 3892734"/>
              <a:gd name="connsiteY55" fmla="*/ 2286441 h 2286441"/>
              <a:gd name="connsiteX56" fmla="*/ 2036946 w 3892734"/>
              <a:gd name="connsiteY56" fmla="*/ 2106231 h 2286441"/>
              <a:gd name="connsiteX57" fmla="*/ 1908359 w 3892734"/>
              <a:gd name="connsiteY57" fmla="*/ 1872537 h 2286441"/>
              <a:gd name="connsiteX58" fmla="*/ 1832158 w 3892734"/>
              <a:gd name="connsiteY58" fmla="*/ 1747371 h 2286441"/>
              <a:gd name="connsiteX59" fmla="*/ 1719447 w 3892734"/>
              <a:gd name="connsiteY59" fmla="*/ 1606380 h 2286441"/>
              <a:gd name="connsiteX60" fmla="*/ 1578160 w 3892734"/>
              <a:gd name="connsiteY60" fmla="*/ 1426137 h 2286441"/>
              <a:gd name="connsiteX61" fmla="*/ 1433697 w 3892734"/>
              <a:gd name="connsiteY61" fmla="*/ 1317171 h 2286441"/>
              <a:gd name="connsiteX62" fmla="*/ 1101909 w 3892734"/>
              <a:gd name="connsiteY62" fmla="*/ 1573782 h 2286441"/>
              <a:gd name="connsiteX63" fmla="*/ 895535 w 3892734"/>
              <a:gd name="connsiteY63" fmla="*/ 1609913 h 2286441"/>
              <a:gd name="connsiteX64" fmla="*/ 781234 w 3892734"/>
              <a:gd name="connsiteY64" fmla="*/ 1591782 h 2286441"/>
              <a:gd name="connsiteX65" fmla="*/ 538346 w 3892734"/>
              <a:gd name="connsiteY65" fmla="*/ 1642309 h 2286441"/>
              <a:gd name="connsiteX66" fmla="*/ 397059 w 3892734"/>
              <a:gd name="connsiteY66" fmla="*/ 1620170 h 2286441"/>
              <a:gd name="connsiteX67" fmla="*/ 12884 w 3892734"/>
              <a:gd name="connsiteY67" fmla="*/ 1221921 h 2286441"/>
              <a:gd name="connsiteX68" fmla="*/ 184 w 3892734"/>
              <a:gd name="connsiteY68" fmla="*/ 0 h 2286441"/>
              <a:gd name="connsiteX0" fmla="*/ 184 w 3892734"/>
              <a:gd name="connsiteY0" fmla="*/ 0 h 2286441"/>
              <a:gd name="connsiteX1" fmla="*/ 266884 w 3892734"/>
              <a:gd name="connsiteY1" fmla="*/ 1162050 h 2286441"/>
              <a:gd name="connsiteX2" fmla="*/ 322447 w 3892734"/>
              <a:gd name="connsiteY2" fmla="*/ 1258421 h 2286441"/>
              <a:gd name="connsiteX3" fmla="*/ 376422 w 3892734"/>
              <a:gd name="connsiteY3" fmla="*/ 1353535 h 2286441"/>
              <a:gd name="connsiteX4" fmla="*/ 412934 w 3892734"/>
              <a:gd name="connsiteY4" fmla="*/ 1314450 h 2286441"/>
              <a:gd name="connsiteX5" fmla="*/ 514534 w 3892734"/>
              <a:gd name="connsiteY5" fmla="*/ 996950 h 2286441"/>
              <a:gd name="connsiteX6" fmla="*/ 584384 w 3892734"/>
              <a:gd name="connsiteY6" fmla="*/ 641350 h 2286441"/>
              <a:gd name="connsiteX7" fmla="*/ 641534 w 3892734"/>
              <a:gd name="connsiteY7" fmla="*/ 444500 h 2286441"/>
              <a:gd name="connsiteX8" fmla="*/ 692334 w 3892734"/>
              <a:gd name="connsiteY8" fmla="*/ 330200 h 2286441"/>
              <a:gd name="connsiteX9" fmla="*/ 724084 w 3892734"/>
              <a:gd name="connsiteY9" fmla="*/ 279400 h 2286441"/>
              <a:gd name="connsiteX10" fmla="*/ 806634 w 3892734"/>
              <a:gd name="connsiteY10" fmla="*/ 334581 h 2286441"/>
              <a:gd name="connsiteX11" fmla="*/ 941571 w 3892734"/>
              <a:gd name="connsiteY11" fmla="*/ 603691 h 2286441"/>
              <a:gd name="connsiteX12" fmla="*/ 992372 w 3892734"/>
              <a:gd name="connsiteY12" fmla="*/ 744240 h 2286441"/>
              <a:gd name="connsiteX13" fmla="*/ 1093972 w 3892734"/>
              <a:gd name="connsiteY13" fmla="*/ 842884 h 2286441"/>
              <a:gd name="connsiteX14" fmla="*/ 1198746 w 3892734"/>
              <a:gd name="connsiteY14" fmla="*/ 780371 h 2286441"/>
              <a:gd name="connsiteX15" fmla="*/ 1463858 w 3892734"/>
              <a:gd name="connsiteY15" fmla="*/ 558528 h 2286441"/>
              <a:gd name="connsiteX16" fmla="*/ 1313046 w 3892734"/>
              <a:gd name="connsiteY16" fmla="*/ 369148 h 2286441"/>
              <a:gd name="connsiteX17" fmla="*/ 1352734 w 3892734"/>
              <a:gd name="connsiteY17" fmla="*/ 292100 h 2286441"/>
              <a:gd name="connsiteX18" fmla="*/ 1397184 w 3892734"/>
              <a:gd name="connsiteY18" fmla="*/ 254000 h 2286441"/>
              <a:gd name="connsiteX19" fmla="*/ 1486084 w 3892734"/>
              <a:gd name="connsiteY19" fmla="*/ 285750 h 2286441"/>
              <a:gd name="connsiteX20" fmla="*/ 1581334 w 3892734"/>
              <a:gd name="connsiteY20" fmla="*/ 438150 h 2286441"/>
              <a:gd name="connsiteX21" fmla="*/ 1670234 w 3892734"/>
              <a:gd name="connsiteY21" fmla="*/ 654050 h 2286441"/>
              <a:gd name="connsiteX22" fmla="*/ 1905184 w 3892734"/>
              <a:gd name="connsiteY22" fmla="*/ 1066800 h 2286441"/>
              <a:gd name="connsiteX23" fmla="*/ 2006784 w 3892734"/>
              <a:gd name="connsiteY23" fmla="*/ 1212850 h 2286441"/>
              <a:gd name="connsiteX24" fmla="*/ 2082984 w 3892734"/>
              <a:gd name="connsiteY24" fmla="*/ 1295400 h 2286441"/>
              <a:gd name="connsiteX25" fmla="*/ 2190934 w 3892734"/>
              <a:gd name="connsiteY25" fmla="*/ 1263650 h 2286441"/>
              <a:gd name="connsiteX26" fmla="*/ 2235384 w 3892734"/>
              <a:gd name="connsiteY26" fmla="*/ 1168400 h 2286441"/>
              <a:gd name="connsiteX27" fmla="*/ 2292534 w 3892734"/>
              <a:gd name="connsiteY27" fmla="*/ 1016000 h 2286441"/>
              <a:gd name="connsiteX28" fmla="*/ 2368734 w 3892734"/>
              <a:gd name="connsiteY28" fmla="*/ 876300 h 2286441"/>
              <a:gd name="connsiteX29" fmla="*/ 2425884 w 3892734"/>
              <a:gd name="connsiteY29" fmla="*/ 787400 h 2286441"/>
              <a:gd name="connsiteX30" fmla="*/ 2476684 w 3892734"/>
              <a:gd name="connsiteY30" fmla="*/ 749300 h 2286441"/>
              <a:gd name="connsiteX31" fmla="*/ 2546534 w 3892734"/>
              <a:gd name="connsiteY31" fmla="*/ 736600 h 2286441"/>
              <a:gd name="connsiteX32" fmla="*/ 2654484 w 3892734"/>
              <a:gd name="connsiteY32" fmla="*/ 781050 h 2286441"/>
              <a:gd name="connsiteX33" fmla="*/ 2756084 w 3892734"/>
              <a:gd name="connsiteY33" fmla="*/ 838200 h 2286441"/>
              <a:gd name="connsiteX34" fmla="*/ 2851334 w 3892734"/>
              <a:gd name="connsiteY34" fmla="*/ 901700 h 2286441"/>
              <a:gd name="connsiteX35" fmla="*/ 2997384 w 3892734"/>
              <a:gd name="connsiteY35" fmla="*/ 920750 h 2286441"/>
              <a:gd name="connsiteX36" fmla="*/ 3175184 w 3892734"/>
              <a:gd name="connsiteY36" fmla="*/ 895350 h 2286441"/>
              <a:gd name="connsiteX37" fmla="*/ 3295834 w 3892734"/>
              <a:gd name="connsiteY37" fmla="*/ 774700 h 2286441"/>
              <a:gd name="connsiteX38" fmla="*/ 3391084 w 3892734"/>
              <a:gd name="connsiteY38" fmla="*/ 628650 h 2286441"/>
              <a:gd name="connsiteX39" fmla="*/ 3486334 w 3892734"/>
              <a:gd name="connsiteY39" fmla="*/ 495300 h 2286441"/>
              <a:gd name="connsiteX40" fmla="*/ 3594284 w 3892734"/>
              <a:gd name="connsiteY40" fmla="*/ 412750 h 2286441"/>
              <a:gd name="connsiteX41" fmla="*/ 3714934 w 3892734"/>
              <a:gd name="connsiteY41" fmla="*/ 406400 h 2286441"/>
              <a:gd name="connsiteX42" fmla="*/ 3892734 w 3892734"/>
              <a:gd name="connsiteY42" fmla="*/ 412750 h 2286441"/>
              <a:gd name="connsiteX43" fmla="*/ 3892734 w 3892734"/>
              <a:gd name="connsiteY43" fmla="*/ 755650 h 2286441"/>
              <a:gd name="connsiteX44" fmla="*/ 3708584 w 3892734"/>
              <a:gd name="connsiteY44" fmla="*/ 958850 h 2286441"/>
              <a:gd name="connsiteX45" fmla="*/ 3611747 w 3892734"/>
              <a:gd name="connsiteY45" fmla="*/ 1039839 h 2286441"/>
              <a:gd name="connsiteX46" fmla="*/ 3479984 w 3892734"/>
              <a:gd name="connsiteY46" fmla="*/ 1124086 h 2286441"/>
              <a:gd name="connsiteX47" fmla="*/ 3340284 w 3892734"/>
              <a:gd name="connsiteY47" fmla="*/ 1155700 h 2286441"/>
              <a:gd name="connsiteX48" fmla="*/ 3219634 w 3892734"/>
              <a:gd name="connsiteY48" fmla="*/ 1181100 h 2286441"/>
              <a:gd name="connsiteX49" fmla="*/ 3135496 w 3892734"/>
              <a:gd name="connsiteY49" fmla="*/ 1299916 h 2286441"/>
              <a:gd name="connsiteX50" fmla="*/ 2991034 w 3892734"/>
              <a:gd name="connsiteY50" fmla="*/ 1601049 h 2286441"/>
              <a:gd name="connsiteX51" fmla="*/ 2846571 w 3892734"/>
              <a:gd name="connsiteY51" fmla="*/ 1861399 h 2286441"/>
              <a:gd name="connsiteX52" fmla="*/ 2667184 w 3892734"/>
              <a:gd name="connsiteY52" fmla="*/ 2145316 h 2286441"/>
              <a:gd name="connsiteX53" fmla="*/ 2587809 w 3892734"/>
              <a:gd name="connsiteY53" fmla="*/ 2206268 h 2286441"/>
              <a:gd name="connsiteX54" fmla="*/ 2484621 w 3892734"/>
              <a:gd name="connsiteY54" fmla="*/ 2281349 h 2286441"/>
              <a:gd name="connsiteX55" fmla="*/ 2248084 w 3892734"/>
              <a:gd name="connsiteY55" fmla="*/ 2286441 h 2286441"/>
              <a:gd name="connsiteX56" fmla="*/ 2036946 w 3892734"/>
              <a:gd name="connsiteY56" fmla="*/ 2106231 h 2286441"/>
              <a:gd name="connsiteX57" fmla="*/ 1908359 w 3892734"/>
              <a:gd name="connsiteY57" fmla="*/ 1872537 h 2286441"/>
              <a:gd name="connsiteX58" fmla="*/ 1832158 w 3892734"/>
              <a:gd name="connsiteY58" fmla="*/ 1747371 h 2286441"/>
              <a:gd name="connsiteX59" fmla="*/ 1719447 w 3892734"/>
              <a:gd name="connsiteY59" fmla="*/ 1606380 h 2286441"/>
              <a:gd name="connsiteX60" fmla="*/ 1578160 w 3892734"/>
              <a:gd name="connsiteY60" fmla="*/ 1426137 h 2286441"/>
              <a:gd name="connsiteX61" fmla="*/ 1433697 w 3892734"/>
              <a:gd name="connsiteY61" fmla="*/ 1317171 h 2286441"/>
              <a:gd name="connsiteX62" fmla="*/ 1101909 w 3892734"/>
              <a:gd name="connsiteY62" fmla="*/ 1573782 h 2286441"/>
              <a:gd name="connsiteX63" fmla="*/ 895535 w 3892734"/>
              <a:gd name="connsiteY63" fmla="*/ 1609913 h 2286441"/>
              <a:gd name="connsiteX64" fmla="*/ 781234 w 3892734"/>
              <a:gd name="connsiteY64" fmla="*/ 1591782 h 2286441"/>
              <a:gd name="connsiteX65" fmla="*/ 538346 w 3892734"/>
              <a:gd name="connsiteY65" fmla="*/ 1642309 h 2286441"/>
              <a:gd name="connsiteX66" fmla="*/ 397059 w 3892734"/>
              <a:gd name="connsiteY66" fmla="*/ 1620170 h 2286441"/>
              <a:gd name="connsiteX67" fmla="*/ 12884 w 3892734"/>
              <a:gd name="connsiteY67" fmla="*/ 1221921 h 2286441"/>
              <a:gd name="connsiteX68" fmla="*/ 184 w 3892734"/>
              <a:gd name="connsiteY68" fmla="*/ 0 h 2286441"/>
              <a:gd name="connsiteX0" fmla="*/ 184 w 3892734"/>
              <a:gd name="connsiteY0" fmla="*/ 0 h 2286441"/>
              <a:gd name="connsiteX1" fmla="*/ 266884 w 3892734"/>
              <a:gd name="connsiteY1" fmla="*/ 1162050 h 2286441"/>
              <a:gd name="connsiteX2" fmla="*/ 322447 w 3892734"/>
              <a:gd name="connsiteY2" fmla="*/ 1258421 h 2286441"/>
              <a:gd name="connsiteX3" fmla="*/ 376422 w 3892734"/>
              <a:gd name="connsiteY3" fmla="*/ 1353535 h 2286441"/>
              <a:gd name="connsiteX4" fmla="*/ 412934 w 3892734"/>
              <a:gd name="connsiteY4" fmla="*/ 1314450 h 2286441"/>
              <a:gd name="connsiteX5" fmla="*/ 514534 w 3892734"/>
              <a:gd name="connsiteY5" fmla="*/ 996950 h 2286441"/>
              <a:gd name="connsiteX6" fmla="*/ 584384 w 3892734"/>
              <a:gd name="connsiteY6" fmla="*/ 641350 h 2286441"/>
              <a:gd name="connsiteX7" fmla="*/ 641534 w 3892734"/>
              <a:gd name="connsiteY7" fmla="*/ 444500 h 2286441"/>
              <a:gd name="connsiteX8" fmla="*/ 692334 w 3892734"/>
              <a:gd name="connsiteY8" fmla="*/ 330200 h 2286441"/>
              <a:gd name="connsiteX9" fmla="*/ 724084 w 3892734"/>
              <a:gd name="connsiteY9" fmla="*/ 279400 h 2286441"/>
              <a:gd name="connsiteX10" fmla="*/ 806634 w 3892734"/>
              <a:gd name="connsiteY10" fmla="*/ 334581 h 2286441"/>
              <a:gd name="connsiteX11" fmla="*/ 941571 w 3892734"/>
              <a:gd name="connsiteY11" fmla="*/ 603691 h 2286441"/>
              <a:gd name="connsiteX12" fmla="*/ 992372 w 3892734"/>
              <a:gd name="connsiteY12" fmla="*/ 744240 h 2286441"/>
              <a:gd name="connsiteX13" fmla="*/ 1093972 w 3892734"/>
              <a:gd name="connsiteY13" fmla="*/ 842884 h 2286441"/>
              <a:gd name="connsiteX14" fmla="*/ 1198746 w 3892734"/>
              <a:gd name="connsiteY14" fmla="*/ 780371 h 2286441"/>
              <a:gd name="connsiteX15" fmla="*/ 1297171 w 3892734"/>
              <a:gd name="connsiteY15" fmla="*/ 635305 h 2286441"/>
              <a:gd name="connsiteX16" fmla="*/ 1313046 w 3892734"/>
              <a:gd name="connsiteY16" fmla="*/ 369148 h 2286441"/>
              <a:gd name="connsiteX17" fmla="*/ 1352734 w 3892734"/>
              <a:gd name="connsiteY17" fmla="*/ 292100 h 2286441"/>
              <a:gd name="connsiteX18" fmla="*/ 1397184 w 3892734"/>
              <a:gd name="connsiteY18" fmla="*/ 254000 h 2286441"/>
              <a:gd name="connsiteX19" fmla="*/ 1486084 w 3892734"/>
              <a:gd name="connsiteY19" fmla="*/ 285750 h 2286441"/>
              <a:gd name="connsiteX20" fmla="*/ 1581334 w 3892734"/>
              <a:gd name="connsiteY20" fmla="*/ 438150 h 2286441"/>
              <a:gd name="connsiteX21" fmla="*/ 1670234 w 3892734"/>
              <a:gd name="connsiteY21" fmla="*/ 654050 h 2286441"/>
              <a:gd name="connsiteX22" fmla="*/ 1905184 w 3892734"/>
              <a:gd name="connsiteY22" fmla="*/ 1066800 h 2286441"/>
              <a:gd name="connsiteX23" fmla="*/ 2006784 w 3892734"/>
              <a:gd name="connsiteY23" fmla="*/ 1212850 h 2286441"/>
              <a:gd name="connsiteX24" fmla="*/ 2082984 w 3892734"/>
              <a:gd name="connsiteY24" fmla="*/ 1295400 h 2286441"/>
              <a:gd name="connsiteX25" fmla="*/ 2190934 w 3892734"/>
              <a:gd name="connsiteY25" fmla="*/ 1263650 h 2286441"/>
              <a:gd name="connsiteX26" fmla="*/ 2235384 w 3892734"/>
              <a:gd name="connsiteY26" fmla="*/ 1168400 h 2286441"/>
              <a:gd name="connsiteX27" fmla="*/ 2292534 w 3892734"/>
              <a:gd name="connsiteY27" fmla="*/ 1016000 h 2286441"/>
              <a:gd name="connsiteX28" fmla="*/ 2368734 w 3892734"/>
              <a:gd name="connsiteY28" fmla="*/ 876300 h 2286441"/>
              <a:gd name="connsiteX29" fmla="*/ 2425884 w 3892734"/>
              <a:gd name="connsiteY29" fmla="*/ 787400 h 2286441"/>
              <a:gd name="connsiteX30" fmla="*/ 2476684 w 3892734"/>
              <a:gd name="connsiteY30" fmla="*/ 749300 h 2286441"/>
              <a:gd name="connsiteX31" fmla="*/ 2546534 w 3892734"/>
              <a:gd name="connsiteY31" fmla="*/ 736600 h 2286441"/>
              <a:gd name="connsiteX32" fmla="*/ 2654484 w 3892734"/>
              <a:gd name="connsiteY32" fmla="*/ 781050 h 2286441"/>
              <a:gd name="connsiteX33" fmla="*/ 2756084 w 3892734"/>
              <a:gd name="connsiteY33" fmla="*/ 838200 h 2286441"/>
              <a:gd name="connsiteX34" fmla="*/ 2851334 w 3892734"/>
              <a:gd name="connsiteY34" fmla="*/ 901700 h 2286441"/>
              <a:gd name="connsiteX35" fmla="*/ 2997384 w 3892734"/>
              <a:gd name="connsiteY35" fmla="*/ 920750 h 2286441"/>
              <a:gd name="connsiteX36" fmla="*/ 3175184 w 3892734"/>
              <a:gd name="connsiteY36" fmla="*/ 895350 h 2286441"/>
              <a:gd name="connsiteX37" fmla="*/ 3295834 w 3892734"/>
              <a:gd name="connsiteY37" fmla="*/ 774700 h 2286441"/>
              <a:gd name="connsiteX38" fmla="*/ 3391084 w 3892734"/>
              <a:gd name="connsiteY38" fmla="*/ 628650 h 2286441"/>
              <a:gd name="connsiteX39" fmla="*/ 3486334 w 3892734"/>
              <a:gd name="connsiteY39" fmla="*/ 495300 h 2286441"/>
              <a:gd name="connsiteX40" fmla="*/ 3594284 w 3892734"/>
              <a:gd name="connsiteY40" fmla="*/ 412750 h 2286441"/>
              <a:gd name="connsiteX41" fmla="*/ 3714934 w 3892734"/>
              <a:gd name="connsiteY41" fmla="*/ 406400 h 2286441"/>
              <a:gd name="connsiteX42" fmla="*/ 3892734 w 3892734"/>
              <a:gd name="connsiteY42" fmla="*/ 412750 h 2286441"/>
              <a:gd name="connsiteX43" fmla="*/ 3892734 w 3892734"/>
              <a:gd name="connsiteY43" fmla="*/ 755650 h 2286441"/>
              <a:gd name="connsiteX44" fmla="*/ 3708584 w 3892734"/>
              <a:gd name="connsiteY44" fmla="*/ 958850 h 2286441"/>
              <a:gd name="connsiteX45" fmla="*/ 3611747 w 3892734"/>
              <a:gd name="connsiteY45" fmla="*/ 1039839 h 2286441"/>
              <a:gd name="connsiteX46" fmla="*/ 3479984 w 3892734"/>
              <a:gd name="connsiteY46" fmla="*/ 1124086 h 2286441"/>
              <a:gd name="connsiteX47" fmla="*/ 3340284 w 3892734"/>
              <a:gd name="connsiteY47" fmla="*/ 1155700 h 2286441"/>
              <a:gd name="connsiteX48" fmla="*/ 3219634 w 3892734"/>
              <a:gd name="connsiteY48" fmla="*/ 1181100 h 2286441"/>
              <a:gd name="connsiteX49" fmla="*/ 3135496 w 3892734"/>
              <a:gd name="connsiteY49" fmla="*/ 1299916 h 2286441"/>
              <a:gd name="connsiteX50" fmla="*/ 2991034 w 3892734"/>
              <a:gd name="connsiteY50" fmla="*/ 1601049 h 2286441"/>
              <a:gd name="connsiteX51" fmla="*/ 2846571 w 3892734"/>
              <a:gd name="connsiteY51" fmla="*/ 1861399 h 2286441"/>
              <a:gd name="connsiteX52" fmla="*/ 2667184 w 3892734"/>
              <a:gd name="connsiteY52" fmla="*/ 2145316 h 2286441"/>
              <a:gd name="connsiteX53" fmla="*/ 2587809 w 3892734"/>
              <a:gd name="connsiteY53" fmla="*/ 2206268 h 2286441"/>
              <a:gd name="connsiteX54" fmla="*/ 2484621 w 3892734"/>
              <a:gd name="connsiteY54" fmla="*/ 2281349 h 2286441"/>
              <a:gd name="connsiteX55" fmla="*/ 2248084 w 3892734"/>
              <a:gd name="connsiteY55" fmla="*/ 2286441 h 2286441"/>
              <a:gd name="connsiteX56" fmla="*/ 2036946 w 3892734"/>
              <a:gd name="connsiteY56" fmla="*/ 2106231 h 2286441"/>
              <a:gd name="connsiteX57" fmla="*/ 1908359 w 3892734"/>
              <a:gd name="connsiteY57" fmla="*/ 1872537 h 2286441"/>
              <a:gd name="connsiteX58" fmla="*/ 1832158 w 3892734"/>
              <a:gd name="connsiteY58" fmla="*/ 1747371 h 2286441"/>
              <a:gd name="connsiteX59" fmla="*/ 1719447 w 3892734"/>
              <a:gd name="connsiteY59" fmla="*/ 1606380 h 2286441"/>
              <a:gd name="connsiteX60" fmla="*/ 1578160 w 3892734"/>
              <a:gd name="connsiteY60" fmla="*/ 1426137 h 2286441"/>
              <a:gd name="connsiteX61" fmla="*/ 1433697 w 3892734"/>
              <a:gd name="connsiteY61" fmla="*/ 1317171 h 2286441"/>
              <a:gd name="connsiteX62" fmla="*/ 1101909 w 3892734"/>
              <a:gd name="connsiteY62" fmla="*/ 1573782 h 2286441"/>
              <a:gd name="connsiteX63" fmla="*/ 895535 w 3892734"/>
              <a:gd name="connsiteY63" fmla="*/ 1609913 h 2286441"/>
              <a:gd name="connsiteX64" fmla="*/ 781234 w 3892734"/>
              <a:gd name="connsiteY64" fmla="*/ 1591782 h 2286441"/>
              <a:gd name="connsiteX65" fmla="*/ 538346 w 3892734"/>
              <a:gd name="connsiteY65" fmla="*/ 1642309 h 2286441"/>
              <a:gd name="connsiteX66" fmla="*/ 397059 w 3892734"/>
              <a:gd name="connsiteY66" fmla="*/ 1620170 h 2286441"/>
              <a:gd name="connsiteX67" fmla="*/ 12884 w 3892734"/>
              <a:gd name="connsiteY67" fmla="*/ 1221921 h 2286441"/>
              <a:gd name="connsiteX68" fmla="*/ 184 w 3892734"/>
              <a:gd name="connsiteY68" fmla="*/ 0 h 2286441"/>
              <a:gd name="connsiteX0" fmla="*/ 184 w 3892734"/>
              <a:gd name="connsiteY0" fmla="*/ 0 h 2286441"/>
              <a:gd name="connsiteX1" fmla="*/ 266884 w 3892734"/>
              <a:gd name="connsiteY1" fmla="*/ 1162050 h 2286441"/>
              <a:gd name="connsiteX2" fmla="*/ 322447 w 3892734"/>
              <a:gd name="connsiteY2" fmla="*/ 1258421 h 2286441"/>
              <a:gd name="connsiteX3" fmla="*/ 376422 w 3892734"/>
              <a:gd name="connsiteY3" fmla="*/ 1353535 h 2286441"/>
              <a:gd name="connsiteX4" fmla="*/ 412934 w 3892734"/>
              <a:gd name="connsiteY4" fmla="*/ 1314450 h 2286441"/>
              <a:gd name="connsiteX5" fmla="*/ 514534 w 3892734"/>
              <a:gd name="connsiteY5" fmla="*/ 996950 h 2286441"/>
              <a:gd name="connsiteX6" fmla="*/ 584384 w 3892734"/>
              <a:gd name="connsiteY6" fmla="*/ 641350 h 2286441"/>
              <a:gd name="connsiteX7" fmla="*/ 641534 w 3892734"/>
              <a:gd name="connsiteY7" fmla="*/ 444500 h 2286441"/>
              <a:gd name="connsiteX8" fmla="*/ 692334 w 3892734"/>
              <a:gd name="connsiteY8" fmla="*/ 330200 h 2286441"/>
              <a:gd name="connsiteX9" fmla="*/ 724084 w 3892734"/>
              <a:gd name="connsiteY9" fmla="*/ 279400 h 2286441"/>
              <a:gd name="connsiteX10" fmla="*/ 806634 w 3892734"/>
              <a:gd name="connsiteY10" fmla="*/ 334581 h 2286441"/>
              <a:gd name="connsiteX11" fmla="*/ 941571 w 3892734"/>
              <a:gd name="connsiteY11" fmla="*/ 603691 h 2286441"/>
              <a:gd name="connsiteX12" fmla="*/ 992372 w 3892734"/>
              <a:gd name="connsiteY12" fmla="*/ 744240 h 2286441"/>
              <a:gd name="connsiteX13" fmla="*/ 1093972 w 3892734"/>
              <a:gd name="connsiteY13" fmla="*/ 842884 h 2286441"/>
              <a:gd name="connsiteX14" fmla="*/ 1198746 w 3892734"/>
              <a:gd name="connsiteY14" fmla="*/ 780371 h 2286441"/>
              <a:gd name="connsiteX15" fmla="*/ 1297171 w 3892734"/>
              <a:gd name="connsiteY15" fmla="*/ 635305 h 2286441"/>
              <a:gd name="connsiteX16" fmla="*/ 1352734 w 3892734"/>
              <a:gd name="connsiteY16" fmla="*/ 292100 h 2286441"/>
              <a:gd name="connsiteX17" fmla="*/ 1397184 w 3892734"/>
              <a:gd name="connsiteY17" fmla="*/ 254000 h 2286441"/>
              <a:gd name="connsiteX18" fmla="*/ 1486084 w 3892734"/>
              <a:gd name="connsiteY18" fmla="*/ 285750 h 2286441"/>
              <a:gd name="connsiteX19" fmla="*/ 1581334 w 3892734"/>
              <a:gd name="connsiteY19" fmla="*/ 438150 h 2286441"/>
              <a:gd name="connsiteX20" fmla="*/ 1670234 w 3892734"/>
              <a:gd name="connsiteY20" fmla="*/ 654050 h 2286441"/>
              <a:gd name="connsiteX21" fmla="*/ 1905184 w 3892734"/>
              <a:gd name="connsiteY21" fmla="*/ 1066800 h 2286441"/>
              <a:gd name="connsiteX22" fmla="*/ 2006784 w 3892734"/>
              <a:gd name="connsiteY22" fmla="*/ 1212850 h 2286441"/>
              <a:gd name="connsiteX23" fmla="*/ 2082984 w 3892734"/>
              <a:gd name="connsiteY23" fmla="*/ 1295400 h 2286441"/>
              <a:gd name="connsiteX24" fmla="*/ 2190934 w 3892734"/>
              <a:gd name="connsiteY24" fmla="*/ 1263650 h 2286441"/>
              <a:gd name="connsiteX25" fmla="*/ 2235384 w 3892734"/>
              <a:gd name="connsiteY25" fmla="*/ 1168400 h 2286441"/>
              <a:gd name="connsiteX26" fmla="*/ 2292534 w 3892734"/>
              <a:gd name="connsiteY26" fmla="*/ 1016000 h 2286441"/>
              <a:gd name="connsiteX27" fmla="*/ 2368734 w 3892734"/>
              <a:gd name="connsiteY27" fmla="*/ 876300 h 2286441"/>
              <a:gd name="connsiteX28" fmla="*/ 2425884 w 3892734"/>
              <a:gd name="connsiteY28" fmla="*/ 787400 h 2286441"/>
              <a:gd name="connsiteX29" fmla="*/ 2476684 w 3892734"/>
              <a:gd name="connsiteY29" fmla="*/ 749300 h 2286441"/>
              <a:gd name="connsiteX30" fmla="*/ 2546534 w 3892734"/>
              <a:gd name="connsiteY30" fmla="*/ 736600 h 2286441"/>
              <a:gd name="connsiteX31" fmla="*/ 2654484 w 3892734"/>
              <a:gd name="connsiteY31" fmla="*/ 781050 h 2286441"/>
              <a:gd name="connsiteX32" fmla="*/ 2756084 w 3892734"/>
              <a:gd name="connsiteY32" fmla="*/ 838200 h 2286441"/>
              <a:gd name="connsiteX33" fmla="*/ 2851334 w 3892734"/>
              <a:gd name="connsiteY33" fmla="*/ 901700 h 2286441"/>
              <a:gd name="connsiteX34" fmla="*/ 2997384 w 3892734"/>
              <a:gd name="connsiteY34" fmla="*/ 920750 h 2286441"/>
              <a:gd name="connsiteX35" fmla="*/ 3175184 w 3892734"/>
              <a:gd name="connsiteY35" fmla="*/ 895350 h 2286441"/>
              <a:gd name="connsiteX36" fmla="*/ 3295834 w 3892734"/>
              <a:gd name="connsiteY36" fmla="*/ 774700 h 2286441"/>
              <a:gd name="connsiteX37" fmla="*/ 3391084 w 3892734"/>
              <a:gd name="connsiteY37" fmla="*/ 628650 h 2286441"/>
              <a:gd name="connsiteX38" fmla="*/ 3486334 w 3892734"/>
              <a:gd name="connsiteY38" fmla="*/ 495300 h 2286441"/>
              <a:gd name="connsiteX39" fmla="*/ 3594284 w 3892734"/>
              <a:gd name="connsiteY39" fmla="*/ 412750 h 2286441"/>
              <a:gd name="connsiteX40" fmla="*/ 3714934 w 3892734"/>
              <a:gd name="connsiteY40" fmla="*/ 406400 h 2286441"/>
              <a:gd name="connsiteX41" fmla="*/ 3892734 w 3892734"/>
              <a:gd name="connsiteY41" fmla="*/ 412750 h 2286441"/>
              <a:gd name="connsiteX42" fmla="*/ 3892734 w 3892734"/>
              <a:gd name="connsiteY42" fmla="*/ 755650 h 2286441"/>
              <a:gd name="connsiteX43" fmla="*/ 3708584 w 3892734"/>
              <a:gd name="connsiteY43" fmla="*/ 958850 h 2286441"/>
              <a:gd name="connsiteX44" fmla="*/ 3611747 w 3892734"/>
              <a:gd name="connsiteY44" fmla="*/ 1039839 h 2286441"/>
              <a:gd name="connsiteX45" fmla="*/ 3479984 w 3892734"/>
              <a:gd name="connsiteY45" fmla="*/ 1124086 h 2286441"/>
              <a:gd name="connsiteX46" fmla="*/ 3340284 w 3892734"/>
              <a:gd name="connsiteY46" fmla="*/ 1155700 h 2286441"/>
              <a:gd name="connsiteX47" fmla="*/ 3219634 w 3892734"/>
              <a:gd name="connsiteY47" fmla="*/ 1181100 h 2286441"/>
              <a:gd name="connsiteX48" fmla="*/ 3135496 w 3892734"/>
              <a:gd name="connsiteY48" fmla="*/ 1299916 h 2286441"/>
              <a:gd name="connsiteX49" fmla="*/ 2991034 w 3892734"/>
              <a:gd name="connsiteY49" fmla="*/ 1601049 h 2286441"/>
              <a:gd name="connsiteX50" fmla="*/ 2846571 w 3892734"/>
              <a:gd name="connsiteY50" fmla="*/ 1861399 h 2286441"/>
              <a:gd name="connsiteX51" fmla="*/ 2667184 w 3892734"/>
              <a:gd name="connsiteY51" fmla="*/ 2145316 h 2286441"/>
              <a:gd name="connsiteX52" fmla="*/ 2587809 w 3892734"/>
              <a:gd name="connsiteY52" fmla="*/ 2206268 h 2286441"/>
              <a:gd name="connsiteX53" fmla="*/ 2484621 w 3892734"/>
              <a:gd name="connsiteY53" fmla="*/ 2281349 h 2286441"/>
              <a:gd name="connsiteX54" fmla="*/ 2248084 w 3892734"/>
              <a:gd name="connsiteY54" fmla="*/ 2286441 h 2286441"/>
              <a:gd name="connsiteX55" fmla="*/ 2036946 w 3892734"/>
              <a:gd name="connsiteY55" fmla="*/ 2106231 h 2286441"/>
              <a:gd name="connsiteX56" fmla="*/ 1908359 w 3892734"/>
              <a:gd name="connsiteY56" fmla="*/ 1872537 h 2286441"/>
              <a:gd name="connsiteX57" fmla="*/ 1832158 w 3892734"/>
              <a:gd name="connsiteY57" fmla="*/ 1747371 h 2286441"/>
              <a:gd name="connsiteX58" fmla="*/ 1719447 w 3892734"/>
              <a:gd name="connsiteY58" fmla="*/ 1606380 h 2286441"/>
              <a:gd name="connsiteX59" fmla="*/ 1578160 w 3892734"/>
              <a:gd name="connsiteY59" fmla="*/ 1426137 h 2286441"/>
              <a:gd name="connsiteX60" fmla="*/ 1433697 w 3892734"/>
              <a:gd name="connsiteY60" fmla="*/ 1317171 h 2286441"/>
              <a:gd name="connsiteX61" fmla="*/ 1101909 w 3892734"/>
              <a:gd name="connsiteY61" fmla="*/ 1573782 h 2286441"/>
              <a:gd name="connsiteX62" fmla="*/ 895535 w 3892734"/>
              <a:gd name="connsiteY62" fmla="*/ 1609913 h 2286441"/>
              <a:gd name="connsiteX63" fmla="*/ 781234 w 3892734"/>
              <a:gd name="connsiteY63" fmla="*/ 1591782 h 2286441"/>
              <a:gd name="connsiteX64" fmla="*/ 538346 w 3892734"/>
              <a:gd name="connsiteY64" fmla="*/ 1642309 h 2286441"/>
              <a:gd name="connsiteX65" fmla="*/ 397059 w 3892734"/>
              <a:gd name="connsiteY65" fmla="*/ 1620170 h 2286441"/>
              <a:gd name="connsiteX66" fmla="*/ 12884 w 3892734"/>
              <a:gd name="connsiteY66" fmla="*/ 1221921 h 2286441"/>
              <a:gd name="connsiteX67" fmla="*/ 184 w 3892734"/>
              <a:gd name="connsiteY67" fmla="*/ 0 h 2286441"/>
              <a:gd name="connsiteX0" fmla="*/ 184 w 3892734"/>
              <a:gd name="connsiteY0" fmla="*/ 0 h 2286441"/>
              <a:gd name="connsiteX1" fmla="*/ 266884 w 3892734"/>
              <a:gd name="connsiteY1" fmla="*/ 1162050 h 2286441"/>
              <a:gd name="connsiteX2" fmla="*/ 322447 w 3892734"/>
              <a:gd name="connsiteY2" fmla="*/ 1258421 h 2286441"/>
              <a:gd name="connsiteX3" fmla="*/ 376422 w 3892734"/>
              <a:gd name="connsiteY3" fmla="*/ 1353535 h 2286441"/>
              <a:gd name="connsiteX4" fmla="*/ 412934 w 3892734"/>
              <a:gd name="connsiteY4" fmla="*/ 1314450 h 2286441"/>
              <a:gd name="connsiteX5" fmla="*/ 514534 w 3892734"/>
              <a:gd name="connsiteY5" fmla="*/ 996950 h 2286441"/>
              <a:gd name="connsiteX6" fmla="*/ 584384 w 3892734"/>
              <a:gd name="connsiteY6" fmla="*/ 641350 h 2286441"/>
              <a:gd name="connsiteX7" fmla="*/ 641534 w 3892734"/>
              <a:gd name="connsiteY7" fmla="*/ 444500 h 2286441"/>
              <a:gd name="connsiteX8" fmla="*/ 692334 w 3892734"/>
              <a:gd name="connsiteY8" fmla="*/ 330200 h 2286441"/>
              <a:gd name="connsiteX9" fmla="*/ 724084 w 3892734"/>
              <a:gd name="connsiteY9" fmla="*/ 279400 h 2286441"/>
              <a:gd name="connsiteX10" fmla="*/ 806634 w 3892734"/>
              <a:gd name="connsiteY10" fmla="*/ 334581 h 2286441"/>
              <a:gd name="connsiteX11" fmla="*/ 941571 w 3892734"/>
              <a:gd name="connsiteY11" fmla="*/ 603691 h 2286441"/>
              <a:gd name="connsiteX12" fmla="*/ 992372 w 3892734"/>
              <a:gd name="connsiteY12" fmla="*/ 744240 h 2286441"/>
              <a:gd name="connsiteX13" fmla="*/ 1093972 w 3892734"/>
              <a:gd name="connsiteY13" fmla="*/ 842884 h 2286441"/>
              <a:gd name="connsiteX14" fmla="*/ 1198746 w 3892734"/>
              <a:gd name="connsiteY14" fmla="*/ 780371 h 2286441"/>
              <a:gd name="connsiteX15" fmla="*/ 1297171 w 3892734"/>
              <a:gd name="connsiteY15" fmla="*/ 635305 h 2286441"/>
              <a:gd name="connsiteX16" fmla="*/ 1397184 w 3892734"/>
              <a:gd name="connsiteY16" fmla="*/ 254000 h 2286441"/>
              <a:gd name="connsiteX17" fmla="*/ 1486084 w 3892734"/>
              <a:gd name="connsiteY17" fmla="*/ 285750 h 2286441"/>
              <a:gd name="connsiteX18" fmla="*/ 1581334 w 3892734"/>
              <a:gd name="connsiteY18" fmla="*/ 438150 h 2286441"/>
              <a:gd name="connsiteX19" fmla="*/ 1670234 w 3892734"/>
              <a:gd name="connsiteY19" fmla="*/ 654050 h 2286441"/>
              <a:gd name="connsiteX20" fmla="*/ 1905184 w 3892734"/>
              <a:gd name="connsiteY20" fmla="*/ 1066800 h 2286441"/>
              <a:gd name="connsiteX21" fmla="*/ 2006784 w 3892734"/>
              <a:gd name="connsiteY21" fmla="*/ 1212850 h 2286441"/>
              <a:gd name="connsiteX22" fmla="*/ 2082984 w 3892734"/>
              <a:gd name="connsiteY22" fmla="*/ 1295400 h 2286441"/>
              <a:gd name="connsiteX23" fmla="*/ 2190934 w 3892734"/>
              <a:gd name="connsiteY23" fmla="*/ 1263650 h 2286441"/>
              <a:gd name="connsiteX24" fmla="*/ 2235384 w 3892734"/>
              <a:gd name="connsiteY24" fmla="*/ 1168400 h 2286441"/>
              <a:gd name="connsiteX25" fmla="*/ 2292534 w 3892734"/>
              <a:gd name="connsiteY25" fmla="*/ 1016000 h 2286441"/>
              <a:gd name="connsiteX26" fmla="*/ 2368734 w 3892734"/>
              <a:gd name="connsiteY26" fmla="*/ 876300 h 2286441"/>
              <a:gd name="connsiteX27" fmla="*/ 2425884 w 3892734"/>
              <a:gd name="connsiteY27" fmla="*/ 787400 h 2286441"/>
              <a:gd name="connsiteX28" fmla="*/ 2476684 w 3892734"/>
              <a:gd name="connsiteY28" fmla="*/ 749300 h 2286441"/>
              <a:gd name="connsiteX29" fmla="*/ 2546534 w 3892734"/>
              <a:gd name="connsiteY29" fmla="*/ 736600 h 2286441"/>
              <a:gd name="connsiteX30" fmla="*/ 2654484 w 3892734"/>
              <a:gd name="connsiteY30" fmla="*/ 781050 h 2286441"/>
              <a:gd name="connsiteX31" fmla="*/ 2756084 w 3892734"/>
              <a:gd name="connsiteY31" fmla="*/ 838200 h 2286441"/>
              <a:gd name="connsiteX32" fmla="*/ 2851334 w 3892734"/>
              <a:gd name="connsiteY32" fmla="*/ 901700 h 2286441"/>
              <a:gd name="connsiteX33" fmla="*/ 2997384 w 3892734"/>
              <a:gd name="connsiteY33" fmla="*/ 920750 h 2286441"/>
              <a:gd name="connsiteX34" fmla="*/ 3175184 w 3892734"/>
              <a:gd name="connsiteY34" fmla="*/ 895350 h 2286441"/>
              <a:gd name="connsiteX35" fmla="*/ 3295834 w 3892734"/>
              <a:gd name="connsiteY35" fmla="*/ 774700 h 2286441"/>
              <a:gd name="connsiteX36" fmla="*/ 3391084 w 3892734"/>
              <a:gd name="connsiteY36" fmla="*/ 628650 h 2286441"/>
              <a:gd name="connsiteX37" fmla="*/ 3486334 w 3892734"/>
              <a:gd name="connsiteY37" fmla="*/ 495300 h 2286441"/>
              <a:gd name="connsiteX38" fmla="*/ 3594284 w 3892734"/>
              <a:gd name="connsiteY38" fmla="*/ 412750 h 2286441"/>
              <a:gd name="connsiteX39" fmla="*/ 3714934 w 3892734"/>
              <a:gd name="connsiteY39" fmla="*/ 406400 h 2286441"/>
              <a:gd name="connsiteX40" fmla="*/ 3892734 w 3892734"/>
              <a:gd name="connsiteY40" fmla="*/ 412750 h 2286441"/>
              <a:gd name="connsiteX41" fmla="*/ 3892734 w 3892734"/>
              <a:gd name="connsiteY41" fmla="*/ 755650 h 2286441"/>
              <a:gd name="connsiteX42" fmla="*/ 3708584 w 3892734"/>
              <a:gd name="connsiteY42" fmla="*/ 958850 h 2286441"/>
              <a:gd name="connsiteX43" fmla="*/ 3611747 w 3892734"/>
              <a:gd name="connsiteY43" fmla="*/ 1039839 h 2286441"/>
              <a:gd name="connsiteX44" fmla="*/ 3479984 w 3892734"/>
              <a:gd name="connsiteY44" fmla="*/ 1124086 h 2286441"/>
              <a:gd name="connsiteX45" fmla="*/ 3340284 w 3892734"/>
              <a:gd name="connsiteY45" fmla="*/ 1155700 h 2286441"/>
              <a:gd name="connsiteX46" fmla="*/ 3219634 w 3892734"/>
              <a:gd name="connsiteY46" fmla="*/ 1181100 h 2286441"/>
              <a:gd name="connsiteX47" fmla="*/ 3135496 w 3892734"/>
              <a:gd name="connsiteY47" fmla="*/ 1299916 h 2286441"/>
              <a:gd name="connsiteX48" fmla="*/ 2991034 w 3892734"/>
              <a:gd name="connsiteY48" fmla="*/ 1601049 h 2286441"/>
              <a:gd name="connsiteX49" fmla="*/ 2846571 w 3892734"/>
              <a:gd name="connsiteY49" fmla="*/ 1861399 h 2286441"/>
              <a:gd name="connsiteX50" fmla="*/ 2667184 w 3892734"/>
              <a:gd name="connsiteY50" fmla="*/ 2145316 h 2286441"/>
              <a:gd name="connsiteX51" fmla="*/ 2587809 w 3892734"/>
              <a:gd name="connsiteY51" fmla="*/ 2206268 h 2286441"/>
              <a:gd name="connsiteX52" fmla="*/ 2484621 w 3892734"/>
              <a:gd name="connsiteY52" fmla="*/ 2281349 h 2286441"/>
              <a:gd name="connsiteX53" fmla="*/ 2248084 w 3892734"/>
              <a:gd name="connsiteY53" fmla="*/ 2286441 h 2286441"/>
              <a:gd name="connsiteX54" fmla="*/ 2036946 w 3892734"/>
              <a:gd name="connsiteY54" fmla="*/ 2106231 h 2286441"/>
              <a:gd name="connsiteX55" fmla="*/ 1908359 w 3892734"/>
              <a:gd name="connsiteY55" fmla="*/ 1872537 h 2286441"/>
              <a:gd name="connsiteX56" fmla="*/ 1832158 w 3892734"/>
              <a:gd name="connsiteY56" fmla="*/ 1747371 h 2286441"/>
              <a:gd name="connsiteX57" fmla="*/ 1719447 w 3892734"/>
              <a:gd name="connsiteY57" fmla="*/ 1606380 h 2286441"/>
              <a:gd name="connsiteX58" fmla="*/ 1578160 w 3892734"/>
              <a:gd name="connsiteY58" fmla="*/ 1426137 h 2286441"/>
              <a:gd name="connsiteX59" fmla="*/ 1433697 w 3892734"/>
              <a:gd name="connsiteY59" fmla="*/ 1317171 h 2286441"/>
              <a:gd name="connsiteX60" fmla="*/ 1101909 w 3892734"/>
              <a:gd name="connsiteY60" fmla="*/ 1573782 h 2286441"/>
              <a:gd name="connsiteX61" fmla="*/ 895535 w 3892734"/>
              <a:gd name="connsiteY61" fmla="*/ 1609913 h 2286441"/>
              <a:gd name="connsiteX62" fmla="*/ 781234 w 3892734"/>
              <a:gd name="connsiteY62" fmla="*/ 1591782 h 2286441"/>
              <a:gd name="connsiteX63" fmla="*/ 538346 w 3892734"/>
              <a:gd name="connsiteY63" fmla="*/ 1642309 h 2286441"/>
              <a:gd name="connsiteX64" fmla="*/ 397059 w 3892734"/>
              <a:gd name="connsiteY64" fmla="*/ 1620170 h 2286441"/>
              <a:gd name="connsiteX65" fmla="*/ 12884 w 3892734"/>
              <a:gd name="connsiteY65" fmla="*/ 1221921 h 2286441"/>
              <a:gd name="connsiteX66" fmla="*/ 184 w 3892734"/>
              <a:gd name="connsiteY66" fmla="*/ 0 h 2286441"/>
              <a:gd name="connsiteX0" fmla="*/ 184 w 3892734"/>
              <a:gd name="connsiteY0" fmla="*/ 0 h 2286441"/>
              <a:gd name="connsiteX1" fmla="*/ 266884 w 3892734"/>
              <a:gd name="connsiteY1" fmla="*/ 1162050 h 2286441"/>
              <a:gd name="connsiteX2" fmla="*/ 322447 w 3892734"/>
              <a:gd name="connsiteY2" fmla="*/ 1258421 h 2286441"/>
              <a:gd name="connsiteX3" fmla="*/ 376422 w 3892734"/>
              <a:gd name="connsiteY3" fmla="*/ 1353535 h 2286441"/>
              <a:gd name="connsiteX4" fmla="*/ 412934 w 3892734"/>
              <a:gd name="connsiteY4" fmla="*/ 1314450 h 2286441"/>
              <a:gd name="connsiteX5" fmla="*/ 514534 w 3892734"/>
              <a:gd name="connsiteY5" fmla="*/ 996950 h 2286441"/>
              <a:gd name="connsiteX6" fmla="*/ 584384 w 3892734"/>
              <a:gd name="connsiteY6" fmla="*/ 641350 h 2286441"/>
              <a:gd name="connsiteX7" fmla="*/ 641534 w 3892734"/>
              <a:gd name="connsiteY7" fmla="*/ 444500 h 2286441"/>
              <a:gd name="connsiteX8" fmla="*/ 692334 w 3892734"/>
              <a:gd name="connsiteY8" fmla="*/ 330200 h 2286441"/>
              <a:gd name="connsiteX9" fmla="*/ 724084 w 3892734"/>
              <a:gd name="connsiteY9" fmla="*/ 279400 h 2286441"/>
              <a:gd name="connsiteX10" fmla="*/ 806634 w 3892734"/>
              <a:gd name="connsiteY10" fmla="*/ 334581 h 2286441"/>
              <a:gd name="connsiteX11" fmla="*/ 941571 w 3892734"/>
              <a:gd name="connsiteY11" fmla="*/ 603691 h 2286441"/>
              <a:gd name="connsiteX12" fmla="*/ 992372 w 3892734"/>
              <a:gd name="connsiteY12" fmla="*/ 744240 h 2286441"/>
              <a:gd name="connsiteX13" fmla="*/ 1093972 w 3892734"/>
              <a:gd name="connsiteY13" fmla="*/ 842884 h 2286441"/>
              <a:gd name="connsiteX14" fmla="*/ 1198746 w 3892734"/>
              <a:gd name="connsiteY14" fmla="*/ 780371 h 2286441"/>
              <a:gd name="connsiteX15" fmla="*/ 1297171 w 3892734"/>
              <a:gd name="connsiteY15" fmla="*/ 635305 h 2286441"/>
              <a:gd name="connsiteX16" fmla="*/ 1486084 w 3892734"/>
              <a:gd name="connsiteY16" fmla="*/ 285750 h 2286441"/>
              <a:gd name="connsiteX17" fmla="*/ 1581334 w 3892734"/>
              <a:gd name="connsiteY17" fmla="*/ 438150 h 2286441"/>
              <a:gd name="connsiteX18" fmla="*/ 1670234 w 3892734"/>
              <a:gd name="connsiteY18" fmla="*/ 654050 h 2286441"/>
              <a:gd name="connsiteX19" fmla="*/ 1905184 w 3892734"/>
              <a:gd name="connsiteY19" fmla="*/ 1066800 h 2286441"/>
              <a:gd name="connsiteX20" fmla="*/ 2006784 w 3892734"/>
              <a:gd name="connsiteY20" fmla="*/ 1212850 h 2286441"/>
              <a:gd name="connsiteX21" fmla="*/ 2082984 w 3892734"/>
              <a:gd name="connsiteY21" fmla="*/ 1295400 h 2286441"/>
              <a:gd name="connsiteX22" fmla="*/ 2190934 w 3892734"/>
              <a:gd name="connsiteY22" fmla="*/ 1263650 h 2286441"/>
              <a:gd name="connsiteX23" fmla="*/ 2235384 w 3892734"/>
              <a:gd name="connsiteY23" fmla="*/ 1168400 h 2286441"/>
              <a:gd name="connsiteX24" fmla="*/ 2292534 w 3892734"/>
              <a:gd name="connsiteY24" fmla="*/ 1016000 h 2286441"/>
              <a:gd name="connsiteX25" fmla="*/ 2368734 w 3892734"/>
              <a:gd name="connsiteY25" fmla="*/ 876300 h 2286441"/>
              <a:gd name="connsiteX26" fmla="*/ 2425884 w 3892734"/>
              <a:gd name="connsiteY26" fmla="*/ 787400 h 2286441"/>
              <a:gd name="connsiteX27" fmla="*/ 2476684 w 3892734"/>
              <a:gd name="connsiteY27" fmla="*/ 749300 h 2286441"/>
              <a:gd name="connsiteX28" fmla="*/ 2546534 w 3892734"/>
              <a:gd name="connsiteY28" fmla="*/ 736600 h 2286441"/>
              <a:gd name="connsiteX29" fmla="*/ 2654484 w 3892734"/>
              <a:gd name="connsiteY29" fmla="*/ 781050 h 2286441"/>
              <a:gd name="connsiteX30" fmla="*/ 2756084 w 3892734"/>
              <a:gd name="connsiteY30" fmla="*/ 838200 h 2286441"/>
              <a:gd name="connsiteX31" fmla="*/ 2851334 w 3892734"/>
              <a:gd name="connsiteY31" fmla="*/ 901700 h 2286441"/>
              <a:gd name="connsiteX32" fmla="*/ 2997384 w 3892734"/>
              <a:gd name="connsiteY32" fmla="*/ 920750 h 2286441"/>
              <a:gd name="connsiteX33" fmla="*/ 3175184 w 3892734"/>
              <a:gd name="connsiteY33" fmla="*/ 895350 h 2286441"/>
              <a:gd name="connsiteX34" fmla="*/ 3295834 w 3892734"/>
              <a:gd name="connsiteY34" fmla="*/ 774700 h 2286441"/>
              <a:gd name="connsiteX35" fmla="*/ 3391084 w 3892734"/>
              <a:gd name="connsiteY35" fmla="*/ 628650 h 2286441"/>
              <a:gd name="connsiteX36" fmla="*/ 3486334 w 3892734"/>
              <a:gd name="connsiteY36" fmla="*/ 495300 h 2286441"/>
              <a:gd name="connsiteX37" fmla="*/ 3594284 w 3892734"/>
              <a:gd name="connsiteY37" fmla="*/ 412750 h 2286441"/>
              <a:gd name="connsiteX38" fmla="*/ 3714934 w 3892734"/>
              <a:gd name="connsiteY38" fmla="*/ 406400 h 2286441"/>
              <a:gd name="connsiteX39" fmla="*/ 3892734 w 3892734"/>
              <a:gd name="connsiteY39" fmla="*/ 412750 h 2286441"/>
              <a:gd name="connsiteX40" fmla="*/ 3892734 w 3892734"/>
              <a:gd name="connsiteY40" fmla="*/ 755650 h 2286441"/>
              <a:gd name="connsiteX41" fmla="*/ 3708584 w 3892734"/>
              <a:gd name="connsiteY41" fmla="*/ 958850 h 2286441"/>
              <a:gd name="connsiteX42" fmla="*/ 3611747 w 3892734"/>
              <a:gd name="connsiteY42" fmla="*/ 1039839 h 2286441"/>
              <a:gd name="connsiteX43" fmla="*/ 3479984 w 3892734"/>
              <a:gd name="connsiteY43" fmla="*/ 1124086 h 2286441"/>
              <a:gd name="connsiteX44" fmla="*/ 3340284 w 3892734"/>
              <a:gd name="connsiteY44" fmla="*/ 1155700 h 2286441"/>
              <a:gd name="connsiteX45" fmla="*/ 3219634 w 3892734"/>
              <a:gd name="connsiteY45" fmla="*/ 1181100 h 2286441"/>
              <a:gd name="connsiteX46" fmla="*/ 3135496 w 3892734"/>
              <a:gd name="connsiteY46" fmla="*/ 1299916 h 2286441"/>
              <a:gd name="connsiteX47" fmla="*/ 2991034 w 3892734"/>
              <a:gd name="connsiteY47" fmla="*/ 1601049 h 2286441"/>
              <a:gd name="connsiteX48" fmla="*/ 2846571 w 3892734"/>
              <a:gd name="connsiteY48" fmla="*/ 1861399 h 2286441"/>
              <a:gd name="connsiteX49" fmla="*/ 2667184 w 3892734"/>
              <a:gd name="connsiteY49" fmla="*/ 2145316 h 2286441"/>
              <a:gd name="connsiteX50" fmla="*/ 2587809 w 3892734"/>
              <a:gd name="connsiteY50" fmla="*/ 2206268 h 2286441"/>
              <a:gd name="connsiteX51" fmla="*/ 2484621 w 3892734"/>
              <a:gd name="connsiteY51" fmla="*/ 2281349 h 2286441"/>
              <a:gd name="connsiteX52" fmla="*/ 2248084 w 3892734"/>
              <a:gd name="connsiteY52" fmla="*/ 2286441 h 2286441"/>
              <a:gd name="connsiteX53" fmla="*/ 2036946 w 3892734"/>
              <a:gd name="connsiteY53" fmla="*/ 2106231 h 2286441"/>
              <a:gd name="connsiteX54" fmla="*/ 1908359 w 3892734"/>
              <a:gd name="connsiteY54" fmla="*/ 1872537 h 2286441"/>
              <a:gd name="connsiteX55" fmla="*/ 1832158 w 3892734"/>
              <a:gd name="connsiteY55" fmla="*/ 1747371 h 2286441"/>
              <a:gd name="connsiteX56" fmla="*/ 1719447 w 3892734"/>
              <a:gd name="connsiteY56" fmla="*/ 1606380 h 2286441"/>
              <a:gd name="connsiteX57" fmla="*/ 1578160 w 3892734"/>
              <a:gd name="connsiteY57" fmla="*/ 1426137 h 2286441"/>
              <a:gd name="connsiteX58" fmla="*/ 1433697 w 3892734"/>
              <a:gd name="connsiteY58" fmla="*/ 1317171 h 2286441"/>
              <a:gd name="connsiteX59" fmla="*/ 1101909 w 3892734"/>
              <a:gd name="connsiteY59" fmla="*/ 1573782 h 2286441"/>
              <a:gd name="connsiteX60" fmla="*/ 895535 w 3892734"/>
              <a:gd name="connsiteY60" fmla="*/ 1609913 h 2286441"/>
              <a:gd name="connsiteX61" fmla="*/ 781234 w 3892734"/>
              <a:gd name="connsiteY61" fmla="*/ 1591782 h 2286441"/>
              <a:gd name="connsiteX62" fmla="*/ 538346 w 3892734"/>
              <a:gd name="connsiteY62" fmla="*/ 1642309 h 2286441"/>
              <a:gd name="connsiteX63" fmla="*/ 397059 w 3892734"/>
              <a:gd name="connsiteY63" fmla="*/ 1620170 h 2286441"/>
              <a:gd name="connsiteX64" fmla="*/ 12884 w 3892734"/>
              <a:gd name="connsiteY64" fmla="*/ 1221921 h 2286441"/>
              <a:gd name="connsiteX65" fmla="*/ 184 w 3892734"/>
              <a:gd name="connsiteY65" fmla="*/ 0 h 2286441"/>
              <a:gd name="connsiteX0" fmla="*/ 184 w 3892734"/>
              <a:gd name="connsiteY0" fmla="*/ 0 h 2286441"/>
              <a:gd name="connsiteX1" fmla="*/ 266884 w 3892734"/>
              <a:gd name="connsiteY1" fmla="*/ 1162050 h 2286441"/>
              <a:gd name="connsiteX2" fmla="*/ 322447 w 3892734"/>
              <a:gd name="connsiteY2" fmla="*/ 1258421 h 2286441"/>
              <a:gd name="connsiteX3" fmla="*/ 376422 w 3892734"/>
              <a:gd name="connsiteY3" fmla="*/ 1353535 h 2286441"/>
              <a:gd name="connsiteX4" fmla="*/ 412934 w 3892734"/>
              <a:gd name="connsiteY4" fmla="*/ 1314450 h 2286441"/>
              <a:gd name="connsiteX5" fmla="*/ 514534 w 3892734"/>
              <a:gd name="connsiteY5" fmla="*/ 996950 h 2286441"/>
              <a:gd name="connsiteX6" fmla="*/ 584384 w 3892734"/>
              <a:gd name="connsiteY6" fmla="*/ 641350 h 2286441"/>
              <a:gd name="connsiteX7" fmla="*/ 641534 w 3892734"/>
              <a:gd name="connsiteY7" fmla="*/ 444500 h 2286441"/>
              <a:gd name="connsiteX8" fmla="*/ 692334 w 3892734"/>
              <a:gd name="connsiteY8" fmla="*/ 330200 h 2286441"/>
              <a:gd name="connsiteX9" fmla="*/ 724084 w 3892734"/>
              <a:gd name="connsiteY9" fmla="*/ 279400 h 2286441"/>
              <a:gd name="connsiteX10" fmla="*/ 806634 w 3892734"/>
              <a:gd name="connsiteY10" fmla="*/ 334581 h 2286441"/>
              <a:gd name="connsiteX11" fmla="*/ 941571 w 3892734"/>
              <a:gd name="connsiteY11" fmla="*/ 603691 h 2286441"/>
              <a:gd name="connsiteX12" fmla="*/ 992372 w 3892734"/>
              <a:gd name="connsiteY12" fmla="*/ 744240 h 2286441"/>
              <a:gd name="connsiteX13" fmla="*/ 1093972 w 3892734"/>
              <a:gd name="connsiteY13" fmla="*/ 842884 h 2286441"/>
              <a:gd name="connsiteX14" fmla="*/ 1198746 w 3892734"/>
              <a:gd name="connsiteY14" fmla="*/ 780371 h 2286441"/>
              <a:gd name="connsiteX15" fmla="*/ 1297171 w 3892734"/>
              <a:gd name="connsiteY15" fmla="*/ 635305 h 2286441"/>
              <a:gd name="connsiteX16" fmla="*/ 1467034 w 3892734"/>
              <a:gd name="connsiteY16" fmla="*/ 651569 h 2286441"/>
              <a:gd name="connsiteX17" fmla="*/ 1581334 w 3892734"/>
              <a:gd name="connsiteY17" fmla="*/ 438150 h 2286441"/>
              <a:gd name="connsiteX18" fmla="*/ 1670234 w 3892734"/>
              <a:gd name="connsiteY18" fmla="*/ 654050 h 2286441"/>
              <a:gd name="connsiteX19" fmla="*/ 1905184 w 3892734"/>
              <a:gd name="connsiteY19" fmla="*/ 1066800 h 2286441"/>
              <a:gd name="connsiteX20" fmla="*/ 2006784 w 3892734"/>
              <a:gd name="connsiteY20" fmla="*/ 1212850 h 2286441"/>
              <a:gd name="connsiteX21" fmla="*/ 2082984 w 3892734"/>
              <a:gd name="connsiteY21" fmla="*/ 1295400 h 2286441"/>
              <a:gd name="connsiteX22" fmla="*/ 2190934 w 3892734"/>
              <a:gd name="connsiteY22" fmla="*/ 1263650 h 2286441"/>
              <a:gd name="connsiteX23" fmla="*/ 2235384 w 3892734"/>
              <a:gd name="connsiteY23" fmla="*/ 1168400 h 2286441"/>
              <a:gd name="connsiteX24" fmla="*/ 2292534 w 3892734"/>
              <a:gd name="connsiteY24" fmla="*/ 1016000 h 2286441"/>
              <a:gd name="connsiteX25" fmla="*/ 2368734 w 3892734"/>
              <a:gd name="connsiteY25" fmla="*/ 876300 h 2286441"/>
              <a:gd name="connsiteX26" fmla="*/ 2425884 w 3892734"/>
              <a:gd name="connsiteY26" fmla="*/ 787400 h 2286441"/>
              <a:gd name="connsiteX27" fmla="*/ 2476684 w 3892734"/>
              <a:gd name="connsiteY27" fmla="*/ 749300 h 2286441"/>
              <a:gd name="connsiteX28" fmla="*/ 2546534 w 3892734"/>
              <a:gd name="connsiteY28" fmla="*/ 736600 h 2286441"/>
              <a:gd name="connsiteX29" fmla="*/ 2654484 w 3892734"/>
              <a:gd name="connsiteY29" fmla="*/ 781050 h 2286441"/>
              <a:gd name="connsiteX30" fmla="*/ 2756084 w 3892734"/>
              <a:gd name="connsiteY30" fmla="*/ 838200 h 2286441"/>
              <a:gd name="connsiteX31" fmla="*/ 2851334 w 3892734"/>
              <a:gd name="connsiteY31" fmla="*/ 901700 h 2286441"/>
              <a:gd name="connsiteX32" fmla="*/ 2997384 w 3892734"/>
              <a:gd name="connsiteY32" fmla="*/ 920750 h 2286441"/>
              <a:gd name="connsiteX33" fmla="*/ 3175184 w 3892734"/>
              <a:gd name="connsiteY33" fmla="*/ 895350 h 2286441"/>
              <a:gd name="connsiteX34" fmla="*/ 3295834 w 3892734"/>
              <a:gd name="connsiteY34" fmla="*/ 774700 h 2286441"/>
              <a:gd name="connsiteX35" fmla="*/ 3391084 w 3892734"/>
              <a:gd name="connsiteY35" fmla="*/ 628650 h 2286441"/>
              <a:gd name="connsiteX36" fmla="*/ 3486334 w 3892734"/>
              <a:gd name="connsiteY36" fmla="*/ 495300 h 2286441"/>
              <a:gd name="connsiteX37" fmla="*/ 3594284 w 3892734"/>
              <a:gd name="connsiteY37" fmla="*/ 412750 h 2286441"/>
              <a:gd name="connsiteX38" fmla="*/ 3714934 w 3892734"/>
              <a:gd name="connsiteY38" fmla="*/ 406400 h 2286441"/>
              <a:gd name="connsiteX39" fmla="*/ 3892734 w 3892734"/>
              <a:gd name="connsiteY39" fmla="*/ 412750 h 2286441"/>
              <a:gd name="connsiteX40" fmla="*/ 3892734 w 3892734"/>
              <a:gd name="connsiteY40" fmla="*/ 755650 h 2286441"/>
              <a:gd name="connsiteX41" fmla="*/ 3708584 w 3892734"/>
              <a:gd name="connsiteY41" fmla="*/ 958850 h 2286441"/>
              <a:gd name="connsiteX42" fmla="*/ 3611747 w 3892734"/>
              <a:gd name="connsiteY42" fmla="*/ 1039839 h 2286441"/>
              <a:gd name="connsiteX43" fmla="*/ 3479984 w 3892734"/>
              <a:gd name="connsiteY43" fmla="*/ 1124086 h 2286441"/>
              <a:gd name="connsiteX44" fmla="*/ 3340284 w 3892734"/>
              <a:gd name="connsiteY44" fmla="*/ 1155700 h 2286441"/>
              <a:gd name="connsiteX45" fmla="*/ 3219634 w 3892734"/>
              <a:gd name="connsiteY45" fmla="*/ 1181100 h 2286441"/>
              <a:gd name="connsiteX46" fmla="*/ 3135496 w 3892734"/>
              <a:gd name="connsiteY46" fmla="*/ 1299916 h 2286441"/>
              <a:gd name="connsiteX47" fmla="*/ 2991034 w 3892734"/>
              <a:gd name="connsiteY47" fmla="*/ 1601049 h 2286441"/>
              <a:gd name="connsiteX48" fmla="*/ 2846571 w 3892734"/>
              <a:gd name="connsiteY48" fmla="*/ 1861399 h 2286441"/>
              <a:gd name="connsiteX49" fmla="*/ 2667184 w 3892734"/>
              <a:gd name="connsiteY49" fmla="*/ 2145316 h 2286441"/>
              <a:gd name="connsiteX50" fmla="*/ 2587809 w 3892734"/>
              <a:gd name="connsiteY50" fmla="*/ 2206268 h 2286441"/>
              <a:gd name="connsiteX51" fmla="*/ 2484621 w 3892734"/>
              <a:gd name="connsiteY51" fmla="*/ 2281349 h 2286441"/>
              <a:gd name="connsiteX52" fmla="*/ 2248084 w 3892734"/>
              <a:gd name="connsiteY52" fmla="*/ 2286441 h 2286441"/>
              <a:gd name="connsiteX53" fmla="*/ 2036946 w 3892734"/>
              <a:gd name="connsiteY53" fmla="*/ 2106231 h 2286441"/>
              <a:gd name="connsiteX54" fmla="*/ 1908359 w 3892734"/>
              <a:gd name="connsiteY54" fmla="*/ 1872537 h 2286441"/>
              <a:gd name="connsiteX55" fmla="*/ 1832158 w 3892734"/>
              <a:gd name="connsiteY55" fmla="*/ 1747371 h 2286441"/>
              <a:gd name="connsiteX56" fmla="*/ 1719447 w 3892734"/>
              <a:gd name="connsiteY56" fmla="*/ 1606380 h 2286441"/>
              <a:gd name="connsiteX57" fmla="*/ 1578160 w 3892734"/>
              <a:gd name="connsiteY57" fmla="*/ 1426137 h 2286441"/>
              <a:gd name="connsiteX58" fmla="*/ 1433697 w 3892734"/>
              <a:gd name="connsiteY58" fmla="*/ 1317171 h 2286441"/>
              <a:gd name="connsiteX59" fmla="*/ 1101909 w 3892734"/>
              <a:gd name="connsiteY59" fmla="*/ 1573782 h 2286441"/>
              <a:gd name="connsiteX60" fmla="*/ 895535 w 3892734"/>
              <a:gd name="connsiteY60" fmla="*/ 1609913 h 2286441"/>
              <a:gd name="connsiteX61" fmla="*/ 781234 w 3892734"/>
              <a:gd name="connsiteY61" fmla="*/ 1591782 h 2286441"/>
              <a:gd name="connsiteX62" fmla="*/ 538346 w 3892734"/>
              <a:gd name="connsiteY62" fmla="*/ 1642309 h 2286441"/>
              <a:gd name="connsiteX63" fmla="*/ 397059 w 3892734"/>
              <a:gd name="connsiteY63" fmla="*/ 1620170 h 2286441"/>
              <a:gd name="connsiteX64" fmla="*/ 12884 w 3892734"/>
              <a:gd name="connsiteY64" fmla="*/ 1221921 h 2286441"/>
              <a:gd name="connsiteX65" fmla="*/ 184 w 3892734"/>
              <a:gd name="connsiteY65" fmla="*/ 0 h 2286441"/>
              <a:gd name="connsiteX0" fmla="*/ 184 w 3892734"/>
              <a:gd name="connsiteY0" fmla="*/ 0 h 2286441"/>
              <a:gd name="connsiteX1" fmla="*/ 266884 w 3892734"/>
              <a:gd name="connsiteY1" fmla="*/ 1162050 h 2286441"/>
              <a:gd name="connsiteX2" fmla="*/ 322447 w 3892734"/>
              <a:gd name="connsiteY2" fmla="*/ 1258421 h 2286441"/>
              <a:gd name="connsiteX3" fmla="*/ 376422 w 3892734"/>
              <a:gd name="connsiteY3" fmla="*/ 1353535 h 2286441"/>
              <a:gd name="connsiteX4" fmla="*/ 412934 w 3892734"/>
              <a:gd name="connsiteY4" fmla="*/ 1314450 h 2286441"/>
              <a:gd name="connsiteX5" fmla="*/ 514534 w 3892734"/>
              <a:gd name="connsiteY5" fmla="*/ 996950 h 2286441"/>
              <a:gd name="connsiteX6" fmla="*/ 584384 w 3892734"/>
              <a:gd name="connsiteY6" fmla="*/ 641350 h 2286441"/>
              <a:gd name="connsiteX7" fmla="*/ 641534 w 3892734"/>
              <a:gd name="connsiteY7" fmla="*/ 444500 h 2286441"/>
              <a:gd name="connsiteX8" fmla="*/ 692334 w 3892734"/>
              <a:gd name="connsiteY8" fmla="*/ 330200 h 2286441"/>
              <a:gd name="connsiteX9" fmla="*/ 724084 w 3892734"/>
              <a:gd name="connsiteY9" fmla="*/ 279400 h 2286441"/>
              <a:gd name="connsiteX10" fmla="*/ 806634 w 3892734"/>
              <a:gd name="connsiteY10" fmla="*/ 334581 h 2286441"/>
              <a:gd name="connsiteX11" fmla="*/ 941571 w 3892734"/>
              <a:gd name="connsiteY11" fmla="*/ 603691 h 2286441"/>
              <a:gd name="connsiteX12" fmla="*/ 992372 w 3892734"/>
              <a:gd name="connsiteY12" fmla="*/ 744240 h 2286441"/>
              <a:gd name="connsiteX13" fmla="*/ 1093972 w 3892734"/>
              <a:gd name="connsiteY13" fmla="*/ 842884 h 2286441"/>
              <a:gd name="connsiteX14" fmla="*/ 1198746 w 3892734"/>
              <a:gd name="connsiteY14" fmla="*/ 780371 h 2286441"/>
              <a:gd name="connsiteX15" fmla="*/ 1297171 w 3892734"/>
              <a:gd name="connsiteY15" fmla="*/ 635305 h 2286441"/>
              <a:gd name="connsiteX16" fmla="*/ 1357496 w 3892734"/>
              <a:gd name="connsiteY16" fmla="*/ 565760 h 2286441"/>
              <a:gd name="connsiteX17" fmla="*/ 1581334 w 3892734"/>
              <a:gd name="connsiteY17" fmla="*/ 438150 h 2286441"/>
              <a:gd name="connsiteX18" fmla="*/ 1670234 w 3892734"/>
              <a:gd name="connsiteY18" fmla="*/ 654050 h 2286441"/>
              <a:gd name="connsiteX19" fmla="*/ 1905184 w 3892734"/>
              <a:gd name="connsiteY19" fmla="*/ 1066800 h 2286441"/>
              <a:gd name="connsiteX20" fmla="*/ 2006784 w 3892734"/>
              <a:gd name="connsiteY20" fmla="*/ 1212850 h 2286441"/>
              <a:gd name="connsiteX21" fmla="*/ 2082984 w 3892734"/>
              <a:gd name="connsiteY21" fmla="*/ 1295400 h 2286441"/>
              <a:gd name="connsiteX22" fmla="*/ 2190934 w 3892734"/>
              <a:gd name="connsiteY22" fmla="*/ 1263650 h 2286441"/>
              <a:gd name="connsiteX23" fmla="*/ 2235384 w 3892734"/>
              <a:gd name="connsiteY23" fmla="*/ 1168400 h 2286441"/>
              <a:gd name="connsiteX24" fmla="*/ 2292534 w 3892734"/>
              <a:gd name="connsiteY24" fmla="*/ 1016000 h 2286441"/>
              <a:gd name="connsiteX25" fmla="*/ 2368734 w 3892734"/>
              <a:gd name="connsiteY25" fmla="*/ 876300 h 2286441"/>
              <a:gd name="connsiteX26" fmla="*/ 2425884 w 3892734"/>
              <a:gd name="connsiteY26" fmla="*/ 787400 h 2286441"/>
              <a:gd name="connsiteX27" fmla="*/ 2476684 w 3892734"/>
              <a:gd name="connsiteY27" fmla="*/ 749300 h 2286441"/>
              <a:gd name="connsiteX28" fmla="*/ 2546534 w 3892734"/>
              <a:gd name="connsiteY28" fmla="*/ 736600 h 2286441"/>
              <a:gd name="connsiteX29" fmla="*/ 2654484 w 3892734"/>
              <a:gd name="connsiteY29" fmla="*/ 781050 h 2286441"/>
              <a:gd name="connsiteX30" fmla="*/ 2756084 w 3892734"/>
              <a:gd name="connsiteY30" fmla="*/ 838200 h 2286441"/>
              <a:gd name="connsiteX31" fmla="*/ 2851334 w 3892734"/>
              <a:gd name="connsiteY31" fmla="*/ 901700 h 2286441"/>
              <a:gd name="connsiteX32" fmla="*/ 2997384 w 3892734"/>
              <a:gd name="connsiteY32" fmla="*/ 920750 h 2286441"/>
              <a:gd name="connsiteX33" fmla="*/ 3175184 w 3892734"/>
              <a:gd name="connsiteY33" fmla="*/ 895350 h 2286441"/>
              <a:gd name="connsiteX34" fmla="*/ 3295834 w 3892734"/>
              <a:gd name="connsiteY34" fmla="*/ 774700 h 2286441"/>
              <a:gd name="connsiteX35" fmla="*/ 3391084 w 3892734"/>
              <a:gd name="connsiteY35" fmla="*/ 628650 h 2286441"/>
              <a:gd name="connsiteX36" fmla="*/ 3486334 w 3892734"/>
              <a:gd name="connsiteY36" fmla="*/ 495300 h 2286441"/>
              <a:gd name="connsiteX37" fmla="*/ 3594284 w 3892734"/>
              <a:gd name="connsiteY37" fmla="*/ 412750 h 2286441"/>
              <a:gd name="connsiteX38" fmla="*/ 3714934 w 3892734"/>
              <a:gd name="connsiteY38" fmla="*/ 406400 h 2286441"/>
              <a:gd name="connsiteX39" fmla="*/ 3892734 w 3892734"/>
              <a:gd name="connsiteY39" fmla="*/ 412750 h 2286441"/>
              <a:gd name="connsiteX40" fmla="*/ 3892734 w 3892734"/>
              <a:gd name="connsiteY40" fmla="*/ 755650 h 2286441"/>
              <a:gd name="connsiteX41" fmla="*/ 3708584 w 3892734"/>
              <a:gd name="connsiteY41" fmla="*/ 958850 h 2286441"/>
              <a:gd name="connsiteX42" fmla="*/ 3611747 w 3892734"/>
              <a:gd name="connsiteY42" fmla="*/ 1039839 h 2286441"/>
              <a:gd name="connsiteX43" fmla="*/ 3479984 w 3892734"/>
              <a:gd name="connsiteY43" fmla="*/ 1124086 h 2286441"/>
              <a:gd name="connsiteX44" fmla="*/ 3340284 w 3892734"/>
              <a:gd name="connsiteY44" fmla="*/ 1155700 h 2286441"/>
              <a:gd name="connsiteX45" fmla="*/ 3219634 w 3892734"/>
              <a:gd name="connsiteY45" fmla="*/ 1181100 h 2286441"/>
              <a:gd name="connsiteX46" fmla="*/ 3135496 w 3892734"/>
              <a:gd name="connsiteY46" fmla="*/ 1299916 h 2286441"/>
              <a:gd name="connsiteX47" fmla="*/ 2991034 w 3892734"/>
              <a:gd name="connsiteY47" fmla="*/ 1601049 h 2286441"/>
              <a:gd name="connsiteX48" fmla="*/ 2846571 w 3892734"/>
              <a:gd name="connsiteY48" fmla="*/ 1861399 h 2286441"/>
              <a:gd name="connsiteX49" fmla="*/ 2667184 w 3892734"/>
              <a:gd name="connsiteY49" fmla="*/ 2145316 h 2286441"/>
              <a:gd name="connsiteX50" fmla="*/ 2587809 w 3892734"/>
              <a:gd name="connsiteY50" fmla="*/ 2206268 h 2286441"/>
              <a:gd name="connsiteX51" fmla="*/ 2484621 w 3892734"/>
              <a:gd name="connsiteY51" fmla="*/ 2281349 h 2286441"/>
              <a:gd name="connsiteX52" fmla="*/ 2248084 w 3892734"/>
              <a:gd name="connsiteY52" fmla="*/ 2286441 h 2286441"/>
              <a:gd name="connsiteX53" fmla="*/ 2036946 w 3892734"/>
              <a:gd name="connsiteY53" fmla="*/ 2106231 h 2286441"/>
              <a:gd name="connsiteX54" fmla="*/ 1908359 w 3892734"/>
              <a:gd name="connsiteY54" fmla="*/ 1872537 h 2286441"/>
              <a:gd name="connsiteX55" fmla="*/ 1832158 w 3892734"/>
              <a:gd name="connsiteY55" fmla="*/ 1747371 h 2286441"/>
              <a:gd name="connsiteX56" fmla="*/ 1719447 w 3892734"/>
              <a:gd name="connsiteY56" fmla="*/ 1606380 h 2286441"/>
              <a:gd name="connsiteX57" fmla="*/ 1578160 w 3892734"/>
              <a:gd name="connsiteY57" fmla="*/ 1426137 h 2286441"/>
              <a:gd name="connsiteX58" fmla="*/ 1433697 w 3892734"/>
              <a:gd name="connsiteY58" fmla="*/ 1317171 h 2286441"/>
              <a:gd name="connsiteX59" fmla="*/ 1101909 w 3892734"/>
              <a:gd name="connsiteY59" fmla="*/ 1573782 h 2286441"/>
              <a:gd name="connsiteX60" fmla="*/ 895535 w 3892734"/>
              <a:gd name="connsiteY60" fmla="*/ 1609913 h 2286441"/>
              <a:gd name="connsiteX61" fmla="*/ 781234 w 3892734"/>
              <a:gd name="connsiteY61" fmla="*/ 1591782 h 2286441"/>
              <a:gd name="connsiteX62" fmla="*/ 538346 w 3892734"/>
              <a:gd name="connsiteY62" fmla="*/ 1642309 h 2286441"/>
              <a:gd name="connsiteX63" fmla="*/ 397059 w 3892734"/>
              <a:gd name="connsiteY63" fmla="*/ 1620170 h 2286441"/>
              <a:gd name="connsiteX64" fmla="*/ 12884 w 3892734"/>
              <a:gd name="connsiteY64" fmla="*/ 1221921 h 2286441"/>
              <a:gd name="connsiteX65" fmla="*/ 184 w 3892734"/>
              <a:gd name="connsiteY65" fmla="*/ 0 h 2286441"/>
              <a:gd name="connsiteX0" fmla="*/ 184 w 3892734"/>
              <a:gd name="connsiteY0" fmla="*/ 0 h 2286441"/>
              <a:gd name="connsiteX1" fmla="*/ 266884 w 3892734"/>
              <a:gd name="connsiteY1" fmla="*/ 1162050 h 2286441"/>
              <a:gd name="connsiteX2" fmla="*/ 322447 w 3892734"/>
              <a:gd name="connsiteY2" fmla="*/ 1258421 h 2286441"/>
              <a:gd name="connsiteX3" fmla="*/ 376422 w 3892734"/>
              <a:gd name="connsiteY3" fmla="*/ 1353535 h 2286441"/>
              <a:gd name="connsiteX4" fmla="*/ 412934 w 3892734"/>
              <a:gd name="connsiteY4" fmla="*/ 1314450 h 2286441"/>
              <a:gd name="connsiteX5" fmla="*/ 514534 w 3892734"/>
              <a:gd name="connsiteY5" fmla="*/ 996950 h 2286441"/>
              <a:gd name="connsiteX6" fmla="*/ 584384 w 3892734"/>
              <a:gd name="connsiteY6" fmla="*/ 641350 h 2286441"/>
              <a:gd name="connsiteX7" fmla="*/ 641534 w 3892734"/>
              <a:gd name="connsiteY7" fmla="*/ 444500 h 2286441"/>
              <a:gd name="connsiteX8" fmla="*/ 692334 w 3892734"/>
              <a:gd name="connsiteY8" fmla="*/ 330200 h 2286441"/>
              <a:gd name="connsiteX9" fmla="*/ 724084 w 3892734"/>
              <a:gd name="connsiteY9" fmla="*/ 279400 h 2286441"/>
              <a:gd name="connsiteX10" fmla="*/ 806634 w 3892734"/>
              <a:gd name="connsiteY10" fmla="*/ 334581 h 2286441"/>
              <a:gd name="connsiteX11" fmla="*/ 941571 w 3892734"/>
              <a:gd name="connsiteY11" fmla="*/ 603691 h 2286441"/>
              <a:gd name="connsiteX12" fmla="*/ 992372 w 3892734"/>
              <a:gd name="connsiteY12" fmla="*/ 744240 h 2286441"/>
              <a:gd name="connsiteX13" fmla="*/ 1093972 w 3892734"/>
              <a:gd name="connsiteY13" fmla="*/ 842884 h 2286441"/>
              <a:gd name="connsiteX14" fmla="*/ 1198746 w 3892734"/>
              <a:gd name="connsiteY14" fmla="*/ 780371 h 2286441"/>
              <a:gd name="connsiteX15" fmla="*/ 1297171 w 3892734"/>
              <a:gd name="connsiteY15" fmla="*/ 635305 h 2286441"/>
              <a:gd name="connsiteX16" fmla="*/ 1357496 w 3892734"/>
              <a:gd name="connsiteY16" fmla="*/ 565760 h 2286441"/>
              <a:gd name="connsiteX17" fmla="*/ 1495609 w 3892734"/>
              <a:gd name="connsiteY17" fmla="*/ 614286 h 2286441"/>
              <a:gd name="connsiteX18" fmla="*/ 1670234 w 3892734"/>
              <a:gd name="connsiteY18" fmla="*/ 654050 h 2286441"/>
              <a:gd name="connsiteX19" fmla="*/ 1905184 w 3892734"/>
              <a:gd name="connsiteY19" fmla="*/ 1066800 h 2286441"/>
              <a:gd name="connsiteX20" fmla="*/ 2006784 w 3892734"/>
              <a:gd name="connsiteY20" fmla="*/ 1212850 h 2286441"/>
              <a:gd name="connsiteX21" fmla="*/ 2082984 w 3892734"/>
              <a:gd name="connsiteY21" fmla="*/ 1295400 h 2286441"/>
              <a:gd name="connsiteX22" fmla="*/ 2190934 w 3892734"/>
              <a:gd name="connsiteY22" fmla="*/ 1263650 h 2286441"/>
              <a:gd name="connsiteX23" fmla="*/ 2235384 w 3892734"/>
              <a:gd name="connsiteY23" fmla="*/ 1168400 h 2286441"/>
              <a:gd name="connsiteX24" fmla="*/ 2292534 w 3892734"/>
              <a:gd name="connsiteY24" fmla="*/ 1016000 h 2286441"/>
              <a:gd name="connsiteX25" fmla="*/ 2368734 w 3892734"/>
              <a:gd name="connsiteY25" fmla="*/ 876300 h 2286441"/>
              <a:gd name="connsiteX26" fmla="*/ 2425884 w 3892734"/>
              <a:gd name="connsiteY26" fmla="*/ 787400 h 2286441"/>
              <a:gd name="connsiteX27" fmla="*/ 2476684 w 3892734"/>
              <a:gd name="connsiteY27" fmla="*/ 749300 h 2286441"/>
              <a:gd name="connsiteX28" fmla="*/ 2546534 w 3892734"/>
              <a:gd name="connsiteY28" fmla="*/ 736600 h 2286441"/>
              <a:gd name="connsiteX29" fmla="*/ 2654484 w 3892734"/>
              <a:gd name="connsiteY29" fmla="*/ 781050 h 2286441"/>
              <a:gd name="connsiteX30" fmla="*/ 2756084 w 3892734"/>
              <a:gd name="connsiteY30" fmla="*/ 838200 h 2286441"/>
              <a:gd name="connsiteX31" fmla="*/ 2851334 w 3892734"/>
              <a:gd name="connsiteY31" fmla="*/ 901700 h 2286441"/>
              <a:gd name="connsiteX32" fmla="*/ 2997384 w 3892734"/>
              <a:gd name="connsiteY32" fmla="*/ 920750 h 2286441"/>
              <a:gd name="connsiteX33" fmla="*/ 3175184 w 3892734"/>
              <a:gd name="connsiteY33" fmla="*/ 895350 h 2286441"/>
              <a:gd name="connsiteX34" fmla="*/ 3295834 w 3892734"/>
              <a:gd name="connsiteY34" fmla="*/ 774700 h 2286441"/>
              <a:gd name="connsiteX35" fmla="*/ 3391084 w 3892734"/>
              <a:gd name="connsiteY35" fmla="*/ 628650 h 2286441"/>
              <a:gd name="connsiteX36" fmla="*/ 3486334 w 3892734"/>
              <a:gd name="connsiteY36" fmla="*/ 495300 h 2286441"/>
              <a:gd name="connsiteX37" fmla="*/ 3594284 w 3892734"/>
              <a:gd name="connsiteY37" fmla="*/ 412750 h 2286441"/>
              <a:gd name="connsiteX38" fmla="*/ 3714934 w 3892734"/>
              <a:gd name="connsiteY38" fmla="*/ 406400 h 2286441"/>
              <a:gd name="connsiteX39" fmla="*/ 3892734 w 3892734"/>
              <a:gd name="connsiteY39" fmla="*/ 412750 h 2286441"/>
              <a:gd name="connsiteX40" fmla="*/ 3892734 w 3892734"/>
              <a:gd name="connsiteY40" fmla="*/ 755650 h 2286441"/>
              <a:gd name="connsiteX41" fmla="*/ 3708584 w 3892734"/>
              <a:gd name="connsiteY41" fmla="*/ 958850 h 2286441"/>
              <a:gd name="connsiteX42" fmla="*/ 3611747 w 3892734"/>
              <a:gd name="connsiteY42" fmla="*/ 1039839 h 2286441"/>
              <a:gd name="connsiteX43" fmla="*/ 3479984 w 3892734"/>
              <a:gd name="connsiteY43" fmla="*/ 1124086 h 2286441"/>
              <a:gd name="connsiteX44" fmla="*/ 3340284 w 3892734"/>
              <a:gd name="connsiteY44" fmla="*/ 1155700 h 2286441"/>
              <a:gd name="connsiteX45" fmla="*/ 3219634 w 3892734"/>
              <a:gd name="connsiteY45" fmla="*/ 1181100 h 2286441"/>
              <a:gd name="connsiteX46" fmla="*/ 3135496 w 3892734"/>
              <a:gd name="connsiteY46" fmla="*/ 1299916 h 2286441"/>
              <a:gd name="connsiteX47" fmla="*/ 2991034 w 3892734"/>
              <a:gd name="connsiteY47" fmla="*/ 1601049 h 2286441"/>
              <a:gd name="connsiteX48" fmla="*/ 2846571 w 3892734"/>
              <a:gd name="connsiteY48" fmla="*/ 1861399 h 2286441"/>
              <a:gd name="connsiteX49" fmla="*/ 2667184 w 3892734"/>
              <a:gd name="connsiteY49" fmla="*/ 2145316 h 2286441"/>
              <a:gd name="connsiteX50" fmla="*/ 2587809 w 3892734"/>
              <a:gd name="connsiteY50" fmla="*/ 2206268 h 2286441"/>
              <a:gd name="connsiteX51" fmla="*/ 2484621 w 3892734"/>
              <a:gd name="connsiteY51" fmla="*/ 2281349 h 2286441"/>
              <a:gd name="connsiteX52" fmla="*/ 2248084 w 3892734"/>
              <a:gd name="connsiteY52" fmla="*/ 2286441 h 2286441"/>
              <a:gd name="connsiteX53" fmla="*/ 2036946 w 3892734"/>
              <a:gd name="connsiteY53" fmla="*/ 2106231 h 2286441"/>
              <a:gd name="connsiteX54" fmla="*/ 1908359 w 3892734"/>
              <a:gd name="connsiteY54" fmla="*/ 1872537 h 2286441"/>
              <a:gd name="connsiteX55" fmla="*/ 1832158 w 3892734"/>
              <a:gd name="connsiteY55" fmla="*/ 1747371 h 2286441"/>
              <a:gd name="connsiteX56" fmla="*/ 1719447 w 3892734"/>
              <a:gd name="connsiteY56" fmla="*/ 1606380 h 2286441"/>
              <a:gd name="connsiteX57" fmla="*/ 1578160 w 3892734"/>
              <a:gd name="connsiteY57" fmla="*/ 1426137 h 2286441"/>
              <a:gd name="connsiteX58" fmla="*/ 1433697 w 3892734"/>
              <a:gd name="connsiteY58" fmla="*/ 1317171 h 2286441"/>
              <a:gd name="connsiteX59" fmla="*/ 1101909 w 3892734"/>
              <a:gd name="connsiteY59" fmla="*/ 1573782 h 2286441"/>
              <a:gd name="connsiteX60" fmla="*/ 895535 w 3892734"/>
              <a:gd name="connsiteY60" fmla="*/ 1609913 h 2286441"/>
              <a:gd name="connsiteX61" fmla="*/ 781234 w 3892734"/>
              <a:gd name="connsiteY61" fmla="*/ 1591782 h 2286441"/>
              <a:gd name="connsiteX62" fmla="*/ 538346 w 3892734"/>
              <a:gd name="connsiteY62" fmla="*/ 1642309 h 2286441"/>
              <a:gd name="connsiteX63" fmla="*/ 397059 w 3892734"/>
              <a:gd name="connsiteY63" fmla="*/ 1620170 h 2286441"/>
              <a:gd name="connsiteX64" fmla="*/ 12884 w 3892734"/>
              <a:gd name="connsiteY64" fmla="*/ 1221921 h 2286441"/>
              <a:gd name="connsiteX65" fmla="*/ 184 w 3892734"/>
              <a:gd name="connsiteY65" fmla="*/ 0 h 2286441"/>
              <a:gd name="connsiteX0" fmla="*/ 184 w 3892734"/>
              <a:gd name="connsiteY0" fmla="*/ 0 h 2286441"/>
              <a:gd name="connsiteX1" fmla="*/ 266884 w 3892734"/>
              <a:gd name="connsiteY1" fmla="*/ 1162050 h 2286441"/>
              <a:gd name="connsiteX2" fmla="*/ 322447 w 3892734"/>
              <a:gd name="connsiteY2" fmla="*/ 1258421 h 2286441"/>
              <a:gd name="connsiteX3" fmla="*/ 376422 w 3892734"/>
              <a:gd name="connsiteY3" fmla="*/ 1353535 h 2286441"/>
              <a:gd name="connsiteX4" fmla="*/ 412934 w 3892734"/>
              <a:gd name="connsiteY4" fmla="*/ 1314450 h 2286441"/>
              <a:gd name="connsiteX5" fmla="*/ 514534 w 3892734"/>
              <a:gd name="connsiteY5" fmla="*/ 996950 h 2286441"/>
              <a:gd name="connsiteX6" fmla="*/ 584384 w 3892734"/>
              <a:gd name="connsiteY6" fmla="*/ 641350 h 2286441"/>
              <a:gd name="connsiteX7" fmla="*/ 641534 w 3892734"/>
              <a:gd name="connsiteY7" fmla="*/ 444500 h 2286441"/>
              <a:gd name="connsiteX8" fmla="*/ 692334 w 3892734"/>
              <a:gd name="connsiteY8" fmla="*/ 330200 h 2286441"/>
              <a:gd name="connsiteX9" fmla="*/ 724084 w 3892734"/>
              <a:gd name="connsiteY9" fmla="*/ 279400 h 2286441"/>
              <a:gd name="connsiteX10" fmla="*/ 806634 w 3892734"/>
              <a:gd name="connsiteY10" fmla="*/ 334581 h 2286441"/>
              <a:gd name="connsiteX11" fmla="*/ 941571 w 3892734"/>
              <a:gd name="connsiteY11" fmla="*/ 603691 h 2286441"/>
              <a:gd name="connsiteX12" fmla="*/ 992372 w 3892734"/>
              <a:gd name="connsiteY12" fmla="*/ 744240 h 2286441"/>
              <a:gd name="connsiteX13" fmla="*/ 1093972 w 3892734"/>
              <a:gd name="connsiteY13" fmla="*/ 842884 h 2286441"/>
              <a:gd name="connsiteX14" fmla="*/ 1198746 w 3892734"/>
              <a:gd name="connsiteY14" fmla="*/ 780371 h 2286441"/>
              <a:gd name="connsiteX15" fmla="*/ 1297171 w 3892734"/>
              <a:gd name="connsiteY15" fmla="*/ 635305 h 2286441"/>
              <a:gd name="connsiteX16" fmla="*/ 1357496 w 3892734"/>
              <a:gd name="connsiteY16" fmla="*/ 565760 h 2286441"/>
              <a:gd name="connsiteX17" fmla="*/ 1433697 w 3892734"/>
              <a:gd name="connsiteY17" fmla="*/ 555574 h 2286441"/>
              <a:gd name="connsiteX18" fmla="*/ 1670234 w 3892734"/>
              <a:gd name="connsiteY18" fmla="*/ 654050 h 2286441"/>
              <a:gd name="connsiteX19" fmla="*/ 1905184 w 3892734"/>
              <a:gd name="connsiteY19" fmla="*/ 1066800 h 2286441"/>
              <a:gd name="connsiteX20" fmla="*/ 2006784 w 3892734"/>
              <a:gd name="connsiteY20" fmla="*/ 1212850 h 2286441"/>
              <a:gd name="connsiteX21" fmla="*/ 2082984 w 3892734"/>
              <a:gd name="connsiteY21" fmla="*/ 1295400 h 2286441"/>
              <a:gd name="connsiteX22" fmla="*/ 2190934 w 3892734"/>
              <a:gd name="connsiteY22" fmla="*/ 1263650 h 2286441"/>
              <a:gd name="connsiteX23" fmla="*/ 2235384 w 3892734"/>
              <a:gd name="connsiteY23" fmla="*/ 1168400 h 2286441"/>
              <a:gd name="connsiteX24" fmla="*/ 2292534 w 3892734"/>
              <a:gd name="connsiteY24" fmla="*/ 1016000 h 2286441"/>
              <a:gd name="connsiteX25" fmla="*/ 2368734 w 3892734"/>
              <a:gd name="connsiteY25" fmla="*/ 876300 h 2286441"/>
              <a:gd name="connsiteX26" fmla="*/ 2425884 w 3892734"/>
              <a:gd name="connsiteY26" fmla="*/ 787400 h 2286441"/>
              <a:gd name="connsiteX27" fmla="*/ 2476684 w 3892734"/>
              <a:gd name="connsiteY27" fmla="*/ 749300 h 2286441"/>
              <a:gd name="connsiteX28" fmla="*/ 2546534 w 3892734"/>
              <a:gd name="connsiteY28" fmla="*/ 736600 h 2286441"/>
              <a:gd name="connsiteX29" fmla="*/ 2654484 w 3892734"/>
              <a:gd name="connsiteY29" fmla="*/ 781050 h 2286441"/>
              <a:gd name="connsiteX30" fmla="*/ 2756084 w 3892734"/>
              <a:gd name="connsiteY30" fmla="*/ 838200 h 2286441"/>
              <a:gd name="connsiteX31" fmla="*/ 2851334 w 3892734"/>
              <a:gd name="connsiteY31" fmla="*/ 901700 h 2286441"/>
              <a:gd name="connsiteX32" fmla="*/ 2997384 w 3892734"/>
              <a:gd name="connsiteY32" fmla="*/ 920750 h 2286441"/>
              <a:gd name="connsiteX33" fmla="*/ 3175184 w 3892734"/>
              <a:gd name="connsiteY33" fmla="*/ 895350 h 2286441"/>
              <a:gd name="connsiteX34" fmla="*/ 3295834 w 3892734"/>
              <a:gd name="connsiteY34" fmla="*/ 774700 h 2286441"/>
              <a:gd name="connsiteX35" fmla="*/ 3391084 w 3892734"/>
              <a:gd name="connsiteY35" fmla="*/ 628650 h 2286441"/>
              <a:gd name="connsiteX36" fmla="*/ 3486334 w 3892734"/>
              <a:gd name="connsiteY36" fmla="*/ 495300 h 2286441"/>
              <a:gd name="connsiteX37" fmla="*/ 3594284 w 3892734"/>
              <a:gd name="connsiteY37" fmla="*/ 412750 h 2286441"/>
              <a:gd name="connsiteX38" fmla="*/ 3714934 w 3892734"/>
              <a:gd name="connsiteY38" fmla="*/ 406400 h 2286441"/>
              <a:gd name="connsiteX39" fmla="*/ 3892734 w 3892734"/>
              <a:gd name="connsiteY39" fmla="*/ 412750 h 2286441"/>
              <a:gd name="connsiteX40" fmla="*/ 3892734 w 3892734"/>
              <a:gd name="connsiteY40" fmla="*/ 755650 h 2286441"/>
              <a:gd name="connsiteX41" fmla="*/ 3708584 w 3892734"/>
              <a:gd name="connsiteY41" fmla="*/ 958850 h 2286441"/>
              <a:gd name="connsiteX42" fmla="*/ 3611747 w 3892734"/>
              <a:gd name="connsiteY42" fmla="*/ 1039839 h 2286441"/>
              <a:gd name="connsiteX43" fmla="*/ 3479984 w 3892734"/>
              <a:gd name="connsiteY43" fmla="*/ 1124086 h 2286441"/>
              <a:gd name="connsiteX44" fmla="*/ 3340284 w 3892734"/>
              <a:gd name="connsiteY44" fmla="*/ 1155700 h 2286441"/>
              <a:gd name="connsiteX45" fmla="*/ 3219634 w 3892734"/>
              <a:gd name="connsiteY45" fmla="*/ 1181100 h 2286441"/>
              <a:gd name="connsiteX46" fmla="*/ 3135496 w 3892734"/>
              <a:gd name="connsiteY46" fmla="*/ 1299916 h 2286441"/>
              <a:gd name="connsiteX47" fmla="*/ 2991034 w 3892734"/>
              <a:gd name="connsiteY47" fmla="*/ 1601049 h 2286441"/>
              <a:gd name="connsiteX48" fmla="*/ 2846571 w 3892734"/>
              <a:gd name="connsiteY48" fmla="*/ 1861399 h 2286441"/>
              <a:gd name="connsiteX49" fmla="*/ 2667184 w 3892734"/>
              <a:gd name="connsiteY49" fmla="*/ 2145316 h 2286441"/>
              <a:gd name="connsiteX50" fmla="*/ 2587809 w 3892734"/>
              <a:gd name="connsiteY50" fmla="*/ 2206268 h 2286441"/>
              <a:gd name="connsiteX51" fmla="*/ 2484621 w 3892734"/>
              <a:gd name="connsiteY51" fmla="*/ 2281349 h 2286441"/>
              <a:gd name="connsiteX52" fmla="*/ 2248084 w 3892734"/>
              <a:gd name="connsiteY52" fmla="*/ 2286441 h 2286441"/>
              <a:gd name="connsiteX53" fmla="*/ 2036946 w 3892734"/>
              <a:gd name="connsiteY53" fmla="*/ 2106231 h 2286441"/>
              <a:gd name="connsiteX54" fmla="*/ 1908359 w 3892734"/>
              <a:gd name="connsiteY54" fmla="*/ 1872537 h 2286441"/>
              <a:gd name="connsiteX55" fmla="*/ 1832158 w 3892734"/>
              <a:gd name="connsiteY55" fmla="*/ 1747371 h 2286441"/>
              <a:gd name="connsiteX56" fmla="*/ 1719447 w 3892734"/>
              <a:gd name="connsiteY56" fmla="*/ 1606380 h 2286441"/>
              <a:gd name="connsiteX57" fmla="*/ 1578160 w 3892734"/>
              <a:gd name="connsiteY57" fmla="*/ 1426137 h 2286441"/>
              <a:gd name="connsiteX58" fmla="*/ 1433697 w 3892734"/>
              <a:gd name="connsiteY58" fmla="*/ 1317171 h 2286441"/>
              <a:gd name="connsiteX59" fmla="*/ 1101909 w 3892734"/>
              <a:gd name="connsiteY59" fmla="*/ 1573782 h 2286441"/>
              <a:gd name="connsiteX60" fmla="*/ 895535 w 3892734"/>
              <a:gd name="connsiteY60" fmla="*/ 1609913 h 2286441"/>
              <a:gd name="connsiteX61" fmla="*/ 781234 w 3892734"/>
              <a:gd name="connsiteY61" fmla="*/ 1591782 h 2286441"/>
              <a:gd name="connsiteX62" fmla="*/ 538346 w 3892734"/>
              <a:gd name="connsiteY62" fmla="*/ 1642309 h 2286441"/>
              <a:gd name="connsiteX63" fmla="*/ 397059 w 3892734"/>
              <a:gd name="connsiteY63" fmla="*/ 1620170 h 2286441"/>
              <a:gd name="connsiteX64" fmla="*/ 12884 w 3892734"/>
              <a:gd name="connsiteY64" fmla="*/ 1221921 h 2286441"/>
              <a:gd name="connsiteX65" fmla="*/ 184 w 3892734"/>
              <a:gd name="connsiteY65" fmla="*/ 0 h 2286441"/>
              <a:gd name="connsiteX0" fmla="*/ 184 w 3892734"/>
              <a:gd name="connsiteY0" fmla="*/ 0 h 2286441"/>
              <a:gd name="connsiteX1" fmla="*/ 266884 w 3892734"/>
              <a:gd name="connsiteY1" fmla="*/ 1162050 h 2286441"/>
              <a:gd name="connsiteX2" fmla="*/ 322447 w 3892734"/>
              <a:gd name="connsiteY2" fmla="*/ 1258421 h 2286441"/>
              <a:gd name="connsiteX3" fmla="*/ 376422 w 3892734"/>
              <a:gd name="connsiteY3" fmla="*/ 1353535 h 2286441"/>
              <a:gd name="connsiteX4" fmla="*/ 412934 w 3892734"/>
              <a:gd name="connsiteY4" fmla="*/ 1314450 h 2286441"/>
              <a:gd name="connsiteX5" fmla="*/ 514534 w 3892734"/>
              <a:gd name="connsiteY5" fmla="*/ 996950 h 2286441"/>
              <a:gd name="connsiteX6" fmla="*/ 584384 w 3892734"/>
              <a:gd name="connsiteY6" fmla="*/ 641350 h 2286441"/>
              <a:gd name="connsiteX7" fmla="*/ 641534 w 3892734"/>
              <a:gd name="connsiteY7" fmla="*/ 444500 h 2286441"/>
              <a:gd name="connsiteX8" fmla="*/ 692334 w 3892734"/>
              <a:gd name="connsiteY8" fmla="*/ 330200 h 2286441"/>
              <a:gd name="connsiteX9" fmla="*/ 724084 w 3892734"/>
              <a:gd name="connsiteY9" fmla="*/ 279400 h 2286441"/>
              <a:gd name="connsiteX10" fmla="*/ 806634 w 3892734"/>
              <a:gd name="connsiteY10" fmla="*/ 334581 h 2286441"/>
              <a:gd name="connsiteX11" fmla="*/ 941571 w 3892734"/>
              <a:gd name="connsiteY11" fmla="*/ 603691 h 2286441"/>
              <a:gd name="connsiteX12" fmla="*/ 992372 w 3892734"/>
              <a:gd name="connsiteY12" fmla="*/ 744240 h 2286441"/>
              <a:gd name="connsiteX13" fmla="*/ 1093972 w 3892734"/>
              <a:gd name="connsiteY13" fmla="*/ 842884 h 2286441"/>
              <a:gd name="connsiteX14" fmla="*/ 1198746 w 3892734"/>
              <a:gd name="connsiteY14" fmla="*/ 780371 h 2286441"/>
              <a:gd name="connsiteX15" fmla="*/ 1297171 w 3892734"/>
              <a:gd name="connsiteY15" fmla="*/ 635305 h 2286441"/>
              <a:gd name="connsiteX16" fmla="*/ 1357496 w 3892734"/>
              <a:gd name="connsiteY16" fmla="*/ 565760 h 2286441"/>
              <a:gd name="connsiteX17" fmla="*/ 1433697 w 3892734"/>
              <a:gd name="connsiteY17" fmla="*/ 555574 h 2286441"/>
              <a:gd name="connsiteX18" fmla="*/ 1565459 w 3892734"/>
              <a:gd name="connsiteY18" fmla="*/ 681148 h 2286441"/>
              <a:gd name="connsiteX19" fmla="*/ 1905184 w 3892734"/>
              <a:gd name="connsiteY19" fmla="*/ 1066800 h 2286441"/>
              <a:gd name="connsiteX20" fmla="*/ 2006784 w 3892734"/>
              <a:gd name="connsiteY20" fmla="*/ 1212850 h 2286441"/>
              <a:gd name="connsiteX21" fmla="*/ 2082984 w 3892734"/>
              <a:gd name="connsiteY21" fmla="*/ 1295400 h 2286441"/>
              <a:gd name="connsiteX22" fmla="*/ 2190934 w 3892734"/>
              <a:gd name="connsiteY22" fmla="*/ 1263650 h 2286441"/>
              <a:gd name="connsiteX23" fmla="*/ 2235384 w 3892734"/>
              <a:gd name="connsiteY23" fmla="*/ 1168400 h 2286441"/>
              <a:gd name="connsiteX24" fmla="*/ 2292534 w 3892734"/>
              <a:gd name="connsiteY24" fmla="*/ 1016000 h 2286441"/>
              <a:gd name="connsiteX25" fmla="*/ 2368734 w 3892734"/>
              <a:gd name="connsiteY25" fmla="*/ 876300 h 2286441"/>
              <a:gd name="connsiteX26" fmla="*/ 2425884 w 3892734"/>
              <a:gd name="connsiteY26" fmla="*/ 787400 h 2286441"/>
              <a:gd name="connsiteX27" fmla="*/ 2476684 w 3892734"/>
              <a:gd name="connsiteY27" fmla="*/ 749300 h 2286441"/>
              <a:gd name="connsiteX28" fmla="*/ 2546534 w 3892734"/>
              <a:gd name="connsiteY28" fmla="*/ 736600 h 2286441"/>
              <a:gd name="connsiteX29" fmla="*/ 2654484 w 3892734"/>
              <a:gd name="connsiteY29" fmla="*/ 781050 h 2286441"/>
              <a:gd name="connsiteX30" fmla="*/ 2756084 w 3892734"/>
              <a:gd name="connsiteY30" fmla="*/ 838200 h 2286441"/>
              <a:gd name="connsiteX31" fmla="*/ 2851334 w 3892734"/>
              <a:gd name="connsiteY31" fmla="*/ 901700 h 2286441"/>
              <a:gd name="connsiteX32" fmla="*/ 2997384 w 3892734"/>
              <a:gd name="connsiteY32" fmla="*/ 920750 h 2286441"/>
              <a:gd name="connsiteX33" fmla="*/ 3175184 w 3892734"/>
              <a:gd name="connsiteY33" fmla="*/ 895350 h 2286441"/>
              <a:gd name="connsiteX34" fmla="*/ 3295834 w 3892734"/>
              <a:gd name="connsiteY34" fmla="*/ 774700 h 2286441"/>
              <a:gd name="connsiteX35" fmla="*/ 3391084 w 3892734"/>
              <a:gd name="connsiteY35" fmla="*/ 628650 h 2286441"/>
              <a:gd name="connsiteX36" fmla="*/ 3486334 w 3892734"/>
              <a:gd name="connsiteY36" fmla="*/ 495300 h 2286441"/>
              <a:gd name="connsiteX37" fmla="*/ 3594284 w 3892734"/>
              <a:gd name="connsiteY37" fmla="*/ 412750 h 2286441"/>
              <a:gd name="connsiteX38" fmla="*/ 3714934 w 3892734"/>
              <a:gd name="connsiteY38" fmla="*/ 406400 h 2286441"/>
              <a:gd name="connsiteX39" fmla="*/ 3892734 w 3892734"/>
              <a:gd name="connsiteY39" fmla="*/ 412750 h 2286441"/>
              <a:gd name="connsiteX40" fmla="*/ 3892734 w 3892734"/>
              <a:gd name="connsiteY40" fmla="*/ 755650 h 2286441"/>
              <a:gd name="connsiteX41" fmla="*/ 3708584 w 3892734"/>
              <a:gd name="connsiteY41" fmla="*/ 958850 h 2286441"/>
              <a:gd name="connsiteX42" fmla="*/ 3611747 w 3892734"/>
              <a:gd name="connsiteY42" fmla="*/ 1039839 h 2286441"/>
              <a:gd name="connsiteX43" fmla="*/ 3479984 w 3892734"/>
              <a:gd name="connsiteY43" fmla="*/ 1124086 h 2286441"/>
              <a:gd name="connsiteX44" fmla="*/ 3340284 w 3892734"/>
              <a:gd name="connsiteY44" fmla="*/ 1155700 h 2286441"/>
              <a:gd name="connsiteX45" fmla="*/ 3219634 w 3892734"/>
              <a:gd name="connsiteY45" fmla="*/ 1181100 h 2286441"/>
              <a:gd name="connsiteX46" fmla="*/ 3135496 w 3892734"/>
              <a:gd name="connsiteY46" fmla="*/ 1299916 h 2286441"/>
              <a:gd name="connsiteX47" fmla="*/ 2991034 w 3892734"/>
              <a:gd name="connsiteY47" fmla="*/ 1601049 h 2286441"/>
              <a:gd name="connsiteX48" fmla="*/ 2846571 w 3892734"/>
              <a:gd name="connsiteY48" fmla="*/ 1861399 h 2286441"/>
              <a:gd name="connsiteX49" fmla="*/ 2667184 w 3892734"/>
              <a:gd name="connsiteY49" fmla="*/ 2145316 h 2286441"/>
              <a:gd name="connsiteX50" fmla="*/ 2587809 w 3892734"/>
              <a:gd name="connsiteY50" fmla="*/ 2206268 h 2286441"/>
              <a:gd name="connsiteX51" fmla="*/ 2484621 w 3892734"/>
              <a:gd name="connsiteY51" fmla="*/ 2281349 h 2286441"/>
              <a:gd name="connsiteX52" fmla="*/ 2248084 w 3892734"/>
              <a:gd name="connsiteY52" fmla="*/ 2286441 h 2286441"/>
              <a:gd name="connsiteX53" fmla="*/ 2036946 w 3892734"/>
              <a:gd name="connsiteY53" fmla="*/ 2106231 h 2286441"/>
              <a:gd name="connsiteX54" fmla="*/ 1908359 w 3892734"/>
              <a:gd name="connsiteY54" fmla="*/ 1872537 h 2286441"/>
              <a:gd name="connsiteX55" fmla="*/ 1832158 w 3892734"/>
              <a:gd name="connsiteY55" fmla="*/ 1747371 h 2286441"/>
              <a:gd name="connsiteX56" fmla="*/ 1719447 w 3892734"/>
              <a:gd name="connsiteY56" fmla="*/ 1606380 h 2286441"/>
              <a:gd name="connsiteX57" fmla="*/ 1578160 w 3892734"/>
              <a:gd name="connsiteY57" fmla="*/ 1426137 h 2286441"/>
              <a:gd name="connsiteX58" fmla="*/ 1433697 w 3892734"/>
              <a:gd name="connsiteY58" fmla="*/ 1317171 h 2286441"/>
              <a:gd name="connsiteX59" fmla="*/ 1101909 w 3892734"/>
              <a:gd name="connsiteY59" fmla="*/ 1573782 h 2286441"/>
              <a:gd name="connsiteX60" fmla="*/ 895535 w 3892734"/>
              <a:gd name="connsiteY60" fmla="*/ 1609913 h 2286441"/>
              <a:gd name="connsiteX61" fmla="*/ 781234 w 3892734"/>
              <a:gd name="connsiteY61" fmla="*/ 1591782 h 2286441"/>
              <a:gd name="connsiteX62" fmla="*/ 538346 w 3892734"/>
              <a:gd name="connsiteY62" fmla="*/ 1642309 h 2286441"/>
              <a:gd name="connsiteX63" fmla="*/ 397059 w 3892734"/>
              <a:gd name="connsiteY63" fmla="*/ 1620170 h 2286441"/>
              <a:gd name="connsiteX64" fmla="*/ 12884 w 3892734"/>
              <a:gd name="connsiteY64" fmla="*/ 1221921 h 2286441"/>
              <a:gd name="connsiteX65" fmla="*/ 184 w 3892734"/>
              <a:gd name="connsiteY65" fmla="*/ 0 h 2286441"/>
              <a:gd name="connsiteX0" fmla="*/ 184 w 3892734"/>
              <a:gd name="connsiteY0" fmla="*/ 0 h 2286441"/>
              <a:gd name="connsiteX1" fmla="*/ 266884 w 3892734"/>
              <a:gd name="connsiteY1" fmla="*/ 1162050 h 2286441"/>
              <a:gd name="connsiteX2" fmla="*/ 322447 w 3892734"/>
              <a:gd name="connsiteY2" fmla="*/ 1258421 h 2286441"/>
              <a:gd name="connsiteX3" fmla="*/ 376422 w 3892734"/>
              <a:gd name="connsiteY3" fmla="*/ 1353535 h 2286441"/>
              <a:gd name="connsiteX4" fmla="*/ 412934 w 3892734"/>
              <a:gd name="connsiteY4" fmla="*/ 1314450 h 2286441"/>
              <a:gd name="connsiteX5" fmla="*/ 514534 w 3892734"/>
              <a:gd name="connsiteY5" fmla="*/ 996950 h 2286441"/>
              <a:gd name="connsiteX6" fmla="*/ 584384 w 3892734"/>
              <a:gd name="connsiteY6" fmla="*/ 641350 h 2286441"/>
              <a:gd name="connsiteX7" fmla="*/ 641534 w 3892734"/>
              <a:gd name="connsiteY7" fmla="*/ 444500 h 2286441"/>
              <a:gd name="connsiteX8" fmla="*/ 692334 w 3892734"/>
              <a:gd name="connsiteY8" fmla="*/ 330200 h 2286441"/>
              <a:gd name="connsiteX9" fmla="*/ 724084 w 3892734"/>
              <a:gd name="connsiteY9" fmla="*/ 279400 h 2286441"/>
              <a:gd name="connsiteX10" fmla="*/ 806634 w 3892734"/>
              <a:gd name="connsiteY10" fmla="*/ 334581 h 2286441"/>
              <a:gd name="connsiteX11" fmla="*/ 941571 w 3892734"/>
              <a:gd name="connsiteY11" fmla="*/ 603691 h 2286441"/>
              <a:gd name="connsiteX12" fmla="*/ 992372 w 3892734"/>
              <a:gd name="connsiteY12" fmla="*/ 744240 h 2286441"/>
              <a:gd name="connsiteX13" fmla="*/ 1093972 w 3892734"/>
              <a:gd name="connsiteY13" fmla="*/ 842884 h 2286441"/>
              <a:gd name="connsiteX14" fmla="*/ 1198746 w 3892734"/>
              <a:gd name="connsiteY14" fmla="*/ 780371 h 2286441"/>
              <a:gd name="connsiteX15" fmla="*/ 1297171 w 3892734"/>
              <a:gd name="connsiteY15" fmla="*/ 635305 h 2286441"/>
              <a:gd name="connsiteX16" fmla="*/ 1357496 w 3892734"/>
              <a:gd name="connsiteY16" fmla="*/ 565760 h 2286441"/>
              <a:gd name="connsiteX17" fmla="*/ 1486084 w 3892734"/>
              <a:gd name="connsiteY17" fmla="*/ 564606 h 2286441"/>
              <a:gd name="connsiteX18" fmla="*/ 1565459 w 3892734"/>
              <a:gd name="connsiteY18" fmla="*/ 681148 h 2286441"/>
              <a:gd name="connsiteX19" fmla="*/ 1905184 w 3892734"/>
              <a:gd name="connsiteY19" fmla="*/ 1066800 h 2286441"/>
              <a:gd name="connsiteX20" fmla="*/ 2006784 w 3892734"/>
              <a:gd name="connsiteY20" fmla="*/ 1212850 h 2286441"/>
              <a:gd name="connsiteX21" fmla="*/ 2082984 w 3892734"/>
              <a:gd name="connsiteY21" fmla="*/ 1295400 h 2286441"/>
              <a:gd name="connsiteX22" fmla="*/ 2190934 w 3892734"/>
              <a:gd name="connsiteY22" fmla="*/ 1263650 h 2286441"/>
              <a:gd name="connsiteX23" fmla="*/ 2235384 w 3892734"/>
              <a:gd name="connsiteY23" fmla="*/ 1168400 h 2286441"/>
              <a:gd name="connsiteX24" fmla="*/ 2292534 w 3892734"/>
              <a:gd name="connsiteY24" fmla="*/ 1016000 h 2286441"/>
              <a:gd name="connsiteX25" fmla="*/ 2368734 w 3892734"/>
              <a:gd name="connsiteY25" fmla="*/ 876300 h 2286441"/>
              <a:gd name="connsiteX26" fmla="*/ 2425884 w 3892734"/>
              <a:gd name="connsiteY26" fmla="*/ 787400 h 2286441"/>
              <a:gd name="connsiteX27" fmla="*/ 2476684 w 3892734"/>
              <a:gd name="connsiteY27" fmla="*/ 749300 h 2286441"/>
              <a:gd name="connsiteX28" fmla="*/ 2546534 w 3892734"/>
              <a:gd name="connsiteY28" fmla="*/ 736600 h 2286441"/>
              <a:gd name="connsiteX29" fmla="*/ 2654484 w 3892734"/>
              <a:gd name="connsiteY29" fmla="*/ 781050 h 2286441"/>
              <a:gd name="connsiteX30" fmla="*/ 2756084 w 3892734"/>
              <a:gd name="connsiteY30" fmla="*/ 838200 h 2286441"/>
              <a:gd name="connsiteX31" fmla="*/ 2851334 w 3892734"/>
              <a:gd name="connsiteY31" fmla="*/ 901700 h 2286441"/>
              <a:gd name="connsiteX32" fmla="*/ 2997384 w 3892734"/>
              <a:gd name="connsiteY32" fmla="*/ 920750 h 2286441"/>
              <a:gd name="connsiteX33" fmla="*/ 3175184 w 3892734"/>
              <a:gd name="connsiteY33" fmla="*/ 895350 h 2286441"/>
              <a:gd name="connsiteX34" fmla="*/ 3295834 w 3892734"/>
              <a:gd name="connsiteY34" fmla="*/ 774700 h 2286441"/>
              <a:gd name="connsiteX35" fmla="*/ 3391084 w 3892734"/>
              <a:gd name="connsiteY35" fmla="*/ 628650 h 2286441"/>
              <a:gd name="connsiteX36" fmla="*/ 3486334 w 3892734"/>
              <a:gd name="connsiteY36" fmla="*/ 495300 h 2286441"/>
              <a:gd name="connsiteX37" fmla="*/ 3594284 w 3892734"/>
              <a:gd name="connsiteY37" fmla="*/ 412750 h 2286441"/>
              <a:gd name="connsiteX38" fmla="*/ 3714934 w 3892734"/>
              <a:gd name="connsiteY38" fmla="*/ 406400 h 2286441"/>
              <a:gd name="connsiteX39" fmla="*/ 3892734 w 3892734"/>
              <a:gd name="connsiteY39" fmla="*/ 412750 h 2286441"/>
              <a:gd name="connsiteX40" fmla="*/ 3892734 w 3892734"/>
              <a:gd name="connsiteY40" fmla="*/ 755650 h 2286441"/>
              <a:gd name="connsiteX41" fmla="*/ 3708584 w 3892734"/>
              <a:gd name="connsiteY41" fmla="*/ 958850 h 2286441"/>
              <a:gd name="connsiteX42" fmla="*/ 3611747 w 3892734"/>
              <a:gd name="connsiteY42" fmla="*/ 1039839 h 2286441"/>
              <a:gd name="connsiteX43" fmla="*/ 3479984 w 3892734"/>
              <a:gd name="connsiteY43" fmla="*/ 1124086 h 2286441"/>
              <a:gd name="connsiteX44" fmla="*/ 3340284 w 3892734"/>
              <a:gd name="connsiteY44" fmla="*/ 1155700 h 2286441"/>
              <a:gd name="connsiteX45" fmla="*/ 3219634 w 3892734"/>
              <a:gd name="connsiteY45" fmla="*/ 1181100 h 2286441"/>
              <a:gd name="connsiteX46" fmla="*/ 3135496 w 3892734"/>
              <a:gd name="connsiteY46" fmla="*/ 1299916 h 2286441"/>
              <a:gd name="connsiteX47" fmla="*/ 2991034 w 3892734"/>
              <a:gd name="connsiteY47" fmla="*/ 1601049 h 2286441"/>
              <a:gd name="connsiteX48" fmla="*/ 2846571 w 3892734"/>
              <a:gd name="connsiteY48" fmla="*/ 1861399 h 2286441"/>
              <a:gd name="connsiteX49" fmla="*/ 2667184 w 3892734"/>
              <a:gd name="connsiteY49" fmla="*/ 2145316 h 2286441"/>
              <a:gd name="connsiteX50" fmla="*/ 2587809 w 3892734"/>
              <a:gd name="connsiteY50" fmla="*/ 2206268 h 2286441"/>
              <a:gd name="connsiteX51" fmla="*/ 2484621 w 3892734"/>
              <a:gd name="connsiteY51" fmla="*/ 2281349 h 2286441"/>
              <a:gd name="connsiteX52" fmla="*/ 2248084 w 3892734"/>
              <a:gd name="connsiteY52" fmla="*/ 2286441 h 2286441"/>
              <a:gd name="connsiteX53" fmla="*/ 2036946 w 3892734"/>
              <a:gd name="connsiteY53" fmla="*/ 2106231 h 2286441"/>
              <a:gd name="connsiteX54" fmla="*/ 1908359 w 3892734"/>
              <a:gd name="connsiteY54" fmla="*/ 1872537 h 2286441"/>
              <a:gd name="connsiteX55" fmla="*/ 1832158 w 3892734"/>
              <a:gd name="connsiteY55" fmla="*/ 1747371 h 2286441"/>
              <a:gd name="connsiteX56" fmla="*/ 1719447 w 3892734"/>
              <a:gd name="connsiteY56" fmla="*/ 1606380 h 2286441"/>
              <a:gd name="connsiteX57" fmla="*/ 1578160 w 3892734"/>
              <a:gd name="connsiteY57" fmla="*/ 1426137 h 2286441"/>
              <a:gd name="connsiteX58" fmla="*/ 1433697 w 3892734"/>
              <a:gd name="connsiteY58" fmla="*/ 1317171 h 2286441"/>
              <a:gd name="connsiteX59" fmla="*/ 1101909 w 3892734"/>
              <a:gd name="connsiteY59" fmla="*/ 1573782 h 2286441"/>
              <a:gd name="connsiteX60" fmla="*/ 895535 w 3892734"/>
              <a:gd name="connsiteY60" fmla="*/ 1609913 h 2286441"/>
              <a:gd name="connsiteX61" fmla="*/ 781234 w 3892734"/>
              <a:gd name="connsiteY61" fmla="*/ 1591782 h 2286441"/>
              <a:gd name="connsiteX62" fmla="*/ 538346 w 3892734"/>
              <a:gd name="connsiteY62" fmla="*/ 1642309 h 2286441"/>
              <a:gd name="connsiteX63" fmla="*/ 397059 w 3892734"/>
              <a:gd name="connsiteY63" fmla="*/ 1620170 h 2286441"/>
              <a:gd name="connsiteX64" fmla="*/ 12884 w 3892734"/>
              <a:gd name="connsiteY64" fmla="*/ 1221921 h 2286441"/>
              <a:gd name="connsiteX65" fmla="*/ 184 w 3892734"/>
              <a:gd name="connsiteY65" fmla="*/ 0 h 2286441"/>
              <a:gd name="connsiteX0" fmla="*/ 184 w 3892734"/>
              <a:gd name="connsiteY0" fmla="*/ 0 h 2286441"/>
              <a:gd name="connsiteX1" fmla="*/ 266884 w 3892734"/>
              <a:gd name="connsiteY1" fmla="*/ 1162050 h 2286441"/>
              <a:gd name="connsiteX2" fmla="*/ 322447 w 3892734"/>
              <a:gd name="connsiteY2" fmla="*/ 1258421 h 2286441"/>
              <a:gd name="connsiteX3" fmla="*/ 376422 w 3892734"/>
              <a:gd name="connsiteY3" fmla="*/ 1353535 h 2286441"/>
              <a:gd name="connsiteX4" fmla="*/ 412934 w 3892734"/>
              <a:gd name="connsiteY4" fmla="*/ 1314450 h 2286441"/>
              <a:gd name="connsiteX5" fmla="*/ 514534 w 3892734"/>
              <a:gd name="connsiteY5" fmla="*/ 996950 h 2286441"/>
              <a:gd name="connsiteX6" fmla="*/ 584384 w 3892734"/>
              <a:gd name="connsiteY6" fmla="*/ 641350 h 2286441"/>
              <a:gd name="connsiteX7" fmla="*/ 641534 w 3892734"/>
              <a:gd name="connsiteY7" fmla="*/ 444500 h 2286441"/>
              <a:gd name="connsiteX8" fmla="*/ 692334 w 3892734"/>
              <a:gd name="connsiteY8" fmla="*/ 330200 h 2286441"/>
              <a:gd name="connsiteX9" fmla="*/ 724084 w 3892734"/>
              <a:gd name="connsiteY9" fmla="*/ 279400 h 2286441"/>
              <a:gd name="connsiteX10" fmla="*/ 806634 w 3892734"/>
              <a:gd name="connsiteY10" fmla="*/ 334581 h 2286441"/>
              <a:gd name="connsiteX11" fmla="*/ 941571 w 3892734"/>
              <a:gd name="connsiteY11" fmla="*/ 603691 h 2286441"/>
              <a:gd name="connsiteX12" fmla="*/ 992372 w 3892734"/>
              <a:gd name="connsiteY12" fmla="*/ 744240 h 2286441"/>
              <a:gd name="connsiteX13" fmla="*/ 1093972 w 3892734"/>
              <a:gd name="connsiteY13" fmla="*/ 842884 h 2286441"/>
              <a:gd name="connsiteX14" fmla="*/ 1198746 w 3892734"/>
              <a:gd name="connsiteY14" fmla="*/ 780371 h 2286441"/>
              <a:gd name="connsiteX15" fmla="*/ 1297171 w 3892734"/>
              <a:gd name="connsiteY15" fmla="*/ 635305 h 2286441"/>
              <a:gd name="connsiteX16" fmla="*/ 1400358 w 3892734"/>
              <a:gd name="connsiteY16" fmla="*/ 547695 h 2286441"/>
              <a:gd name="connsiteX17" fmla="*/ 1486084 w 3892734"/>
              <a:gd name="connsiteY17" fmla="*/ 564606 h 2286441"/>
              <a:gd name="connsiteX18" fmla="*/ 1565459 w 3892734"/>
              <a:gd name="connsiteY18" fmla="*/ 681148 h 2286441"/>
              <a:gd name="connsiteX19" fmla="*/ 1905184 w 3892734"/>
              <a:gd name="connsiteY19" fmla="*/ 1066800 h 2286441"/>
              <a:gd name="connsiteX20" fmla="*/ 2006784 w 3892734"/>
              <a:gd name="connsiteY20" fmla="*/ 1212850 h 2286441"/>
              <a:gd name="connsiteX21" fmla="*/ 2082984 w 3892734"/>
              <a:gd name="connsiteY21" fmla="*/ 1295400 h 2286441"/>
              <a:gd name="connsiteX22" fmla="*/ 2190934 w 3892734"/>
              <a:gd name="connsiteY22" fmla="*/ 1263650 h 2286441"/>
              <a:gd name="connsiteX23" fmla="*/ 2235384 w 3892734"/>
              <a:gd name="connsiteY23" fmla="*/ 1168400 h 2286441"/>
              <a:gd name="connsiteX24" fmla="*/ 2292534 w 3892734"/>
              <a:gd name="connsiteY24" fmla="*/ 1016000 h 2286441"/>
              <a:gd name="connsiteX25" fmla="*/ 2368734 w 3892734"/>
              <a:gd name="connsiteY25" fmla="*/ 876300 h 2286441"/>
              <a:gd name="connsiteX26" fmla="*/ 2425884 w 3892734"/>
              <a:gd name="connsiteY26" fmla="*/ 787400 h 2286441"/>
              <a:gd name="connsiteX27" fmla="*/ 2476684 w 3892734"/>
              <a:gd name="connsiteY27" fmla="*/ 749300 h 2286441"/>
              <a:gd name="connsiteX28" fmla="*/ 2546534 w 3892734"/>
              <a:gd name="connsiteY28" fmla="*/ 736600 h 2286441"/>
              <a:gd name="connsiteX29" fmla="*/ 2654484 w 3892734"/>
              <a:gd name="connsiteY29" fmla="*/ 781050 h 2286441"/>
              <a:gd name="connsiteX30" fmla="*/ 2756084 w 3892734"/>
              <a:gd name="connsiteY30" fmla="*/ 838200 h 2286441"/>
              <a:gd name="connsiteX31" fmla="*/ 2851334 w 3892734"/>
              <a:gd name="connsiteY31" fmla="*/ 901700 h 2286441"/>
              <a:gd name="connsiteX32" fmla="*/ 2997384 w 3892734"/>
              <a:gd name="connsiteY32" fmla="*/ 920750 h 2286441"/>
              <a:gd name="connsiteX33" fmla="*/ 3175184 w 3892734"/>
              <a:gd name="connsiteY33" fmla="*/ 895350 h 2286441"/>
              <a:gd name="connsiteX34" fmla="*/ 3295834 w 3892734"/>
              <a:gd name="connsiteY34" fmla="*/ 774700 h 2286441"/>
              <a:gd name="connsiteX35" fmla="*/ 3391084 w 3892734"/>
              <a:gd name="connsiteY35" fmla="*/ 628650 h 2286441"/>
              <a:gd name="connsiteX36" fmla="*/ 3486334 w 3892734"/>
              <a:gd name="connsiteY36" fmla="*/ 495300 h 2286441"/>
              <a:gd name="connsiteX37" fmla="*/ 3594284 w 3892734"/>
              <a:gd name="connsiteY37" fmla="*/ 412750 h 2286441"/>
              <a:gd name="connsiteX38" fmla="*/ 3714934 w 3892734"/>
              <a:gd name="connsiteY38" fmla="*/ 406400 h 2286441"/>
              <a:gd name="connsiteX39" fmla="*/ 3892734 w 3892734"/>
              <a:gd name="connsiteY39" fmla="*/ 412750 h 2286441"/>
              <a:gd name="connsiteX40" fmla="*/ 3892734 w 3892734"/>
              <a:gd name="connsiteY40" fmla="*/ 755650 h 2286441"/>
              <a:gd name="connsiteX41" fmla="*/ 3708584 w 3892734"/>
              <a:gd name="connsiteY41" fmla="*/ 958850 h 2286441"/>
              <a:gd name="connsiteX42" fmla="*/ 3611747 w 3892734"/>
              <a:gd name="connsiteY42" fmla="*/ 1039839 h 2286441"/>
              <a:gd name="connsiteX43" fmla="*/ 3479984 w 3892734"/>
              <a:gd name="connsiteY43" fmla="*/ 1124086 h 2286441"/>
              <a:gd name="connsiteX44" fmla="*/ 3340284 w 3892734"/>
              <a:gd name="connsiteY44" fmla="*/ 1155700 h 2286441"/>
              <a:gd name="connsiteX45" fmla="*/ 3219634 w 3892734"/>
              <a:gd name="connsiteY45" fmla="*/ 1181100 h 2286441"/>
              <a:gd name="connsiteX46" fmla="*/ 3135496 w 3892734"/>
              <a:gd name="connsiteY46" fmla="*/ 1299916 h 2286441"/>
              <a:gd name="connsiteX47" fmla="*/ 2991034 w 3892734"/>
              <a:gd name="connsiteY47" fmla="*/ 1601049 h 2286441"/>
              <a:gd name="connsiteX48" fmla="*/ 2846571 w 3892734"/>
              <a:gd name="connsiteY48" fmla="*/ 1861399 h 2286441"/>
              <a:gd name="connsiteX49" fmla="*/ 2667184 w 3892734"/>
              <a:gd name="connsiteY49" fmla="*/ 2145316 h 2286441"/>
              <a:gd name="connsiteX50" fmla="*/ 2587809 w 3892734"/>
              <a:gd name="connsiteY50" fmla="*/ 2206268 h 2286441"/>
              <a:gd name="connsiteX51" fmla="*/ 2484621 w 3892734"/>
              <a:gd name="connsiteY51" fmla="*/ 2281349 h 2286441"/>
              <a:gd name="connsiteX52" fmla="*/ 2248084 w 3892734"/>
              <a:gd name="connsiteY52" fmla="*/ 2286441 h 2286441"/>
              <a:gd name="connsiteX53" fmla="*/ 2036946 w 3892734"/>
              <a:gd name="connsiteY53" fmla="*/ 2106231 h 2286441"/>
              <a:gd name="connsiteX54" fmla="*/ 1908359 w 3892734"/>
              <a:gd name="connsiteY54" fmla="*/ 1872537 h 2286441"/>
              <a:gd name="connsiteX55" fmla="*/ 1832158 w 3892734"/>
              <a:gd name="connsiteY55" fmla="*/ 1747371 h 2286441"/>
              <a:gd name="connsiteX56" fmla="*/ 1719447 w 3892734"/>
              <a:gd name="connsiteY56" fmla="*/ 1606380 h 2286441"/>
              <a:gd name="connsiteX57" fmla="*/ 1578160 w 3892734"/>
              <a:gd name="connsiteY57" fmla="*/ 1426137 h 2286441"/>
              <a:gd name="connsiteX58" fmla="*/ 1433697 w 3892734"/>
              <a:gd name="connsiteY58" fmla="*/ 1317171 h 2286441"/>
              <a:gd name="connsiteX59" fmla="*/ 1101909 w 3892734"/>
              <a:gd name="connsiteY59" fmla="*/ 1573782 h 2286441"/>
              <a:gd name="connsiteX60" fmla="*/ 895535 w 3892734"/>
              <a:gd name="connsiteY60" fmla="*/ 1609913 h 2286441"/>
              <a:gd name="connsiteX61" fmla="*/ 781234 w 3892734"/>
              <a:gd name="connsiteY61" fmla="*/ 1591782 h 2286441"/>
              <a:gd name="connsiteX62" fmla="*/ 538346 w 3892734"/>
              <a:gd name="connsiteY62" fmla="*/ 1642309 h 2286441"/>
              <a:gd name="connsiteX63" fmla="*/ 397059 w 3892734"/>
              <a:gd name="connsiteY63" fmla="*/ 1620170 h 2286441"/>
              <a:gd name="connsiteX64" fmla="*/ 12884 w 3892734"/>
              <a:gd name="connsiteY64" fmla="*/ 1221921 h 2286441"/>
              <a:gd name="connsiteX65" fmla="*/ 184 w 3892734"/>
              <a:gd name="connsiteY65" fmla="*/ 0 h 2286441"/>
              <a:gd name="connsiteX0" fmla="*/ 184 w 3892734"/>
              <a:gd name="connsiteY0" fmla="*/ 0 h 2286441"/>
              <a:gd name="connsiteX1" fmla="*/ 266884 w 3892734"/>
              <a:gd name="connsiteY1" fmla="*/ 1162050 h 2286441"/>
              <a:gd name="connsiteX2" fmla="*/ 322447 w 3892734"/>
              <a:gd name="connsiteY2" fmla="*/ 1258421 h 2286441"/>
              <a:gd name="connsiteX3" fmla="*/ 376422 w 3892734"/>
              <a:gd name="connsiteY3" fmla="*/ 1353535 h 2286441"/>
              <a:gd name="connsiteX4" fmla="*/ 412934 w 3892734"/>
              <a:gd name="connsiteY4" fmla="*/ 1314450 h 2286441"/>
              <a:gd name="connsiteX5" fmla="*/ 514534 w 3892734"/>
              <a:gd name="connsiteY5" fmla="*/ 996950 h 2286441"/>
              <a:gd name="connsiteX6" fmla="*/ 584384 w 3892734"/>
              <a:gd name="connsiteY6" fmla="*/ 641350 h 2286441"/>
              <a:gd name="connsiteX7" fmla="*/ 641534 w 3892734"/>
              <a:gd name="connsiteY7" fmla="*/ 444500 h 2286441"/>
              <a:gd name="connsiteX8" fmla="*/ 692334 w 3892734"/>
              <a:gd name="connsiteY8" fmla="*/ 330200 h 2286441"/>
              <a:gd name="connsiteX9" fmla="*/ 724084 w 3892734"/>
              <a:gd name="connsiteY9" fmla="*/ 279400 h 2286441"/>
              <a:gd name="connsiteX10" fmla="*/ 806634 w 3892734"/>
              <a:gd name="connsiteY10" fmla="*/ 334581 h 2286441"/>
              <a:gd name="connsiteX11" fmla="*/ 941571 w 3892734"/>
              <a:gd name="connsiteY11" fmla="*/ 603691 h 2286441"/>
              <a:gd name="connsiteX12" fmla="*/ 992372 w 3892734"/>
              <a:gd name="connsiteY12" fmla="*/ 744240 h 2286441"/>
              <a:gd name="connsiteX13" fmla="*/ 1093972 w 3892734"/>
              <a:gd name="connsiteY13" fmla="*/ 842884 h 2286441"/>
              <a:gd name="connsiteX14" fmla="*/ 1198746 w 3892734"/>
              <a:gd name="connsiteY14" fmla="*/ 780371 h 2286441"/>
              <a:gd name="connsiteX15" fmla="*/ 1297171 w 3892734"/>
              <a:gd name="connsiteY15" fmla="*/ 635305 h 2286441"/>
              <a:gd name="connsiteX16" fmla="*/ 1400358 w 3892734"/>
              <a:gd name="connsiteY16" fmla="*/ 547695 h 2286441"/>
              <a:gd name="connsiteX17" fmla="*/ 1486084 w 3892734"/>
              <a:gd name="connsiteY17" fmla="*/ 564606 h 2286441"/>
              <a:gd name="connsiteX18" fmla="*/ 1565459 w 3892734"/>
              <a:gd name="connsiteY18" fmla="*/ 681148 h 2286441"/>
              <a:gd name="connsiteX19" fmla="*/ 1748022 w 3892734"/>
              <a:gd name="connsiteY19" fmla="*/ 1080350 h 2286441"/>
              <a:gd name="connsiteX20" fmla="*/ 2006784 w 3892734"/>
              <a:gd name="connsiteY20" fmla="*/ 1212850 h 2286441"/>
              <a:gd name="connsiteX21" fmla="*/ 2082984 w 3892734"/>
              <a:gd name="connsiteY21" fmla="*/ 1295400 h 2286441"/>
              <a:gd name="connsiteX22" fmla="*/ 2190934 w 3892734"/>
              <a:gd name="connsiteY22" fmla="*/ 1263650 h 2286441"/>
              <a:gd name="connsiteX23" fmla="*/ 2235384 w 3892734"/>
              <a:gd name="connsiteY23" fmla="*/ 1168400 h 2286441"/>
              <a:gd name="connsiteX24" fmla="*/ 2292534 w 3892734"/>
              <a:gd name="connsiteY24" fmla="*/ 1016000 h 2286441"/>
              <a:gd name="connsiteX25" fmla="*/ 2368734 w 3892734"/>
              <a:gd name="connsiteY25" fmla="*/ 876300 h 2286441"/>
              <a:gd name="connsiteX26" fmla="*/ 2425884 w 3892734"/>
              <a:gd name="connsiteY26" fmla="*/ 787400 h 2286441"/>
              <a:gd name="connsiteX27" fmla="*/ 2476684 w 3892734"/>
              <a:gd name="connsiteY27" fmla="*/ 749300 h 2286441"/>
              <a:gd name="connsiteX28" fmla="*/ 2546534 w 3892734"/>
              <a:gd name="connsiteY28" fmla="*/ 736600 h 2286441"/>
              <a:gd name="connsiteX29" fmla="*/ 2654484 w 3892734"/>
              <a:gd name="connsiteY29" fmla="*/ 781050 h 2286441"/>
              <a:gd name="connsiteX30" fmla="*/ 2756084 w 3892734"/>
              <a:gd name="connsiteY30" fmla="*/ 838200 h 2286441"/>
              <a:gd name="connsiteX31" fmla="*/ 2851334 w 3892734"/>
              <a:gd name="connsiteY31" fmla="*/ 901700 h 2286441"/>
              <a:gd name="connsiteX32" fmla="*/ 2997384 w 3892734"/>
              <a:gd name="connsiteY32" fmla="*/ 920750 h 2286441"/>
              <a:gd name="connsiteX33" fmla="*/ 3175184 w 3892734"/>
              <a:gd name="connsiteY33" fmla="*/ 895350 h 2286441"/>
              <a:gd name="connsiteX34" fmla="*/ 3295834 w 3892734"/>
              <a:gd name="connsiteY34" fmla="*/ 774700 h 2286441"/>
              <a:gd name="connsiteX35" fmla="*/ 3391084 w 3892734"/>
              <a:gd name="connsiteY35" fmla="*/ 628650 h 2286441"/>
              <a:gd name="connsiteX36" fmla="*/ 3486334 w 3892734"/>
              <a:gd name="connsiteY36" fmla="*/ 495300 h 2286441"/>
              <a:gd name="connsiteX37" fmla="*/ 3594284 w 3892734"/>
              <a:gd name="connsiteY37" fmla="*/ 412750 h 2286441"/>
              <a:gd name="connsiteX38" fmla="*/ 3714934 w 3892734"/>
              <a:gd name="connsiteY38" fmla="*/ 406400 h 2286441"/>
              <a:gd name="connsiteX39" fmla="*/ 3892734 w 3892734"/>
              <a:gd name="connsiteY39" fmla="*/ 412750 h 2286441"/>
              <a:gd name="connsiteX40" fmla="*/ 3892734 w 3892734"/>
              <a:gd name="connsiteY40" fmla="*/ 755650 h 2286441"/>
              <a:gd name="connsiteX41" fmla="*/ 3708584 w 3892734"/>
              <a:gd name="connsiteY41" fmla="*/ 958850 h 2286441"/>
              <a:gd name="connsiteX42" fmla="*/ 3611747 w 3892734"/>
              <a:gd name="connsiteY42" fmla="*/ 1039839 h 2286441"/>
              <a:gd name="connsiteX43" fmla="*/ 3479984 w 3892734"/>
              <a:gd name="connsiteY43" fmla="*/ 1124086 h 2286441"/>
              <a:gd name="connsiteX44" fmla="*/ 3340284 w 3892734"/>
              <a:gd name="connsiteY44" fmla="*/ 1155700 h 2286441"/>
              <a:gd name="connsiteX45" fmla="*/ 3219634 w 3892734"/>
              <a:gd name="connsiteY45" fmla="*/ 1181100 h 2286441"/>
              <a:gd name="connsiteX46" fmla="*/ 3135496 w 3892734"/>
              <a:gd name="connsiteY46" fmla="*/ 1299916 h 2286441"/>
              <a:gd name="connsiteX47" fmla="*/ 2991034 w 3892734"/>
              <a:gd name="connsiteY47" fmla="*/ 1601049 h 2286441"/>
              <a:gd name="connsiteX48" fmla="*/ 2846571 w 3892734"/>
              <a:gd name="connsiteY48" fmla="*/ 1861399 h 2286441"/>
              <a:gd name="connsiteX49" fmla="*/ 2667184 w 3892734"/>
              <a:gd name="connsiteY49" fmla="*/ 2145316 h 2286441"/>
              <a:gd name="connsiteX50" fmla="*/ 2587809 w 3892734"/>
              <a:gd name="connsiteY50" fmla="*/ 2206268 h 2286441"/>
              <a:gd name="connsiteX51" fmla="*/ 2484621 w 3892734"/>
              <a:gd name="connsiteY51" fmla="*/ 2281349 h 2286441"/>
              <a:gd name="connsiteX52" fmla="*/ 2248084 w 3892734"/>
              <a:gd name="connsiteY52" fmla="*/ 2286441 h 2286441"/>
              <a:gd name="connsiteX53" fmla="*/ 2036946 w 3892734"/>
              <a:gd name="connsiteY53" fmla="*/ 2106231 h 2286441"/>
              <a:gd name="connsiteX54" fmla="*/ 1908359 w 3892734"/>
              <a:gd name="connsiteY54" fmla="*/ 1872537 h 2286441"/>
              <a:gd name="connsiteX55" fmla="*/ 1832158 w 3892734"/>
              <a:gd name="connsiteY55" fmla="*/ 1747371 h 2286441"/>
              <a:gd name="connsiteX56" fmla="*/ 1719447 w 3892734"/>
              <a:gd name="connsiteY56" fmla="*/ 1606380 h 2286441"/>
              <a:gd name="connsiteX57" fmla="*/ 1578160 w 3892734"/>
              <a:gd name="connsiteY57" fmla="*/ 1426137 h 2286441"/>
              <a:gd name="connsiteX58" fmla="*/ 1433697 w 3892734"/>
              <a:gd name="connsiteY58" fmla="*/ 1317171 h 2286441"/>
              <a:gd name="connsiteX59" fmla="*/ 1101909 w 3892734"/>
              <a:gd name="connsiteY59" fmla="*/ 1573782 h 2286441"/>
              <a:gd name="connsiteX60" fmla="*/ 895535 w 3892734"/>
              <a:gd name="connsiteY60" fmla="*/ 1609913 h 2286441"/>
              <a:gd name="connsiteX61" fmla="*/ 781234 w 3892734"/>
              <a:gd name="connsiteY61" fmla="*/ 1591782 h 2286441"/>
              <a:gd name="connsiteX62" fmla="*/ 538346 w 3892734"/>
              <a:gd name="connsiteY62" fmla="*/ 1642309 h 2286441"/>
              <a:gd name="connsiteX63" fmla="*/ 397059 w 3892734"/>
              <a:gd name="connsiteY63" fmla="*/ 1620170 h 2286441"/>
              <a:gd name="connsiteX64" fmla="*/ 12884 w 3892734"/>
              <a:gd name="connsiteY64" fmla="*/ 1221921 h 2286441"/>
              <a:gd name="connsiteX65" fmla="*/ 184 w 3892734"/>
              <a:gd name="connsiteY65" fmla="*/ 0 h 2286441"/>
              <a:gd name="connsiteX0" fmla="*/ 184 w 3892734"/>
              <a:gd name="connsiteY0" fmla="*/ 0 h 2286441"/>
              <a:gd name="connsiteX1" fmla="*/ 266884 w 3892734"/>
              <a:gd name="connsiteY1" fmla="*/ 1162050 h 2286441"/>
              <a:gd name="connsiteX2" fmla="*/ 322447 w 3892734"/>
              <a:gd name="connsiteY2" fmla="*/ 1258421 h 2286441"/>
              <a:gd name="connsiteX3" fmla="*/ 376422 w 3892734"/>
              <a:gd name="connsiteY3" fmla="*/ 1353535 h 2286441"/>
              <a:gd name="connsiteX4" fmla="*/ 412934 w 3892734"/>
              <a:gd name="connsiteY4" fmla="*/ 1314450 h 2286441"/>
              <a:gd name="connsiteX5" fmla="*/ 514534 w 3892734"/>
              <a:gd name="connsiteY5" fmla="*/ 996950 h 2286441"/>
              <a:gd name="connsiteX6" fmla="*/ 584384 w 3892734"/>
              <a:gd name="connsiteY6" fmla="*/ 641350 h 2286441"/>
              <a:gd name="connsiteX7" fmla="*/ 641534 w 3892734"/>
              <a:gd name="connsiteY7" fmla="*/ 444500 h 2286441"/>
              <a:gd name="connsiteX8" fmla="*/ 692334 w 3892734"/>
              <a:gd name="connsiteY8" fmla="*/ 330200 h 2286441"/>
              <a:gd name="connsiteX9" fmla="*/ 724084 w 3892734"/>
              <a:gd name="connsiteY9" fmla="*/ 279400 h 2286441"/>
              <a:gd name="connsiteX10" fmla="*/ 806634 w 3892734"/>
              <a:gd name="connsiteY10" fmla="*/ 334581 h 2286441"/>
              <a:gd name="connsiteX11" fmla="*/ 941571 w 3892734"/>
              <a:gd name="connsiteY11" fmla="*/ 603691 h 2286441"/>
              <a:gd name="connsiteX12" fmla="*/ 992372 w 3892734"/>
              <a:gd name="connsiteY12" fmla="*/ 744240 h 2286441"/>
              <a:gd name="connsiteX13" fmla="*/ 1093972 w 3892734"/>
              <a:gd name="connsiteY13" fmla="*/ 842884 h 2286441"/>
              <a:gd name="connsiteX14" fmla="*/ 1198746 w 3892734"/>
              <a:gd name="connsiteY14" fmla="*/ 780371 h 2286441"/>
              <a:gd name="connsiteX15" fmla="*/ 1297171 w 3892734"/>
              <a:gd name="connsiteY15" fmla="*/ 635305 h 2286441"/>
              <a:gd name="connsiteX16" fmla="*/ 1400358 w 3892734"/>
              <a:gd name="connsiteY16" fmla="*/ 547695 h 2286441"/>
              <a:gd name="connsiteX17" fmla="*/ 1486084 w 3892734"/>
              <a:gd name="connsiteY17" fmla="*/ 564606 h 2286441"/>
              <a:gd name="connsiteX18" fmla="*/ 1565459 w 3892734"/>
              <a:gd name="connsiteY18" fmla="*/ 681148 h 2286441"/>
              <a:gd name="connsiteX19" fmla="*/ 1771834 w 3892734"/>
              <a:gd name="connsiteY19" fmla="*/ 1080350 h 2286441"/>
              <a:gd name="connsiteX20" fmla="*/ 2006784 w 3892734"/>
              <a:gd name="connsiteY20" fmla="*/ 1212850 h 2286441"/>
              <a:gd name="connsiteX21" fmla="*/ 2082984 w 3892734"/>
              <a:gd name="connsiteY21" fmla="*/ 1295400 h 2286441"/>
              <a:gd name="connsiteX22" fmla="*/ 2190934 w 3892734"/>
              <a:gd name="connsiteY22" fmla="*/ 1263650 h 2286441"/>
              <a:gd name="connsiteX23" fmla="*/ 2235384 w 3892734"/>
              <a:gd name="connsiteY23" fmla="*/ 1168400 h 2286441"/>
              <a:gd name="connsiteX24" fmla="*/ 2292534 w 3892734"/>
              <a:gd name="connsiteY24" fmla="*/ 1016000 h 2286441"/>
              <a:gd name="connsiteX25" fmla="*/ 2368734 w 3892734"/>
              <a:gd name="connsiteY25" fmla="*/ 876300 h 2286441"/>
              <a:gd name="connsiteX26" fmla="*/ 2425884 w 3892734"/>
              <a:gd name="connsiteY26" fmla="*/ 787400 h 2286441"/>
              <a:gd name="connsiteX27" fmla="*/ 2476684 w 3892734"/>
              <a:gd name="connsiteY27" fmla="*/ 749300 h 2286441"/>
              <a:gd name="connsiteX28" fmla="*/ 2546534 w 3892734"/>
              <a:gd name="connsiteY28" fmla="*/ 736600 h 2286441"/>
              <a:gd name="connsiteX29" fmla="*/ 2654484 w 3892734"/>
              <a:gd name="connsiteY29" fmla="*/ 781050 h 2286441"/>
              <a:gd name="connsiteX30" fmla="*/ 2756084 w 3892734"/>
              <a:gd name="connsiteY30" fmla="*/ 838200 h 2286441"/>
              <a:gd name="connsiteX31" fmla="*/ 2851334 w 3892734"/>
              <a:gd name="connsiteY31" fmla="*/ 901700 h 2286441"/>
              <a:gd name="connsiteX32" fmla="*/ 2997384 w 3892734"/>
              <a:gd name="connsiteY32" fmla="*/ 920750 h 2286441"/>
              <a:gd name="connsiteX33" fmla="*/ 3175184 w 3892734"/>
              <a:gd name="connsiteY33" fmla="*/ 895350 h 2286441"/>
              <a:gd name="connsiteX34" fmla="*/ 3295834 w 3892734"/>
              <a:gd name="connsiteY34" fmla="*/ 774700 h 2286441"/>
              <a:gd name="connsiteX35" fmla="*/ 3391084 w 3892734"/>
              <a:gd name="connsiteY35" fmla="*/ 628650 h 2286441"/>
              <a:gd name="connsiteX36" fmla="*/ 3486334 w 3892734"/>
              <a:gd name="connsiteY36" fmla="*/ 495300 h 2286441"/>
              <a:gd name="connsiteX37" fmla="*/ 3594284 w 3892734"/>
              <a:gd name="connsiteY37" fmla="*/ 412750 h 2286441"/>
              <a:gd name="connsiteX38" fmla="*/ 3714934 w 3892734"/>
              <a:gd name="connsiteY38" fmla="*/ 406400 h 2286441"/>
              <a:gd name="connsiteX39" fmla="*/ 3892734 w 3892734"/>
              <a:gd name="connsiteY39" fmla="*/ 412750 h 2286441"/>
              <a:gd name="connsiteX40" fmla="*/ 3892734 w 3892734"/>
              <a:gd name="connsiteY40" fmla="*/ 755650 h 2286441"/>
              <a:gd name="connsiteX41" fmla="*/ 3708584 w 3892734"/>
              <a:gd name="connsiteY41" fmla="*/ 958850 h 2286441"/>
              <a:gd name="connsiteX42" fmla="*/ 3611747 w 3892734"/>
              <a:gd name="connsiteY42" fmla="*/ 1039839 h 2286441"/>
              <a:gd name="connsiteX43" fmla="*/ 3479984 w 3892734"/>
              <a:gd name="connsiteY43" fmla="*/ 1124086 h 2286441"/>
              <a:gd name="connsiteX44" fmla="*/ 3340284 w 3892734"/>
              <a:gd name="connsiteY44" fmla="*/ 1155700 h 2286441"/>
              <a:gd name="connsiteX45" fmla="*/ 3219634 w 3892734"/>
              <a:gd name="connsiteY45" fmla="*/ 1181100 h 2286441"/>
              <a:gd name="connsiteX46" fmla="*/ 3135496 w 3892734"/>
              <a:gd name="connsiteY46" fmla="*/ 1299916 h 2286441"/>
              <a:gd name="connsiteX47" fmla="*/ 2991034 w 3892734"/>
              <a:gd name="connsiteY47" fmla="*/ 1601049 h 2286441"/>
              <a:gd name="connsiteX48" fmla="*/ 2846571 w 3892734"/>
              <a:gd name="connsiteY48" fmla="*/ 1861399 h 2286441"/>
              <a:gd name="connsiteX49" fmla="*/ 2667184 w 3892734"/>
              <a:gd name="connsiteY49" fmla="*/ 2145316 h 2286441"/>
              <a:gd name="connsiteX50" fmla="*/ 2587809 w 3892734"/>
              <a:gd name="connsiteY50" fmla="*/ 2206268 h 2286441"/>
              <a:gd name="connsiteX51" fmla="*/ 2484621 w 3892734"/>
              <a:gd name="connsiteY51" fmla="*/ 2281349 h 2286441"/>
              <a:gd name="connsiteX52" fmla="*/ 2248084 w 3892734"/>
              <a:gd name="connsiteY52" fmla="*/ 2286441 h 2286441"/>
              <a:gd name="connsiteX53" fmla="*/ 2036946 w 3892734"/>
              <a:gd name="connsiteY53" fmla="*/ 2106231 h 2286441"/>
              <a:gd name="connsiteX54" fmla="*/ 1908359 w 3892734"/>
              <a:gd name="connsiteY54" fmla="*/ 1872537 h 2286441"/>
              <a:gd name="connsiteX55" fmla="*/ 1832158 w 3892734"/>
              <a:gd name="connsiteY55" fmla="*/ 1747371 h 2286441"/>
              <a:gd name="connsiteX56" fmla="*/ 1719447 w 3892734"/>
              <a:gd name="connsiteY56" fmla="*/ 1606380 h 2286441"/>
              <a:gd name="connsiteX57" fmla="*/ 1578160 w 3892734"/>
              <a:gd name="connsiteY57" fmla="*/ 1426137 h 2286441"/>
              <a:gd name="connsiteX58" fmla="*/ 1433697 w 3892734"/>
              <a:gd name="connsiteY58" fmla="*/ 1317171 h 2286441"/>
              <a:gd name="connsiteX59" fmla="*/ 1101909 w 3892734"/>
              <a:gd name="connsiteY59" fmla="*/ 1573782 h 2286441"/>
              <a:gd name="connsiteX60" fmla="*/ 895535 w 3892734"/>
              <a:gd name="connsiteY60" fmla="*/ 1609913 h 2286441"/>
              <a:gd name="connsiteX61" fmla="*/ 781234 w 3892734"/>
              <a:gd name="connsiteY61" fmla="*/ 1591782 h 2286441"/>
              <a:gd name="connsiteX62" fmla="*/ 538346 w 3892734"/>
              <a:gd name="connsiteY62" fmla="*/ 1642309 h 2286441"/>
              <a:gd name="connsiteX63" fmla="*/ 397059 w 3892734"/>
              <a:gd name="connsiteY63" fmla="*/ 1620170 h 2286441"/>
              <a:gd name="connsiteX64" fmla="*/ 12884 w 3892734"/>
              <a:gd name="connsiteY64" fmla="*/ 1221921 h 2286441"/>
              <a:gd name="connsiteX65" fmla="*/ 184 w 3892734"/>
              <a:gd name="connsiteY65" fmla="*/ 0 h 2286441"/>
              <a:gd name="connsiteX0" fmla="*/ 184 w 3892734"/>
              <a:gd name="connsiteY0" fmla="*/ 0 h 2286441"/>
              <a:gd name="connsiteX1" fmla="*/ 266884 w 3892734"/>
              <a:gd name="connsiteY1" fmla="*/ 1162050 h 2286441"/>
              <a:gd name="connsiteX2" fmla="*/ 322447 w 3892734"/>
              <a:gd name="connsiteY2" fmla="*/ 1258421 h 2286441"/>
              <a:gd name="connsiteX3" fmla="*/ 376422 w 3892734"/>
              <a:gd name="connsiteY3" fmla="*/ 1353535 h 2286441"/>
              <a:gd name="connsiteX4" fmla="*/ 412934 w 3892734"/>
              <a:gd name="connsiteY4" fmla="*/ 1314450 h 2286441"/>
              <a:gd name="connsiteX5" fmla="*/ 514534 w 3892734"/>
              <a:gd name="connsiteY5" fmla="*/ 996950 h 2286441"/>
              <a:gd name="connsiteX6" fmla="*/ 584384 w 3892734"/>
              <a:gd name="connsiteY6" fmla="*/ 641350 h 2286441"/>
              <a:gd name="connsiteX7" fmla="*/ 641534 w 3892734"/>
              <a:gd name="connsiteY7" fmla="*/ 444500 h 2286441"/>
              <a:gd name="connsiteX8" fmla="*/ 692334 w 3892734"/>
              <a:gd name="connsiteY8" fmla="*/ 330200 h 2286441"/>
              <a:gd name="connsiteX9" fmla="*/ 724084 w 3892734"/>
              <a:gd name="connsiteY9" fmla="*/ 279400 h 2286441"/>
              <a:gd name="connsiteX10" fmla="*/ 806634 w 3892734"/>
              <a:gd name="connsiteY10" fmla="*/ 334581 h 2286441"/>
              <a:gd name="connsiteX11" fmla="*/ 941571 w 3892734"/>
              <a:gd name="connsiteY11" fmla="*/ 603691 h 2286441"/>
              <a:gd name="connsiteX12" fmla="*/ 992372 w 3892734"/>
              <a:gd name="connsiteY12" fmla="*/ 744240 h 2286441"/>
              <a:gd name="connsiteX13" fmla="*/ 1093972 w 3892734"/>
              <a:gd name="connsiteY13" fmla="*/ 842884 h 2286441"/>
              <a:gd name="connsiteX14" fmla="*/ 1198746 w 3892734"/>
              <a:gd name="connsiteY14" fmla="*/ 780371 h 2286441"/>
              <a:gd name="connsiteX15" fmla="*/ 1297171 w 3892734"/>
              <a:gd name="connsiteY15" fmla="*/ 635305 h 2286441"/>
              <a:gd name="connsiteX16" fmla="*/ 1400358 w 3892734"/>
              <a:gd name="connsiteY16" fmla="*/ 547695 h 2286441"/>
              <a:gd name="connsiteX17" fmla="*/ 1486084 w 3892734"/>
              <a:gd name="connsiteY17" fmla="*/ 564606 h 2286441"/>
              <a:gd name="connsiteX18" fmla="*/ 1565459 w 3892734"/>
              <a:gd name="connsiteY18" fmla="*/ 681148 h 2286441"/>
              <a:gd name="connsiteX19" fmla="*/ 1771834 w 3892734"/>
              <a:gd name="connsiteY19" fmla="*/ 1080350 h 2286441"/>
              <a:gd name="connsiteX20" fmla="*/ 1882959 w 3892734"/>
              <a:gd name="connsiteY20" fmla="*/ 1217367 h 2286441"/>
              <a:gd name="connsiteX21" fmla="*/ 2082984 w 3892734"/>
              <a:gd name="connsiteY21" fmla="*/ 1295400 h 2286441"/>
              <a:gd name="connsiteX22" fmla="*/ 2190934 w 3892734"/>
              <a:gd name="connsiteY22" fmla="*/ 1263650 h 2286441"/>
              <a:gd name="connsiteX23" fmla="*/ 2235384 w 3892734"/>
              <a:gd name="connsiteY23" fmla="*/ 1168400 h 2286441"/>
              <a:gd name="connsiteX24" fmla="*/ 2292534 w 3892734"/>
              <a:gd name="connsiteY24" fmla="*/ 1016000 h 2286441"/>
              <a:gd name="connsiteX25" fmla="*/ 2368734 w 3892734"/>
              <a:gd name="connsiteY25" fmla="*/ 876300 h 2286441"/>
              <a:gd name="connsiteX26" fmla="*/ 2425884 w 3892734"/>
              <a:gd name="connsiteY26" fmla="*/ 787400 h 2286441"/>
              <a:gd name="connsiteX27" fmla="*/ 2476684 w 3892734"/>
              <a:gd name="connsiteY27" fmla="*/ 749300 h 2286441"/>
              <a:gd name="connsiteX28" fmla="*/ 2546534 w 3892734"/>
              <a:gd name="connsiteY28" fmla="*/ 736600 h 2286441"/>
              <a:gd name="connsiteX29" fmla="*/ 2654484 w 3892734"/>
              <a:gd name="connsiteY29" fmla="*/ 781050 h 2286441"/>
              <a:gd name="connsiteX30" fmla="*/ 2756084 w 3892734"/>
              <a:gd name="connsiteY30" fmla="*/ 838200 h 2286441"/>
              <a:gd name="connsiteX31" fmla="*/ 2851334 w 3892734"/>
              <a:gd name="connsiteY31" fmla="*/ 901700 h 2286441"/>
              <a:gd name="connsiteX32" fmla="*/ 2997384 w 3892734"/>
              <a:gd name="connsiteY32" fmla="*/ 920750 h 2286441"/>
              <a:gd name="connsiteX33" fmla="*/ 3175184 w 3892734"/>
              <a:gd name="connsiteY33" fmla="*/ 895350 h 2286441"/>
              <a:gd name="connsiteX34" fmla="*/ 3295834 w 3892734"/>
              <a:gd name="connsiteY34" fmla="*/ 774700 h 2286441"/>
              <a:gd name="connsiteX35" fmla="*/ 3391084 w 3892734"/>
              <a:gd name="connsiteY35" fmla="*/ 628650 h 2286441"/>
              <a:gd name="connsiteX36" fmla="*/ 3486334 w 3892734"/>
              <a:gd name="connsiteY36" fmla="*/ 495300 h 2286441"/>
              <a:gd name="connsiteX37" fmla="*/ 3594284 w 3892734"/>
              <a:gd name="connsiteY37" fmla="*/ 412750 h 2286441"/>
              <a:gd name="connsiteX38" fmla="*/ 3714934 w 3892734"/>
              <a:gd name="connsiteY38" fmla="*/ 406400 h 2286441"/>
              <a:gd name="connsiteX39" fmla="*/ 3892734 w 3892734"/>
              <a:gd name="connsiteY39" fmla="*/ 412750 h 2286441"/>
              <a:gd name="connsiteX40" fmla="*/ 3892734 w 3892734"/>
              <a:gd name="connsiteY40" fmla="*/ 755650 h 2286441"/>
              <a:gd name="connsiteX41" fmla="*/ 3708584 w 3892734"/>
              <a:gd name="connsiteY41" fmla="*/ 958850 h 2286441"/>
              <a:gd name="connsiteX42" fmla="*/ 3611747 w 3892734"/>
              <a:gd name="connsiteY42" fmla="*/ 1039839 h 2286441"/>
              <a:gd name="connsiteX43" fmla="*/ 3479984 w 3892734"/>
              <a:gd name="connsiteY43" fmla="*/ 1124086 h 2286441"/>
              <a:gd name="connsiteX44" fmla="*/ 3340284 w 3892734"/>
              <a:gd name="connsiteY44" fmla="*/ 1155700 h 2286441"/>
              <a:gd name="connsiteX45" fmla="*/ 3219634 w 3892734"/>
              <a:gd name="connsiteY45" fmla="*/ 1181100 h 2286441"/>
              <a:gd name="connsiteX46" fmla="*/ 3135496 w 3892734"/>
              <a:gd name="connsiteY46" fmla="*/ 1299916 h 2286441"/>
              <a:gd name="connsiteX47" fmla="*/ 2991034 w 3892734"/>
              <a:gd name="connsiteY47" fmla="*/ 1601049 h 2286441"/>
              <a:gd name="connsiteX48" fmla="*/ 2846571 w 3892734"/>
              <a:gd name="connsiteY48" fmla="*/ 1861399 h 2286441"/>
              <a:gd name="connsiteX49" fmla="*/ 2667184 w 3892734"/>
              <a:gd name="connsiteY49" fmla="*/ 2145316 h 2286441"/>
              <a:gd name="connsiteX50" fmla="*/ 2587809 w 3892734"/>
              <a:gd name="connsiteY50" fmla="*/ 2206268 h 2286441"/>
              <a:gd name="connsiteX51" fmla="*/ 2484621 w 3892734"/>
              <a:gd name="connsiteY51" fmla="*/ 2281349 h 2286441"/>
              <a:gd name="connsiteX52" fmla="*/ 2248084 w 3892734"/>
              <a:gd name="connsiteY52" fmla="*/ 2286441 h 2286441"/>
              <a:gd name="connsiteX53" fmla="*/ 2036946 w 3892734"/>
              <a:gd name="connsiteY53" fmla="*/ 2106231 h 2286441"/>
              <a:gd name="connsiteX54" fmla="*/ 1908359 w 3892734"/>
              <a:gd name="connsiteY54" fmla="*/ 1872537 h 2286441"/>
              <a:gd name="connsiteX55" fmla="*/ 1832158 w 3892734"/>
              <a:gd name="connsiteY55" fmla="*/ 1747371 h 2286441"/>
              <a:gd name="connsiteX56" fmla="*/ 1719447 w 3892734"/>
              <a:gd name="connsiteY56" fmla="*/ 1606380 h 2286441"/>
              <a:gd name="connsiteX57" fmla="*/ 1578160 w 3892734"/>
              <a:gd name="connsiteY57" fmla="*/ 1426137 h 2286441"/>
              <a:gd name="connsiteX58" fmla="*/ 1433697 w 3892734"/>
              <a:gd name="connsiteY58" fmla="*/ 1317171 h 2286441"/>
              <a:gd name="connsiteX59" fmla="*/ 1101909 w 3892734"/>
              <a:gd name="connsiteY59" fmla="*/ 1573782 h 2286441"/>
              <a:gd name="connsiteX60" fmla="*/ 895535 w 3892734"/>
              <a:gd name="connsiteY60" fmla="*/ 1609913 h 2286441"/>
              <a:gd name="connsiteX61" fmla="*/ 781234 w 3892734"/>
              <a:gd name="connsiteY61" fmla="*/ 1591782 h 2286441"/>
              <a:gd name="connsiteX62" fmla="*/ 538346 w 3892734"/>
              <a:gd name="connsiteY62" fmla="*/ 1642309 h 2286441"/>
              <a:gd name="connsiteX63" fmla="*/ 397059 w 3892734"/>
              <a:gd name="connsiteY63" fmla="*/ 1620170 h 2286441"/>
              <a:gd name="connsiteX64" fmla="*/ 12884 w 3892734"/>
              <a:gd name="connsiteY64" fmla="*/ 1221921 h 2286441"/>
              <a:gd name="connsiteX65" fmla="*/ 184 w 3892734"/>
              <a:gd name="connsiteY65" fmla="*/ 0 h 2286441"/>
              <a:gd name="connsiteX0" fmla="*/ 184 w 3892734"/>
              <a:gd name="connsiteY0" fmla="*/ 0 h 2286441"/>
              <a:gd name="connsiteX1" fmla="*/ 266884 w 3892734"/>
              <a:gd name="connsiteY1" fmla="*/ 1162050 h 2286441"/>
              <a:gd name="connsiteX2" fmla="*/ 322447 w 3892734"/>
              <a:gd name="connsiteY2" fmla="*/ 1258421 h 2286441"/>
              <a:gd name="connsiteX3" fmla="*/ 376422 w 3892734"/>
              <a:gd name="connsiteY3" fmla="*/ 1353535 h 2286441"/>
              <a:gd name="connsiteX4" fmla="*/ 412934 w 3892734"/>
              <a:gd name="connsiteY4" fmla="*/ 1314450 h 2286441"/>
              <a:gd name="connsiteX5" fmla="*/ 514534 w 3892734"/>
              <a:gd name="connsiteY5" fmla="*/ 996950 h 2286441"/>
              <a:gd name="connsiteX6" fmla="*/ 584384 w 3892734"/>
              <a:gd name="connsiteY6" fmla="*/ 641350 h 2286441"/>
              <a:gd name="connsiteX7" fmla="*/ 641534 w 3892734"/>
              <a:gd name="connsiteY7" fmla="*/ 444500 h 2286441"/>
              <a:gd name="connsiteX8" fmla="*/ 692334 w 3892734"/>
              <a:gd name="connsiteY8" fmla="*/ 330200 h 2286441"/>
              <a:gd name="connsiteX9" fmla="*/ 724084 w 3892734"/>
              <a:gd name="connsiteY9" fmla="*/ 279400 h 2286441"/>
              <a:gd name="connsiteX10" fmla="*/ 806634 w 3892734"/>
              <a:gd name="connsiteY10" fmla="*/ 334581 h 2286441"/>
              <a:gd name="connsiteX11" fmla="*/ 941571 w 3892734"/>
              <a:gd name="connsiteY11" fmla="*/ 603691 h 2286441"/>
              <a:gd name="connsiteX12" fmla="*/ 992372 w 3892734"/>
              <a:gd name="connsiteY12" fmla="*/ 744240 h 2286441"/>
              <a:gd name="connsiteX13" fmla="*/ 1093972 w 3892734"/>
              <a:gd name="connsiteY13" fmla="*/ 842884 h 2286441"/>
              <a:gd name="connsiteX14" fmla="*/ 1198746 w 3892734"/>
              <a:gd name="connsiteY14" fmla="*/ 780371 h 2286441"/>
              <a:gd name="connsiteX15" fmla="*/ 1297171 w 3892734"/>
              <a:gd name="connsiteY15" fmla="*/ 635305 h 2286441"/>
              <a:gd name="connsiteX16" fmla="*/ 1400358 w 3892734"/>
              <a:gd name="connsiteY16" fmla="*/ 547695 h 2286441"/>
              <a:gd name="connsiteX17" fmla="*/ 1486084 w 3892734"/>
              <a:gd name="connsiteY17" fmla="*/ 564606 h 2286441"/>
              <a:gd name="connsiteX18" fmla="*/ 1565459 w 3892734"/>
              <a:gd name="connsiteY18" fmla="*/ 681148 h 2286441"/>
              <a:gd name="connsiteX19" fmla="*/ 1771834 w 3892734"/>
              <a:gd name="connsiteY19" fmla="*/ 1080350 h 2286441"/>
              <a:gd name="connsiteX20" fmla="*/ 1859146 w 3892734"/>
              <a:gd name="connsiteY20" fmla="*/ 1271562 h 2286441"/>
              <a:gd name="connsiteX21" fmla="*/ 2082984 w 3892734"/>
              <a:gd name="connsiteY21" fmla="*/ 1295400 h 2286441"/>
              <a:gd name="connsiteX22" fmla="*/ 2190934 w 3892734"/>
              <a:gd name="connsiteY22" fmla="*/ 1263650 h 2286441"/>
              <a:gd name="connsiteX23" fmla="*/ 2235384 w 3892734"/>
              <a:gd name="connsiteY23" fmla="*/ 1168400 h 2286441"/>
              <a:gd name="connsiteX24" fmla="*/ 2292534 w 3892734"/>
              <a:gd name="connsiteY24" fmla="*/ 1016000 h 2286441"/>
              <a:gd name="connsiteX25" fmla="*/ 2368734 w 3892734"/>
              <a:gd name="connsiteY25" fmla="*/ 876300 h 2286441"/>
              <a:gd name="connsiteX26" fmla="*/ 2425884 w 3892734"/>
              <a:gd name="connsiteY26" fmla="*/ 787400 h 2286441"/>
              <a:gd name="connsiteX27" fmla="*/ 2476684 w 3892734"/>
              <a:gd name="connsiteY27" fmla="*/ 749300 h 2286441"/>
              <a:gd name="connsiteX28" fmla="*/ 2546534 w 3892734"/>
              <a:gd name="connsiteY28" fmla="*/ 736600 h 2286441"/>
              <a:gd name="connsiteX29" fmla="*/ 2654484 w 3892734"/>
              <a:gd name="connsiteY29" fmla="*/ 781050 h 2286441"/>
              <a:gd name="connsiteX30" fmla="*/ 2756084 w 3892734"/>
              <a:gd name="connsiteY30" fmla="*/ 838200 h 2286441"/>
              <a:gd name="connsiteX31" fmla="*/ 2851334 w 3892734"/>
              <a:gd name="connsiteY31" fmla="*/ 901700 h 2286441"/>
              <a:gd name="connsiteX32" fmla="*/ 2997384 w 3892734"/>
              <a:gd name="connsiteY32" fmla="*/ 920750 h 2286441"/>
              <a:gd name="connsiteX33" fmla="*/ 3175184 w 3892734"/>
              <a:gd name="connsiteY33" fmla="*/ 895350 h 2286441"/>
              <a:gd name="connsiteX34" fmla="*/ 3295834 w 3892734"/>
              <a:gd name="connsiteY34" fmla="*/ 774700 h 2286441"/>
              <a:gd name="connsiteX35" fmla="*/ 3391084 w 3892734"/>
              <a:gd name="connsiteY35" fmla="*/ 628650 h 2286441"/>
              <a:gd name="connsiteX36" fmla="*/ 3486334 w 3892734"/>
              <a:gd name="connsiteY36" fmla="*/ 495300 h 2286441"/>
              <a:gd name="connsiteX37" fmla="*/ 3594284 w 3892734"/>
              <a:gd name="connsiteY37" fmla="*/ 412750 h 2286441"/>
              <a:gd name="connsiteX38" fmla="*/ 3714934 w 3892734"/>
              <a:gd name="connsiteY38" fmla="*/ 406400 h 2286441"/>
              <a:gd name="connsiteX39" fmla="*/ 3892734 w 3892734"/>
              <a:gd name="connsiteY39" fmla="*/ 412750 h 2286441"/>
              <a:gd name="connsiteX40" fmla="*/ 3892734 w 3892734"/>
              <a:gd name="connsiteY40" fmla="*/ 755650 h 2286441"/>
              <a:gd name="connsiteX41" fmla="*/ 3708584 w 3892734"/>
              <a:gd name="connsiteY41" fmla="*/ 958850 h 2286441"/>
              <a:gd name="connsiteX42" fmla="*/ 3611747 w 3892734"/>
              <a:gd name="connsiteY42" fmla="*/ 1039839 h 2286441"/>
              <a:gd name="connsiteX43" fmla="*/ 3479984 w 3892734"/>
              <a:gd name="connsiteY43" fmla="*/ 1124086 h 2286441"/>
              <a:gd name="connsiteX44" fmla="*/ 3340284 w 3892734"/>
              <a:gd name="connsiteY44" fmla="*/ 1155700 h 2286441"/>
              <a:gd name="connsiteX45" fmla="*/ 3219634 w 3892734"/>
              <a:gd name="connsiteY45" fmla="*/ 1181100 h 2286441"/>
              <a:gd name="connsiteX46" fmla="*/ 3135496 w 3892734"/>
              <a:gd name="connsiteY46" fmla="*/ 1299916 h 2286441"/>
              <a:gd name="connsiteX47" fmla="*/ 2991034 w 3892734"/>
              <a:gd name="connsiteY47" fmla="*/ 1601049 h 2286441"/>
              <a:gd name="connsiteX48" fmla="*/ 2846571 w 3892734"/>
              <a:gd name="connsiteY48" fmla="*/ 1861399 h 2286441"/>
              <a:gd name="connsiteX49" fmla="*/ 2667184 w 3892734"/>
              <a:gd name="connsiteY49" fmla="*/ 2145316 h 2286441"/>
              <a:gd name="connsiteX50" fmla="*/ 2587809 w 3892734"/>
              <a:gd name="connsiteY50" fmla="*/ 2206268 h 2286441"/>
              <a:gd name="connsiteX51" fmla="*/ 2484621 w 3892734"/>
              <a:gd name="connsiteY51" fmla="*/ 2281349 h 2286441"/>
              <a:gd name="connsiteX52" fmla="*/ 2248084 w 3892734"/>
              <a:gd name="connsiteY52" fmla="*/ 2286441 h 2286441"/>
              <a:gd name="connsiteX53" fmla="*/ 2036946 w 3892734"/>
              <a:gd name="connsiteY53" fmla="*/ 2106231 h 2286441"/>
              <a:gd name="connsiteX54" fmla="*/ 1908359 w 3892734"/>
              <a:gd name="connsiteY54" fmla="*/ 1872537 h 2286441"/>
              <a:gd name="connsiteX55" fmla="*/ 1832158 w 3892734"/>
              <a:gd name="connsiteY55" fmla="*/ 1747371 h 2286441"/>
              <a:gd name="connsiteX56" fmla="*/ 1719447 w 3892734"/>
              <a:gd name="connsiteY56" fmla="*/ 1606380 h 2286441"/>
              <a:gd name="connsiteX57" fmla="*/ 1578160 w 3892734"/>
              <a:gd name="connsiteY57" fmla="*/ 1426137 h 2286441"/>
              <a:gd name="connsiteX58" fmla="*/ 1433697 w 3892734"/>
              <a:gd name="connsiteY58" fmla="*/ 1317171 h 2286441"/>
              <a:gd name="connsiteX59" fmla="*/ 1101909 w 3892734"/>
              <a:gd name="connsiteY59" fmla="*/ 1573782 h 2286441"/>
              <a:gd name="connsiteX60" fmla="*/ 895535 w 3892734"/>
              <a:gd name="connsiteY60" fmla="*/ 1609913 h 2286441"/>
              <a:gd name="connsiteX61" fmla="*/ 781234 w 3892734"/>
              <a:gd name="connsiteY61" fmla="*/ 1591782 h 2286441"/>
              <a:gd name="connsiteX62" fmla="*/ 538346 w 3892734"/>
              <a:gd name="connsiteY62" fmla="*/ 1642309 h 2286441"/>
              <a:gd name="connsiteX63" fmla="*/ 397059 w 3892734"/>
              <a:gd name="connsiteY63" fmla="*/ 1620170 h 2286441"/>
              <a:gd name="connsiteX64" fmla="*/ 12884 w 3892734"/>
              <a:gd name="connsiteY64" fmla="*/ 1221921 h 2286441"/>
              <a:gd name="connsiteX65" fmla="*/ 184 w 3892734"/>
              <a:gd name="connsiteY65" fmla="*/ 0 h 2286441"/>
              <a:gd name="connsiteX0" fmla="*/ 184 w 3892734"/>
              <a:gd name="connsiteY0" fmla="*/ 0 h 2286441"/>
              <a:gd name="connsiteX1" fmla="*/ 266884 w 3892734"/>
              <a:gd name="connsiteY1" fmla="*/ 1162050 h 2286441"/>
              <a:gd name="connsiteX2" fmla="*/ 322447 w 3892734"/>
              <a:gd name="connsiteY2" fmla="*/ 1258421 h 2286441"/>
              <a:gd name="connsiteX3" fmla="*/ 376422 w 3892734"/>
              <a:gd name="connsiteY3" fmla="*/ 1353535 h 2286441"/>
              <a:gd name="connsiteX4" fmla="*/ 412934 w 3892734"/>
              <a:gd name="connsiteY4" fmla="*/ 1314450 h 2286441"/>
              <a:gd name="connsiteX5" fmla="*/ 514534 w 3892734"/>
              <a:gd name="connsiteY5" fmla="*/ 996950 h 2286441"/>
              <a:gd name="connsiteX6" fmla="*/ 584384 w 3892734"/>
              <a:gd name="connsiteY6" fmla="*/ 641350 h 2286441"/>
              <a:gd name="connsiteX7" fmla="*/ 641534 w 3892734"/>
              <a:gd name="connsiteY7" fmla="*/ 444500 h 2286441"/>
              <a:gd name="connsiteX8" fmla="*/ 692334 w 3892734"/>
              <a:gd name="connsiteY8" fmla="*/ 330200 h 2286441"/>
              <a:gd name="connsiteX9" fmla="*/ 724084 w 3892734"/>
              <a:gd name="connsiteY9" fmla="*/ 279400 h 2286441"/>
              <a:gd name="connsiteX10" fmla="*/ 806634 w 3892734"/>
              <a:gd name="connsiteY10" fmla="*/ 334581 h 2286441"/>
              <a:gd name="connsiteX11" fmla="*/ 941571 w 3892734"/>
              <a:gd name="connsiteY11" fmla="*/ 603691 h 2286441"/>
              <a:gd name="connsiteX12" fmla="*/ 992372 w 3892734"/>
              <a:gd name="connsiteY12" fmla="*/ 744240 h 2286441"/>
              <a:gd name="connsiteX13" fmla="*/ 1093972 w 3892734"/>
              <a:gd name="connsiteY13" fmla="*/ 842884 h 2286441"/>
              <a:gd name="connsiteX14" fmla="*/ 1198746 w 3892734"/>
              <a:gd name="connsiteY14" fmla="*/ 780371 h 2286441"/>
              <a:gd name="connsiteX15" fmla="*/ 1297171 w 3892734"/>
              <a:gd name="connsiteY15" fmla="*/ 635305 h 2286441"/>
              <a:gd name="connsiteX16" fmla="*/ 1400358 w 3892734"/>
              <a:gd name="connsiteY16" fmla="*/ 547695 h 2286441"/>
              <a:gd name="connsiteX17" fmla="*/ 1486084 w 3892734"/>
              <a:gd name="connsiteY17" fmla="*/ 564606 h 2286441"/>
              <a:gd name="connsiteX18" fmla="*/ 1565459 w 3892734"/>
              <a:gd name="connsiteY18" fmla="*/ 681148 h 2286441"/>
              <a:gd name="connsiteX19" fmla="*/ 1771834 w 3892734"/>
              <a:gd name="connsiteY19" fmla="*/ 1080350 h 2286441"/>
              <a:gd name="connsiteX20" fmla="*/ 1892483 w 3892734"/>
              <a:gd name="connsiteY20" fmla="*/ 1258014 h 2286441"/>
              <a:gd name="connsiteX21" fmla="*/ 2082984 w 3892734"/>
              <a:gd name="connsiteY21" fmla="*/ 1295400 h 2286441"/>
              <a:gd name="connsiteX22" fmla="*/ 2190934 w 3892734"/>
              <a:gd name="connsiteY22" fmla="*/ 1263650 h 2286441"/>
              <a:gd name="connsiteX23" fmla="*/ 2235384 w 3892734"/>
              <a:gd name="connsiteY23" fmla="*/ 1168400 h 2286441"/>
              <a:gd name="connsiteX24" fmla="*/ 2292534 w 3892734"/>
              <a:gd name="connsiteY24" fmla="*/ 1016000 h 2286441"/>
              <a:gd name="connsiteX25" fmla="*/ 2368734 w 3892734"/>
              <a:gd name="connsiteY25" fmla="*/ 876300 h 2286441"/>
              <a:gd name="connsiteX26" fmla="*/ 2425884 w 3892734"/>
              <a:gd name="connsiteY26" fmla="*/ 787400 h 2286441"/>
              <a:gd name="connsiteX27" fmla="*/ 2476684 w 3892734"/>
              <a:gd name="connsiteY27" fmla="*/ 749300 h 2286441"/>
              <a:gd name="connsiteX28" fmla="*/ 2546534 w 3892734"/>
              <a:gd name="connsiteY28" fmla="*/ 736600 h 2286441"/>
              <a:gd name="connsiteX29" fmla="*/ 2654484 w 3892734"/>
              <a:gd name="connsiteY29" fmla="*/ 781050 h 2286441"/>
              <a:gd name="connsiteX30" fmla="*/ 2756084 w 3892734"/>
              <a:gd name="connsiteY30" fmla="*/ 838200 h 2286441"/>
              <a:gd name="connsiteX31" fmla="*/ 2851334 w 3892734"/>
              <a:gd name="connsiteY31" fmla="*/ 901700 h 2286441"/>
              <a:gd name="connsiteX32" fmla="*/ 2997384 w 3892734"/>
              <a:gd name="connsiteY32" fmla="*/ 920750 h 2286441"/>
              <a:gd name="connsiteX33" fmla="*/ 3175184 w 3892734"/>
              <a:gd name="connsiteY33" fmla="*/ 895350 h 2286441"/>
              <a:gd name="connsiteX34" fmla="*/ 3295834 w 3892734"/>
              <a:gd name="connsiteY34" fmla="*/ 774700 h 2286441"/>
              <a:gd name="connsiteX35" fmla="*/ 3391084 w 3892734"/>
              <a:gd name="connsiteY35" fmla="*/ 628650 h 2286441"/>
              <a:gd name="connsiteX36" fmla="*/ 3486334 w 3892734"/>
              <a:gd name="connsiteY36" fmla="*/ 495300 h 2286441"/>
              <a:gd name="connsiteX37" fmla="*/ 3594284 w 3892734"/>
              <a:gd name="connsiteY37" fmla="*/ 412750 h 2286441"/>
              <a:gd name="connsiteX38" fmla="*/ 3714934 w 3892734"/>
              <a:gd name="connsiteY38" fmla="*/ 406400 h 2286441"/>
              <a:gd name="connsiteX39" fmla="*/ 3892734 w 3892734"/>
              <a:gd name="connsiteY39" fmla="*/ 412750 h 2286441"/>
              <a:gd name="connsiteX40" fmla="*/ 3892734 w 3892734"/>
              <a:gd name="connsiteY40" fmla="*/ 755650 h 2286441"/>
              <a:gd name="connsiteX41" fmla="*/ 3708584 w 3892734"/>
              <a:gd name="connsiteY41" fmla="*/ 958850 h 2286441"/>
              <a:gd name="connsiteX42" fmla="*/ 3611747 w 3892734"/>
              <a:gd name="connsiteY42" fmla="*/ 1039839 h 2286441"/>
              <a:gd name="connsiteX43" fmla="*/ 3479984 w 3892734"/>
              <a:gd name="connsiteY43" fmla="*/ 1124086 h 2286441"/>
              <a:gd name="connsiteX44" fmla="*/ 3340284 w 3892734"/>
              <a:gd name="connsiteY44" fmla="*/ 1155700 h 2286441"/>
              <a:gd name="connsiteX45" fmla="*/ 3219634 w 3892734"/>
              <a:gd name="connsiteY45" fmla="*/ 1181100 h 2286441"/>
              <a:gd name="connsiteX46" fmla="*/ 3135496 w 3892734"/>
              <a:gd name="connsiteY46" fmla="*/ 1299916 h 2286441"/>
              <a:gd name="connsiteX47" fmla="*/ 2991034 w 3892734"/>
              <a:gd name="connsiteY47" fmla="*/ 1601049 h 2286441"/>
              <a:gd name="connsiteX48" fmla="*/ 2846571 w 3892734"/>
              <a:gd name="connsiteY48" fmla="*/ 1861399 h 2286441"/>
              <a:gd name="connsiteX49" fmla="*/ 2667184 w 3892734"/>
              <a:gd name="connsiteY49" fmla="*/ 2145316 h 2286441"/>
              <a:gd name="connsiteX50" fmla="*/ 2587809 w 3892734"/>
              <a:gd name="connsiteY50" fmla="*/ 2206268 h 2286441"/>
              <a:gd name="connsiteX51" fmla="*/ 2484621 w 3892734"/>
              <a:gd name="connsiteY51" fmla="*/ 2281349 h 2286441"/>
              <a:gd name="connsiteX52" fmla="*/ 2248084 w 3892734"/>
              <a:gd name="connsiteY52" fmla="*/ 2286441 h 2286441"/>
              <a:gd name="connsiteX53" fmla="*/ 2036946 w 3892734"/>
              <a:gd name="connsiteY53" fmla="*/ 2106231 h 2286441"/>
              <a:gd name="connsiteX54" fmla="*/ 1908359 w 3892734"/>
              <a:gd name="connsiteY54" fmla="*/ 1872537 h 2286441"/>
              <a:gd name="connsiteX55" fmla="*/ 1832158 w 3892734"/>
              <a:gd name="connsiteY55" fmla="*/ 1747371 h 2286441"/>
              <a:gd name="connsiteX56" fmla="*/ 1719447 w 3892734"/>
              <a:gd name="connsiteY56" fmla="*/ 1606380 h 2286441"/>
              <a:gd name="connsiteX57" fmla="*/ 1578160 w 3892734"/>
              <a:gd name="connsiteY57" fmla="*/ 1426137 h 2286441"/>
              <a:gd name="connsiteX58" fmla="*/ 1433697 w 3892734"/>
              <a:gd name="connsiteY58" fmla="*/ 1317171 h 2286441"/>
              <a:gd name="connsiteX59" fmla="*/ 1101909 w 3892734"/>
              <a:gd name="connsiteY59" fmla="*/ 1573782 h 2286441"/>
              <a:gd name="connsiteX60" fmla="*/ 895535 w 3892734"/>
              <a:gd name="connsiteY60" fmla="*/ 1609913 h 2286441"/>
              <a:gd name="connsiteX61" fmla="*/ 781234 w 3892734"/>
              <a:gd name="connsiteY61" fmla="*/ 1591782 h 2286441"/>
              <a:gd name="connsiteX62" fmla="*/ 538346 w 3892734"/>
              <a:gd name="connsiteY62" fmla="*/ 1642309 h 2286441"/>
              <a:gd name="connsiteX63" fmla="*/ 397059 w 3892734"/>
              <a:gd name="connsiteY63" fmla="*/ 1620170 h 2286441"/>
              <a:gd name="connsiteX64" fmla="*/ 12884 w 3892734"/>
              <a:gd name="connsiteY64" fmla="*/ 1221921 h 2286441"/>
              <a:gd name="connsiteX65" fmla="*/ 184 w 3892734"/>
              <a:gd name="connsiteY65" fmla="*/ 0 h 2286441"/>
              <a:gd name="connsiteX0" fmla="*/ 184 w 3892734"/>
              <a:gd name="connsiteY0" fmla="*/ 0 h 2286441"/>
              <a:gd name="connsiteX1" fmla="*/ 266884 w 3892734"/>
              <a:gd name="connsiteY1" fmla="*/ 1162050 h 2286441"/>
              <a:gd name="connsiteX2" fmla="*/ 322447 w 3892734"/>
              <a:gd name="connsiteY2" fmla="*/ 1258421 h 2286441"/>
              <a:gd name="connsiteX3" fmla="*/ 376422 w 3892734"/>
              <a:gd name="connsiteY3" fmla="*/ 1353535 h 2286441"/>
              <a:gd name="connsiteX4" fmla="*/ 412934 w 3892734"/>
              <a:gd name="connsiteY4" fmla="*/ 1314450 h 2286441"/>
              <a:gd name="connsiteX5" fmla="*/ 514534 w 3892734"/>
              <a:gd name="connsiteY5" fmla="*/ 996950 h 2286441"/>
              <a:gd name="connsiteX6" fmla="*/ 584384 w 3892734"/>
              <a:gd name="connsiteY6" fmla="*/ 641350 h 2286441"/>
              <a:gd name="connsiteX7" fmla="*/ 641534 w 3892734"/>
              <a:gd name="connsiteY7" fmla="*/ 444500 h 2286441"/>
              <a:gd name="connsiteX8" fmla="*/ 692334 w 3892734"/>
              <a:gd name="connsiteY8" fmla="*/ 330200 h 2286441"/>
              <a:gd name="connsiteX9" fmla="*/ 724084 w 3892734"/>
              <a:gd name="connsiteY9" fmla="*/ 279400 h 2286441"/>
              <a:gd name="connsiteX10" fmla="*/ 806634 w 3892734"/>
              <a:gd name="connsiteY10" fmla="*/ 334581 h 2286441"/>
              <a:gd name="connsiteX11" fmla="*/ 941571 w 3892734"/>
              <a:gd name="connsiteY11" fmla="*/ 603691 h 2286441"/>
              <a:gd name="connsiteX12" fmla="*/ 992372 w 3892734"/>
              <a:gd name="connsiteY12" fmla="*/ 744240 h 2286441"/>
              <a:gd name="connsiteX13" fmla="*/ 1093972 w 3892734"/>
              <a:gd name="connsiteY13" fmla="*/ 842884 h 2286441"/>
              <a:gd name="connsiteX14" fmla="*/ 1198746 w 3892734"/>
              <a:gd name="connsiteY14" fmla="*/ 780371 h 2286441"/>
              <a:gd name="connsiteX15" fmla="*/ 1297171 w 3892734"/>
              <a:gd name="connsiteY15" fmla="*/ 635305 h 2286441"/>
              <a:gd name="connsiteX16" fmla="*/ 1400358 w 3892734"/>
              <a:gd name="connsiteY16" fmla="*/ 547695 h 2286441"/>
              <a:gd name="connsiteX17" fmla="*/ 1486084 w 3892734"/>
              <a:gd name="connsiteY17" fmla="*/ 564606 h 2286441"/>
              <a:gd name="connsiteX18" fmla="*/ 1565459 w 3892734"/>
              <a:gd name="connsiteY18" fmla="*/ 681148 h 2286441"/>
              <a:gd name="connsiteX19" fmla="*/ 1771834 w 3892734"/>
              <a:gd name="connsiteY19" fmla="*/ 1080350 h 2286441"/>
              <a:gd name="connsiteX20" fmla="*/ 1892483 w 3892734"/>
              <a:gd name="connsiteY20" fmla="*/ 1258014 h 2286441"/>
              <a:gd name="connsiteX21" fmla="*/ 2068697 w 3892734"/>
              <a:gd name="connsiteY21" fmla="*/ 1358628 h 2286441"/>
              <a:gd name="connsiteX22" fmla="*/ 2190934 w 3892734"/>
              <a:gd name="connsiteY22" fmla="*/ 1263650 h 2286441"/>
              <a:gd name="connsiteX23" fmla="*/ 2235384 w 3892734"/>
              <a:gd name="connsiteY23" fmla="*/ 1168400 h 2286441"/>
              <a:gd name="connsiteX24" fmla="*/ 2292534 w 3892734"/>
              <a:gd name="connsiteY24" fmla="*/ 1016000 h 2286441"/>
              <a:gd name="connsiteX25" fmla="*/ 2368734 w 3892734"/>
              <a:gd name="connsiteY25" fmla="*/ 876300 h 2286441"/>
              <a:gd name="connsiteX26" fmla="*/ 2425884 w 3892734"/>
              <a:gd name="connsiteY26" fmla="*/ 787400 h 2286441"/>
              <a:gd name="connsiteX27" fmla="*/ 2476684 w 3892734"/>
              <a:gd name="connsiteY27" fmla="*/ 749300 h 2286441"/>
              <a:gd name="connsiteX28" fmla="*/ 2546534 w 3892734"/>
              <a:gd name="connsiteY28" fmla="*/ 736600 h 2286441"/>
              <a:gd name="connsiteX29" fmla="*/ 2654484 w 3892734"/>
              <a:gd name="connsiteY29" fmla="*/ 781050 h 2286441"/>
              <a:gd name="connsiteX30" fmla="*/ 2756084 w 3892734"/>
              <a:gd name="connsiteY30" fmla="*/ 838200 h 2286441"/>
              <a:gd name="connsiteX31" fmla="*/ 2851334 w 3892734"/>
              <a:gd name="connsiteY31" fmla="*/ 901700 h 2286441"/>
              <a:gd name="connsiteX32" fmla="*/ 2997384 w 3892734"/>
              <a:gd name="connsiteY32" fmla="*/ 920750 h 2286441"/>
              <a:gd name="connsiteX33" fmla="*/ 3175184 w 3892734"/>
              <a:gd name="connsiteY33" fmla="*/ 895350 h 2286441"/>
              <a:gd name="connsiteX34" fmla="*/ 3295834 w 3892734"/>
              <a:gd name="connsiteY34" fmla="*/ 774700 h 2286441"/>
              <a:gd name="connsiteX35" fmla="*/ 3391084 w 3892734"/>
              <a:gd name="connsiteY35" fmla="*/ 628650 h 2286441"/>
              <a:gd name="connsiteX36" fmla="*/ 3486334 w 3892734"/>
              <a:gd name="connsiteY36" fmla="*/ 495300 h 2286441"/>
              <a:gd name="connsiteX37" fmla="*/ 3594284 w 3892734"/>
              <a:gd name="connsiteY37" fmla="*/ 412750 h 2286441"/>
              <a:gd name="connsiteX38" fmla="*/ 3714934 w 3892734"/>
              <a:gd name="connsiteY38" fmla="*/ 406400 h 2286441"/>
              <a:gd name="connsiteX39" fmla="*/ 3892734 w 3892734"/>
              <a:gd name="connsiteY39" fmla="*/ 412750 h 2286441"/>
              <a:gd name="connsiteX40" fmla="*/ 3892734 w 3892734"/>
              <a:gd name="connsiteY40" fmla="*/ 755650 h 2286441"/>
              <a:gd name="connsiteX41" fmla="*/ 3708584 w 3892734"/>
              <a:gd name="connsiteY41" fmla="*/ 958850 h 2286441"/>
              <a:gd name="connsiteX42" fmla="*/ 3611747 w 3892734"/>
              <a:gd name="connsiteY42" fmla="*/ 1039839 h 2286441"/>
              <a:gd name="connsiteX43" fmla="*/ 3479984 w 3892734"/>
              <a:gd name="connsiteY43" fmla="*/ 1124086 h 2286441"/>
              <a:gd name="connsiteX44" fmla="*/ 3340284 w 3892734"/>
              <a:gd name="connsiteY44" fmla="*/ 1155700 h 2286441"/>
              <a:gd name="connsiteX45" fmla="*/ 3219634 w 3892734"/>
              <a:gd name="connsiteY45" fmla="*/ 1181100 h 2286441"/>
              <a:gd name="connsiteX46" fmla="*/ 3135496 w 3892734"/>
              <a:gd name="connsiteY46" fmla="*/ 1299916 h 2286441"/>
              <a:gd name="connsiteX47" fmla="*/ 2991034 w 3892734"/>
              <a:gd name="connsiteY47" fmla="*/ 1601049 h 2286441"/>
              <a:gd name="connsiteX48" fmla="*/ 2846571 w 3892734"/>
              <a:gd name="connsiteY48" fmla="*/ 1861399 h 2286441"/>
              <a:gd name="connsiteX49" fmla="*/ 2667184 w 3892734"/>
              <a:gd name="connsiteY49" fmla="*/ 2145316 h 2286441"/>
              <a:gd name="connsiteX50" fmla="*/ 2587809 w 3892734"/>
              <a:gd name="connsiteY50" fmla="*/ 2206268 h 2286441"/>
              <a:gd name="connsiteX51" fmla="*/ 2484621 w 3892734"/>
              <a:gd name="connsiteY51" fmla="*/ 2281349 h 2286441"/>
              <a:gd name="connsiteX52" fmla="*/ 2248084 w 3892734"/>
              <a:gd name="connsiteY52" fmla="*/ 2286441 h 2286441"/>
              <a:gd name="connsiteX53" fmla="*/ 2036946 w 3892734"/>
              <a:gd name="connsiteY53" fmla="*/ 2106231 h 2286441"/>
              <a:gd name="connsiteX54" fmla="*/ 1908359 w 3892734"/>
              <a:gd name="connsiteY54" fmla="*/ 1872537 h 2286441"/>
              <a:gd name="connsiteX55" fmla="*/ 1832158 w 3892734"/>
              <a:gd name="connsiteY55" fmla="*/ 1747371 h 2286441"/>
              <a:gd name="connsiteX56" fmla="*/ 1719447 w 3892734"/>
              <a:gd name="connsiteY56" fmla="*/ 1606380 h 2286441"/>
              <a:gd name="connsiteX57" fmla="*/ 1578160 w 3892734"/>
              <a:gd name="connsiteY57" fmla="*/ 1426137 h 2286441"/>
              <a:gd name="connsiteX58" fmla="*/ 1433697 w 3892734"/>
              <a:gd name="connsiteY58" fmla="*/ 1317171 h 2286441"/>
              <a:gd name="connsiteX59" fmla="*/ 1101909 w 3892734"/>
              <a:gd name="connsiteY59" fmla="*/ 1573782 h 2286441"/>
              <a:gd name="connsiteX60" fmla="*/ 895535 w 3892734"/>
              <a:gd name="connsiteY60" fmla="*/ 1609913 h 2286441"/>
              <a:gd name="connsiteX61" fmla="*/ 781234 w 3892734"/>
              <a:gd name="connsiteY61" fmla="*/ 1591782 h 2286441"/>
              <a:gd name="connsiteX62" fmla="*/ 538346 w 3892734"/>
              <a:gd name="connsiteY62" fmla="*/ 1642309 h 2286441"/>
              <a:gd name="connsiteX63" fmla="*/ 397059 w 3892734"/>
              <a:gd name="connsiteY63" fmla="*/ 1620170 h 2286441"/>
              <a:gd name="connsiteX64" fmla="*/ 12884 w 3892734"/>
              <a:gd name="connsiteY64" fmla="*/ 1221921 h 2286441"/>
              <a:gd name="connsiteX65" fmla="*/ 184 w 3892734"/>
              <a:gd name="connsiteY65" fmla="*/ 0 h 2286441"/>
              <a:gd name="connsiteX0" fmla="*/ 184 w 3892734"/>
              <a:gd name="connsiteY0" fmla="*/ 0 h 2286441"/>
              <a:gd name="connsiteX1" fmla="*/ 266884 w 3892734"/>
              <a:gd name="connsiteY1" fmla="*/ 1162050 h 2286441"/>
              <a:gd name="connsiteX2" fmla="*/ 322447 w 3892734"/>
              <a:gd name="connsiteY2" fmla="*/ 1258421 h 2286441"/>
              <a:gd name="connsiteX3" fmla="*/ 376422 w 3892734"/>
              <a:gd name="connsiteY3" fmla="*/ 1353535 h 2286441"/>
              <a:gd name="connsiteX4" fmla="*/ 412934 w 3892734"/>
              <a:gd name="connsiteY4" fmla="*/ 1314450 h 2286441"/>
              <a:gd name="connsiteX5" fmla="*/ 514534 w 3892734"/>
              <a:gd name="connsiteY5" fmla="*/ 996950 h 2286441"/>
              <a:gd name="connsiteX6" fmla="*/ 584384 w 3892734"/>
              <a:gd name="connsiteY6" fmla="*/ 641350 h 2286441"/>
              <a:gd name="connsiteX7" fmla="*/ 641534 w 3892734"/>
              <a:gd name="connsiteY7" fmla="*/ 444500 h 2286441"/>
              <a:gd name="connsiteX8" fmla="*/ 692334 w 3892734"/>
              <a:gd name="connsiteY8" fmla="*/ 330200 h 2286441"/>
              <a:gd name="connsiteX9" fmla="*/ 724084 w 3892734"/>
              <a:gd name="connsiteY9" fmla="*/ 279400 h 2286441"/>
              <a:gd name="connsiteX10" fmla="*/ 806634 w 3892734"/>
              <a:gd name="connsiteY10" fmla="*/ 334581 h 2286441"/>
              <a:gd name="connsiteX11" fmla="*/ 941571 w 3892734"/>
              <a:gd name="connsiteY11" fmla="*/ 603691 h 2286441"/>
              <a:gd name="connsiteX12" fmla="*/ 992372 w 3892734"/>
              <a:gd name="connsiteY12" fmla="*/ 744240 h 2286441"/>
              <a:gd name="connsiteX13" fmla="*/ 1093972 w 3892734"/>
              <a:gd name="connsiteY13" fmla="*/ 842884 h 2286441"/>
              <a:gd name="connsiteX14" fmla="*/ 1198746 w 3892734"/>
              <a:gd name="connsiteY14" fmla="*/ 780371 h 2286441"/>
              <a:gd name="connsiteX15" fmla="*/ 1297171 w 3892734"/>
              <a:gd name="connsiteY15" fmla="*/ 635305 h 2286441"/>
              <a:gd name="connsiteX16" fmla="*/ 1400358 w 3892734"/>
              <a:gd name="connsiteY16" fmla="*/ 547695 h 2286441"/>
              <a:gd name="connsiteX17" fmla="*/ 1486084 w 3892734"/>
              <a:gd name="connsiteY17" fmla="*/ 564606 h 2286441"/>
              <a:gd name="connsiteX18" fmla="*/ 1565459 w 3892734"/>
              <a:gd name="connsiteY18" fmla="*/ 681148 h 2286441"/>
              <a:gd name="connsiteX19" fmla="*/ 1771834 w 3892734"/>
              <a:gd name="connsiteY19" fmla="*/ 1080350 h 2286441"/>
              <a:gd name="connsiteX20" fmla="*/ 1892483 w 3892734"/>
              <a:gd name="connsiteY20" fmla="*/ 1258014 h 2286441"/>
              <a:gd name="connsiteX21" fmla="*/ 2049647 w 3892734"/>
              <a:gd name="connsiteY21" fmla="*/ 1457986 h 2286441"/>
              <a:gd name="connsiteX22" fmla="*/ 2190934 w 3892734"/>
              <a:gd name="connsiteY22" fmla="*/ 1263650 h 2286441"/>
              <a:gd name="connsiteX23" fmla="*/ 2235384 w 3892734"/>
              <a:gd name="connsiteY23" fmla="*/ 1168400 h 2286441"/>
              <a:gd name="connsiteX24" fmla="*/ 2292534 w 3892734"/>
              <a:gd name="connsiteY24" fmla="*/ 1016000 h 2286441"/>
              <a:gd name="connsiteX25" fmla="*/ 2368734 w 3892734"/>
              <a:gd name="connsiteY25" fmla="*/ 876300 h 2286441"/>
              <a:gd name="connsiteX26" fmla="*/ 2425884 w 3892734"/>
              <a:gd name="connsiteY26" fmla="*/ 787400 h 2286441"/>
              <a:gd name="connsiteX27" fmla="*/ 2476684 w 3892734"/>
              <a:gd name="connsiteY27" fmla="*/ 749300 h 2286441"/>
              <a:gd name="connsiteX28" fmla="*/ 2546534 w 3892734"/>
              <a:gd name="connsiteY28" fmla="*/ 736600 h 2286441"/>
              <a:gd name="connsiteX29" fmla="*/ 2654484 w 3892734"/>
              <a:gd name="connsiteY29" fmla="*/ 781050 h 2286441"/>
              <a:gd name="connsiteX30" fmla="*/ 2756084 w 3892734"/>
              <a:gd name="connsiteY30" fmla="*/ 838200 h 2286441"/>
              <a:gd name="connsiteX31" fmla="*/ 2851334 w 3892734"/>
              <a:gd name="connsiteY31" fmla="*/ 901700 h 2286441"/>
              <a:gd name="connsiteX32" fmla="*/ 2997384 w 3892734"/>
              <a:gd name="connsiteY32" fmla="*/ 920750 h 2286441"/>
              <a:gd name="connsiteX33" fmla="*/ 3175184 w 3892734"/>
              <a:gd name="connsiteY33" fmla="*/ 895350 h 2286441"/>
              <a:gd name="connsiteX34" fmla="*/ 3295834 w 3892734"/>
              <a:gd name="connsiteY34" fmla="*/ 774700 h 2286441"/>
              <a:gd name="connsiteX35" fmla="*/ 3391084 w 3892734"/>
              <a:gd name="connsiteY35" fmla="*/ 628650 h 2286441"/>
              <a:gd name="connsiteX36" fmla="*/ 3486334 w 3892734"/>
              <a:gd name="connsiteY36" fmla="*/ 495300 h 2286441"/>
              <a:gd name="connsiteX37" fmla="*/ 3594284 w 3892734"/>
              <a:gd name="connsiteY37" fmla="*/ 412750 h 2286441"/>
              <a:gd name="connsiteX38" fmla="*/ 3714934 w 3892734"/>
              <a:gd name="connsiteY38" fmla="*/ 406400 h 2286441"/>
              <a:gd name="connsiteX39" fmla="*/ 3892734 w 3892734"/>
              <a:gd name="connsiteY39" fmla="*/ 412750 h 2286441"/>
              <a:gd name="connsiteX40" fmla="*/ 3892734 w 3892734"/>
              <a:gd name="connsiteY40" fmla="*/ 755650 h 2286441"/>
              <a:gd name="connsiteX41" fmla="*/ 3708584 w 3892734"/>
              <a:gd name="connsiteY41" fmla="*/ 958850 h 2286441"/>
              <a:gd name="connsiteX42" fmla="*/ 3611747 w 3892734"/>
              <a:gd name="connsiteY42" fmla="*/ 1039839 h 2286441"/>
              <a:gd name="connsiteX43" fmla="*/ 3479984 w 3892734"/>
              <a:gd name="connsiteY43" fmla="*/ 1124086 h 2286441"/>
              <a:gd name="connsiteX44" fmla="*/ 3340284 w 3892734"/>
              <a:gd name="connsiteY44" fmla="*/ 1155700 h 2286441"/>
              <a:gd name="connsiteX45" fmla="*/ 3219634 w 3892734"/>
              <a:gd name="connsiteY45" fmla="*/ 1181100 h 2286441"/>
              <a:gd name="connsiteX46" fmla="*/ 3135496 w 3892734"/>
              <a:gd name="connsiteY46" fmla="*/ 1299916 h 2286441"/>
              <a:gd name="connsiteX47" fmla="*/ 2991034 w 3892734"/>
              <a:gd name="connsiteY47" fmla="*/ 1601049 h 2286441"/>
              <a:gd name="connsiteX48" fmla="*/ 2846571 w 3892734"/>
              <a:gd name="connsiteY48" fmla="*/ 1861399 h 2286441"/>
              <a:gd name="connsiteX49" fmla="*/ 2667184 w 3892734"/>
              <a:gd name="connsiteY49" fmla="*/ 2145316 h 2286441"/>
              <a:gd name="connsiteX50" fmla="*/ 2587809 w 3892734"/>
              <a:gd name="connsiteY50" fmla="*/ 2206268 h 2286441"/>
              <a:gd name="connsiteX51" fmla="*/ 2484621 w 3892734"/>
              <a:gd name="connsiteY51" fmla="*/ 2281349 h 2286441"/>
              <a:gd name="connsiteX52" fmla="*/ 2248084 w 3892734"/>
              <a:gd name="connsiteY52" fmla="*/ 2286441 h 2286441"/>
              <a:gd name="connsiteX53" fmla="*/ 2036946 w 3892734"/>
              <a:gd name="connsiteY53" fmla="*/ 2106231 h 2286441"/>
              <a:gd name="connsiteX54" fmla="*/ 1908359 w 3892734"/>
              <a:gd name="connsiteY54" fmla="*/ 1872537 h 2286441"/>
              <a:gd name="connsiteX55" fmla="*/ 1832158 w 3892734"/>
              <a:gd name="connsiteY55" fmla="*/ 1747371 h 2286441"/>
              <a:gd name="connsiteX56" fmla="*/ 1719447 w 3892734"/>
              <a:gd name="connsiteY56" fmla="*/ 1606380 h 2286441"/>
              <a:gd name="connsiteX57" fmla="*/ 1578160 w 3892734"/>
              <a:gd name="connsiteY57" fmla="*/ 1426137 h 2286441"/>
              <a:gd name="connsiteX58" fmla="*/ 1433697 w 3892734"/>
              <a:gd name="connsiteY58" fmla="*/ 1317171 h 2286441"/>
              <a:gd name="connsiteX59" fmla="*/ 1101909 w 3892734"/>
              <a:gd name="connsiteY59" fmla="*/ 1573782 h 2286441"/>
              <a:gd name="connsiteX60" fmla="*/ 895535 w 3892734"/>
              <a:gd name="connsiteY60" fmla="*/ 1609913 h 2286441"/>
              <a:gd name="connsiteX61" fmla="*/ 781234 w 3892734"/>
              <a:gd name="connsiteY61" fmla="*/ 1591782 h 2286441"/>
              <a:gd name="connsiteX62" fmla="*/ 538346 w 3892734"/>
              <a:gd name="connsiteY62" fmla="*/ 1642309 h 2286441"/>
              <a:gd name="connsiteX63" fmla="*/ 397059 w 3892734"/>
              <a:gd name="connsiteY63" fmla="*/ 1620170 h 2286441"/>
              <a:gd name="connsiteX64" fmla="*/ 12884 w 3892734"/>
              <a:gd name="connsiteY64" fmla="*/ 1221921 h 2286441"/>
              <a:gd name="connsiteX65" fmla="*/ 184 w 3892734"/>
              <a:gd name="connsiteY65" fmla="*/ 0 h 2286441"/>
              <a:gd name="connsiteX0" fmla="*/ 184 w 3892734"/>
              <a:gd name="connsiteY0" fmla="*/ 0 h 2286441"/>
              <a:gd name="connsiteX1" fmla="*/ 266884 w 3892734"/>
              <a:gd name="connsiteY1" fmla="*/ 1162050 h 2286441"/>
              <a:gd name="connsiteX2" fmla="*/ 322447 w 3892734"/>
              <a:gd name="connsiteY2" fmla="*/ 1258421 h 2286441"/>
              <a:gd name="connsiteX3" fmla="*/ 376422 w 3892734"/>
              <a:gd name="connsiteY3" fmla="*/ 1353535 h 2286441"/>
              <a:gd name="connsiteX4" fmla="*/ 412934 w 3892734"/>
              <a:gd name="connsiteY4" fmla="*/ 1314450 h 2286441"/>
              <a:gd name="connsiteX5" fmla="*/ 514534 w 3892734"/>
              <a:gd name="connsiteY5" fmla="*/ 996950 h 2286441"/>
              <a:gd name="connsiteX6" fmla="*/ 584384 w 3892734"/>
              <a:gd name="connsiteY6" fmla="*/ 641350 h 2286441"/>
              <a:gd name="connsiteX7" fmla="*/ 641534 w 3892734"/>
              <a:gd name="connsiteY7" fmla="*/ 444500 h 2286441"/>
              <a:gd name="connsiteX8" fmla="*/ 692334 w 3892734"/>
              <a:gd name="connsiteY8" fmla="*/ 330200 h 2286441"/>
              <a:gd name="connsiteX9" fmla="*/ 724084 w 3892734"/>
              <a:gd name="connsiteY9" fmla="*/ 279400 h 2286441"/>
              <a:gd name="connsiteX10" fmla="*/ 806634 w 3892734"/>
              <a:gd name="connsiteY10" fmla="*/ 334581 h 2286441"/>
              <a:gd name="connsiteX11" fmla="*/ 941571 w 3892734"/>
              <a:gd name="connsiteY11" fmla="*/ 603691 h 2286441"/>
              <a:gd name="connsiteX12" fmla="*/ 992372 w 3892734"/>
              <a:gd name="connsiteY12" fmla="*/ 744240 h 2286441"/>
              <a:gd name="connsiteX13" fmla="*/ 1093972 w 3892734"/>
              <a:gd name="connsiteY13" fmla="*/ 842884 h 2286441"/>
              <a:gd name="connsiteX14" fmla="*/ 1198746 w 3892734"/>
              <a:gd name="connsiteY14" fmla="*/ 780371 h 2286441"/>
              <a:gd name="connsiteX15" fmla="*/ 1297171 w 3892734"/>
              <a:gd name="connsiteY15" fmla="*/ 635305 h 2286441"/>
              <a:gd name="connsiteX16" fmla="*/ 1400358 w 3892734"/>
              <a:gd name="connsiteY16" fmla="*/ 547695 h 2286441"/>
              <a:gd name="connsiteX17" fmla="*/ 1486084 w 3892734"/>
              <a:gd name="connsiteY17" fmla="*/ 564606 h 2286441"/>
              <a:gd name="connsiteX18" fmla="*/ 1565459 w 3892734"/>
              <a:gd name="connsiteY18" fmla="*/ 681148 h 2286441"/>
              <a:gd name="connsiteX19" fmla="*/ 1771834 w 3892734"/>
              <a:gd name="connsiteY19" fmla="*/ 1080350 h 2286441"/>
              <a:gd name="connsiteX20" fmla="*/ 1892483 w 3892734"/>
              <a:gd name="connsiteY20" fmla="*/ 1258014 h 2286441"/>
              <a:gd name="connsiteX21" fmla="*/ 2044884 w 3892734"/>
              <a:gd name="connsiteY21" fmla="*/ 1656702 h 2286441"/>
              <a:gd name="connsiteX22" fmla="*/ 2190934 w 3892734"/>
              <a:gd name="connsiteY22" fmla="*/ 1263650 h 2286441"/>
              <a:gd name="connsiteX23" fmla="*/ 2235384 w 3892734"/>
              <a:gd name="connsiteY23" fmla="*/ 1168400 h 2286441"/>
              <a:gd name="connsiteX24" fmla="*/ 2292534 w 3892734"/>
              <a:gd name="connsiteY24" fmla="*/ 1016000 h 2286441"/>
              <a:gd name="connsiteX25" fmla="*/ 2368734 w 3892734"/>
              <a:gd name="connsiteY25" fmla="*/ 876300 h 2286441"/>
              <a:gd name="connsiteX26" fmla="*/ 2425884 w 3892734"/>
              <a:gd name="connsiteY26" fmla="*/ 787400 h 2286441"/>
              <a:gd name="connsiteX27" fmla="*/ 2476684 w 3892734"/>
              <a:gd name="connsiteY27" fmla="*/ 749300 h 2286441"/>
              <a:gd name="connsiteX28" fmla="*/ 2546534 w 3892734"/>
              <a:gd name="connsiteY28" fmla="*/ 736600 h 2286441"/>
              <a:gd name="connsiteX29" fmla="*/ 2654484 w 3892734"/>
              <a:gd name="connsiteY29" fmla="*/ 781050 h 2286441"/>
              <a:gd name="connsiteX30" fmla="*/ 2756084 w 3892734"/>
              <a:gd name="connsiteY30" fmla="*/ 838200 h 2286441"/>
              <a:gd name="connsiteX31" fmla="*/ 2851334 w 3892734"/>
              <a:gd name="connsiteY31" fmla="*/ 901700 h 2286441"/>
              <a:gd name="connsiteX32" fmla="*/ 2997384 w 3892734"/>
              <a:gd name="connsiteY32" fmla="*/ 920750 h 2286441"/>
              <a:gd name="connsiteX33" fmla="*/ 3175184 w 3892734"/>
              <a:gd name="connsiteY33" fmla="*/ 895350 h 2286441"/>
              <a:gd name="connsiteX34" fmla="*/ 3295834 w 3892734"/>
              <a:gd name="connsiteY34" fmla="*/ 774700 h 2286441"/>
              <a:gd name="connsiteX35" fmla="*/ 3391084 w 3892734"/>
              <a:gd name="connsiteY35" fmla="*/ 628650 h 2286441"/>
              <a:gd name="connsiteX36" fmla="*/ 3486334 w 3892734"/>
              <a:gd name="connsiteY36" fmla="*/ 495300 h 2286441"/>
              <a:gd name="connsiteX37" fmla="*/ 3594284 w 3892734"/>
              <a:gd name="connsiteY37" fmla="*/ 412750 h 2286441"/>
              <a:gd name="connsiteX38" fmla="*/ 3714934 w 3892734"/>
              <a:gd name="connsiteY38" fmla="*/ 406400 h 2286441"/>
              <a:gd name="connsiteX39" fmla="*/ 3892734 w 3892734"/>
              <a:gd name="connsiteY39" fmla="*/ 412750 h 2286441"/>
              <a:gd name="connsiteX40" fmla="*/ 3892734 w 3892734"/>
              <a:gd name="connsiteY40" fmla="*/ 755650 h 2286441"/>
              <a:gd name="connsiteX41" fmla="*/ 3708584 w 3892734"/>
              <a:gd name="connsiteY41" fmla="*/ 958850 h 2286441"/>
              <a:gd name="connsiteX42" fmla="*/ 3611747 w 3892734"/>
              <a:gd name="connsiteY42" fmla="*/ 1039839 h 2286441"/>
              <a:gd name="connsiteX43" fmla="*/ 3479984 w 3892734"/>
              <a:gd name="connsiteY43" fmla="*/ 1124086 h 2286441"/>
              <a:gd name="connsiteX44" fmla="*/ 3340284 w 3892734"/>
              <a:gd name="connsiteY44" fmla="*/ 1155700 h 2286441"/>
              <a:gd name="connsiteX45" fmla="*/ 3219634 w 3892734"/>
              <a:gd name="connsiteY45" fmla="*/ 1181100 h 2286441"/>
              <a:gd name="connsiteX46" fmla="*/ 3135496 w 3892734"/>
              <a:gd name="connsiteY46" fmla="*/ 1299916 h 2286441"/>
              <a:gd name="connsiteX47" fmla="*/ 2991034 w 3892734"/>
              <a:gd name="connsiteY47" fmla="*/ 1601049 h 2286441"/>
              <a:gd name="connsiteX48" fmla="*/ 2846571 w 3892734"/>
              <a:gd name="connsiteY48" fmla="*/ 1861399 h 2286441"/>
              <a:gd name="connsiteX49" fmla="*/ 2667184 w 3892734"/>
              <a:gd name="connsiteY49" fmla="*/ 2145316 h 2286441"/>
              <a:gd name="connsiteX50" fmla="*/ 2587809 w 3892734"/>
              <a:gd name="connsiteY50" fmla="*/ 2206268 h 2286441"/>
              <a:gd name="connsiteX51" fmla="*/ 2484621 w 3892734"/>
              <a:gd name="connsiteY51" fmla="*/ 2281349 h 2286441"/>
              <a:gd name="connsiteX52" fmla="*/ 2248084 w 3892734"/>
              <a:gd name="connsiteY52" fmla="*/ 2286441 h 2286441"/>
              <a:gd name="connsiteX53" fmla="*/ 2036946 w 3892734"/>
              <a:gd name="connsiteY53" fmla="*/ 2106231 h 2286441"/>
              <a:gd name="connsiteX54" fmla="*/ 1908359 w 3892734"/>
              <a:gd name="connsiteY54" fmla="*/ 1872537 h 2286441"/>
              <a:gd name="connsiteX55" fmla="*/ 1832158 w 3892734"/>
              <a:gd name="connsiteY55" fmla="*/ 1747371 h 2286441"/>
              <a:gd name="connsiteX56" fmla="*/ 1719447 w 3892734"/>
              <a:gd name="connsiteY56" fmla="*/ 1606380 h 2286441"/>
              <a:gd name="connsiteX57" fmla="*/ 1578160 w 3892734"/>
              <a:gd name="connsiteY57" fmla="*/ 1426137 h 2286441"/>
              <a:gd name="connsiteX58" fmla="*/ 1433697 w 3892734"/>
              <a:gd name="connsiteY58" fmla="*/ 1317171 h 2286441"/>
              <a:gd name="connsiteX59" fmla="*/ 1101909 w 3892734"/>
              <a:gd name="connsiteY59" fmla="*/ 1573782 h 2286441"/>
              <a:gd name="connsiteX60" fmla="*/ 895535 w 3892734"/>
              <a:gd name="connsiteY60" fmla="*/ 1609913 h 2286441"/>
              <a:gd name="connsiteX61" fmla="*/ 781234 w 3892734"/>
              <a:gd name="connsiteY61" fmla="*/ 1591782 h 2286441"/>
              <a:gd name="connsiteX62" fmla="*/ 538346 w 3892734"/>
              <a:gd name="connsiteY62" fmla="*/ 1642309 h 2286441"/>
              <a:gd name="connsiteX63" fmla="*/ 397059 w 3892734"/>
              <a:gd name="connsiteY63" fmla="*/ 1620170 h 2286441"/>
              <a:gd name="connsiteX64" fmla="*/ 12884 w 3892734"/>
              <a:gd name="connsiteY64" fmla="*/ 1221921 h 2286441"/>
              <a:gd name="connsiteX65" fmla="*/ 184 w 3892734"/>
              <a:gd name="connsiteY65" fmla="*/ 0 h 2286441"/>
              <a:gd name="connsiteX0" fmla="*/ 184 w 3892734"/>
              <a:gd name="connsiteY0" fmla="*/ 0 h 2286441"/>
              <a:gd name="connsiteX1" fmla="*/ 266884 w 3892734"/>
              <a:gd name="connsiteY1" fmla="*/ 1162050 h 2286441"/>
              <a:gd name="connsiteX2" fmla="*/ 322447 w 3892734"/>
              <a:gd name="connsiteY2" fmla="*/ 1258421 h 2286441"/>
              <a:gd name="connsiteX3" fmla="*/ 376422 w 3892734"/>
              <a:gd name="connsiteY3" fmla="*/ 1353535 h 2286441"/>
              <a:gd name="connsiteX4" fmla="*/ 412934 w 3892734"/>
              <a:gd name="connsiteY4" fmla="*/ 1314450 h 2286441"/>
              <a:gd name="connsiteX5" fmla="*/ 514534 w 3892734"/>
              <a:gd name="connsiteY5" fmla="*/ 996950 h 2286441"/>
              <a:gd name="connsiteX6" fmla="*/ 584384 w 3892734"/>
              <a:gd name="connsiteY6" fmla="*/ 641350 h 2286441"/>
              <a:gd name="connsiteX7" fmla="*/ 641534 w 3892734"/>
              <a:gd name="connsiteY7" fmla="*/ 444500 h 2286441"/>
              <a:gd name="connsiteX8" fmla="*/ 692334 w 3892734"/>
              <a:gd name="connsiteY8" fmla="*/ 330200 h 2286441"/>
              <a:gd name="connsiteX9" fmla="*/ 724084 w 3892734"/>
              <a:gd name="connsiteY9" fmla="*/ 279400 h 2286441"/>
              <a:gd name="connsiteX10" fmla="*/ 806634 w 3892734"/>
              <a:gd name="connsiteY10" fmla="*/ 334581 h 2286441"/>
              <a:gd name="connsiteX11" fmla="*/ 941571 w 3892734"/>
              <a:gd name="connsiteY11" fmla="*/ 603691 h 2286441"/>
              <a:gd name="connsiteX12" fmla="*/ 992372 w 3892734"/>
              <a:gd name="connsiteY12" fmla="*/ 744240 h 2286441"/>
              <a:gd name="connsiteX13" fmla="*/ 1093972 w 3892734"/>
              <a:gd name="connsiteY13" fmla="*/ 842884 h 2286441"/>
              <a:gd name="connsiteX14" fmla="*/ 1198746 w 3892734"/>
              <a:gd name="connsiteY14" fmla="*/ 780371 h 2286441"/>
              <a:gd name="connsiteX15" fmla="*/ 1297171 w 3892734"/>
              <a:gd name="connsiteY15" fmla="*/ 635305 h 2286441"/>
              <a:gd name="connsiteX16" fmla="*/ 1400358 w 3892734"/>
              <a:gd name="connsiteY16" fmla="*/ 547695 h 2286441"/>
              <a:gd name="connsiteX17" fmla="*/ 1486084 w 3892734"/>
              <a:gd name="connsiteY17" fmla="*/ 564606 h 2286441"/>
              <a:gd name="connsiteX18" fmla="*/ 1565459 w 3892734"/>
              <a:gd name="connsiteY18" fmla="*/ 681148 h 2286441"/>
              <a:gd name="connsiteX19" fmla="*/ 1771834 w 3892734"/>
              <a:gd name="connsiteY19" fmla="*/ 1080350 h 2286441"/>
              <a:gd name="connsiteX20" fmla="*/ 1892483 w 3892734"/>
              <a:gd name="connsiteY20" fmla="*/ 1258014 h 2286441"/>
              <a:gd name="connsiteX21" fmla="*/ 2030597 w 3892734"/>
              <a:gd name="connsiteY21" fmla="*/ 1489600 h 2286441"/>
              <a:gd name="connsiteX22" fmla="*/ 2190934 w 3892734"/>
              <a:gd name="connsiteY22" fmla="*/ 1263650 h 2286441"/>
              <a:gd name="connsiteX23" fmla="*/ 2235384 w 3892734"/>
              <a:gd name="connsiteY23" fmla="*/ 1168400 h 2286441"/>
              <a:gd name="connsiteX24" fmla="*/ 2292534 w 3892734"/>
              <a:gd name="connsiteY24" fmla="*/ 1016000 h 2286441"/>
              <a:gd name="connsiteX25" fmla="*/ 2368734 w 3892734"/>
              <a:gd name="connsiteY25" fmla="*/ 876300 h 2286441"/>
              <a:gd name="connsiteX26" fmla="*/ 2425884 w 3892734"/>
              <a:gd name="connsiteY26" fmla="*/ 787400 h 2286441"/>
              <a:gd name="connsiteX27" fmla="*/ 2476684 w 3892734"/>
              <a:gd name="connsiteY27" fmla="*/ 749300 h 2286441"/>
              <a:gd name="connsiteX28" fmla="*/ 2546534 w 3892734"/>
              <a:gd name="connsiteY28" fmla="*/ 736600 h 2286441"/>
              <a:gd name="connsiteX29" fmla="*/ 2654484 w 3892734"/>
              <a:gd name="connsiteY29" fmla="*/ 781050 h 2286441"/>
              <a:gd name="connsiteX30" fmla="*/ 2756084 w 3892734"/>
              <a:gd name="connsiteY30" fmla="*/ 838200 h 2286441"/>
              <a:gd name="connsiteX31" fmla="*/ 2851334 w 3892734"/>
              <a:gd name="connsiteY31" fmla="*/ 901700 h 2286441"/>
              <a:gd name="connsiteX32" fmla="*/ 2997384 w 3892734"/>
              <a:gd name="connsiteY32" fmla="*/ 920750 h 2286441"/>
              <a:gd name="connsiteX33" fmla="*/ 3175184 w 3892734"/>
              <a:gd name="connsiteY33" fmla="*/ 895350 h 2286441"/>
              <a:gd name="connsiteX34" fmla="*/ 3295834 w 3892734"/>
              <a:gd name="connsiteY34" fmla="*/ 774700 h 2286441"/>
              <a:gd name="connsiteX35" fmla="*/ 3391084 w 3892734"/>
              <a:gd name="connsiteY35" fmla="*/ 628650 h 2286441"/>
              <a:gd name="connsiteX36" fmla="*/ 3486334 w 3892734"/>
              <a:gd name="connsiteY36" fmla="*/ 495300 h 2286441"/>
              <a:gd name="connsiteX37" fmla="*/ 3594284 w 3892734"/>
              <a:gd name="connsiteY37" fmla="*/ 412750 h 2286441"/>
              <a:gd name="connsiteX38" fmla="*/ 3714934 w 3892734"/>
              <a:gd name="connsiteY38" fmla="*/ 406400 h 2286441"/>
              <a:gd name="connsiteX39" fmla="*/ 3892734 w 3892734"/>
              <a:gd name="connsiteY39" fmla="*/ 412750 h 2286441"/>
              <a:gd name="connsiteX40" fmla="*/ 3892734 w 3892734"/>
              <a:gd name="connsiteY40" fmla="*/ 755650 h 2286441"/>
              <a:gd name="connsiteX41" fmla="*/ 3708584 w 3892734"/>
              <a:gd name="connsiteY41" fmla="*/ 958850 h 2286441"/>
              <a:gd name="connsiteX42" fmla="*/ 3611747 w 3892734"/>
              <a:gd name="connsiteY42" fmla="*/ 1039839 h 2286441"/>
              <a:gd name="connsiteX43" fmla="*/ 3479984 w 3892734"/>
              <a:gd name="connsiteY43" fmla="*/ 1124086 h 2286441"/>
              <a:gd name="connsiteX44" fmla="*/ 3340284 w 3892734"/>
              <a:gd name="connsiteY44" fmla="*/ 1155700 h 2286441"/>
              <a:gd name="connsiteX45" fmla="*/ 3219634 w 3892734"/>
              <a:gd name="connsiteY45" fmla="*/ 1181100 h 2286441"/>
              <a:gd name="connsiteX46" fmla="*/ 3135496 w 3892734"/>
              <a:gd name="connsiteY46" fmla="*/ 1299916 h 2286441"/>
              <a:gd name="connsiteX47" fmla="*/ 2991034 w 3892734"/>
              <a:gd name="connsiteY47" fmla="*/ 1601049 h 2286441"/>
              <a:gd name="connsiteX48" fmla="*/ 2846571 w 3892734"/>
              <a:gd name="connsiteY48" fmla="*/ 1861399 h 2286441"/>
              <a:gd name="connsiteX49" fmla="*/ 2667184 w 3892734"/>
              <a:gd name="connsiteY49" fmla="*/ 2145316 h 2286441"/>
              <a:gd name="connsiteX50" fmla="*/ 2587809 w 3892734"/>
              <a:gd name="connsiteY50" fmla="*/ 2206268 h 2286441"/>
              <a:gd name="connsiteX51" fmla="*/ 2484621 w 3892734"/>
              <a:gd name="connsiteY51" fmla="*/ 2281349 h 2286441"/>
              <a:gd name="connsiteX52" fmla="*/ 2248084 w 3892734"/>
              <a:gd name="connsiteY52" fmla="*/ 2286441 h 2286441"/>
              <a:gd name="connsiteX53" fmla="*/ 2036946 w 3892734"/>
              <a:gd name="connsiteY53" fmla="*/ 2106231 h 2286441"/>
              <a:gd name="connsiteX54" fmla="*/ 1908359 w 3892734"/>
              <a:gd name="connsiteY54" fmla="*/ 1872537 h 2286441"/>
              <a:gd name="connsiteX55" fmla="*/ 1832158 w 3892734"/>
              <a:gd name="connsiteY55" fmla="*/ 1747371 h 2286441"/>
              <a:gd name="connsiteX56" fmla="*/ 1719447 w 3892734"/>
              <a:gd name="connsiteY56" fmla="*/ 1606380 h 2286441"/>
              <a:gd name="connsiteX57" fmla="*/ 1578160 w 3892734"/>
              <a:gd name="connsiteY57" fmla="*/ 1426137 h 2286441"/>
              <a:gd name="connsiteX58" fmla="*/ 1433697 w 3892734"/>
              <a:gd name="connsiteY58" fmla="*/ 1317171 h 2286441"/>
              <a:gd name="connsiteX59" fmla="*/ 1101909 w 3892734"/>
              <a:gd name="connsiteY59" fmla="*/ 1573782 h 2286441"/>
              <a:gd name="connsiteX60" fmla="*/ 895535 w 3892734"/>
              <a:gd name="connsiteY60" fmla="*/ 1609913 h 2286441"/>
              <a:gd name="connsiteX61" fmla="*/ 781234 w 3892734"/>
              <a:gd name="connsiteY61" fmla="*/ 1591782 h 2286441"/>
              <a:gd name="connsiteX62" fmla="*/ 538346 w 3892734"/>
              <a:gd name="connsiteY62" fmla="*/ 1642309 h 2286441"/>
              <a:gd name="connsiteX63" fmla="*/ 397059 w 3892734"/>
              <a:gd name="connsiteY63" fmla="*/ 1620170 h 2286441"/>
              <a:gd name="connsiteX64" fmla="*/ 12884 w 3892734"/>
              <a:gd name="connsiteY64" fmla="*/ 1221921 h 2286441"/>
              <a:gd name="connsiteX65" fmla="*/ 184 w 3892734"/>
              <a:gd name="connsiteY65" fmla="*/ 0 h 2286441"/>
              <a:gd name="connsiteX0" fmla="*/ 184 w 3892734"/>
              <a:gd name="connsiteY0" fmla="*/ 0 h 2286441"/>
              <a:gd name="connsiteX1" fmla="*/ 266884 w 3892734"/>
              <a:gd name="connsiteY1" fmla="*/ 1162050 h 2286441"/>
              <a:gd name="connsiteX2" fmla="*/ 322447 w 3892734"/>
              <a:gd name="connsiteY2" fmla="*/ 1258421 h 2286441"/>
              <a:gd name="connsiteX3" fmla="*/ 376422 w 3892734"/>
              <a:gd name="connsiteY3" fmla="*/ 1353535 h 2286441"/>
              <a:gd name="connsiteX4" fmla="*/ 412934 w 3892734"/>
              <a:gd name="connsiteY4" fmla="*/ 1314450 h 2286441"/>
              <a:gd name="connsiteX5" fmla="*/ 514534 w 3892734"/>
              <a:gd name="connsiteY5" fmla="*/ 996950 h 2286441"/>
              <a:gd name="connsiteX6" fmla="*/ 584384 w 3892734"/>
              <a:gd name="connsiteY6" fmla="*/ 641350 h 2286441"/>
              <a:gd name="connsiteX7" fmla="*/ 641534 w 3892734"/>
              <a:gd name="connsiteY7" fmla="*/ 444500 h 2286441"/>
              <a:gd name="connsiteX8" fmla="*/ 692334 w 3892734"/>
              <a:gd name="connsiteY8" fmla="*/ 330200 h 2286441"/>
              <a:gd name="connsiteX9" fmla="*/ 724084 w 3892734"/>
              <a:gd name="connsiteY9" fmla="*/ 279400 h 2286441"/>
              <a:gd name="connsiteX10" fmla="*/ 806634 w 3892734"/>
              <a:gd name="connsiteY10" fmla="*/ 334581 h 2286441"/>
              <a:gd name="connsiteX11" fmla="*/ 941571 w 3892734"/>
              <a:gd name="connsiteY11" fmla="*/ 603691 h 2286441"/>
              <a:gd name="connsiteX12" fmla="*/ 992372 w 3892734"/>
              <a:gd name="connsiteY12" fmla="*/ 744240 h 2286441"/>
              <a:gd name="connsiteX13" fmla="*/ 1093972 w 3892734"/>
              <a:gd name="connsiteY13" fmla="*/ 842884 h 2286441"/>
              <a:gd name="connsiteX14" fmla="*/ 1198746 w 3892734"/>
              <a:gd name="connsiteY14" fmla="*/ 780371 h 2286441"/>
              <a:gd name="connsiteX15" fmla="*/ 1297171 w 3892734"/>
              <a:gd name="connsiteY15" fmla="*/ 635305 h 2286441"/>
              <a:gd name="connsiteX16" fmla="*/ 1400358 w 3892734"/>
              <a:gd name="connsiteY16" fmla="*/ 547695 h 2286441"/>
              <a:gd name="connsiteX17" fmla="*/ 1486084 w 3892734"/>
              <a:gd name="connsiteY17" fmla="*/ 564606 h 2286441"/>
              <a:gd name="connsiteX18" fmla="*/ 1565459 w 3892734"/>
              <a:gd name="connsiteY18" fmla="*/ 681148 h 2286441"/>
              <a:gd name="connsiteX19" fmla="*/ 1771834 w 3892734"/>
              <a:gd name="connsiteY19" fmla="*/ 1080350 h 2286441"/>
              <a:gd name="connsiteX20" fmla="*/ 1892483 w 3892734"/>
              <a:gd name="connsiteY20" fmla="*/ 1258014 h 2286441"/>
              <a:gd name="connsiteX21" fmla="*/ 2030597 w 3892734"/>
              <a:gd name="connsiteY21" fmla="*/ 1489600 h 2286441"/>
              <a:gd name="connsiteX22" fmla="*/ 2190934 w 3892734"/>
              <a:gd name="connsiteY22" fmla="*/ 1263650 h 2286441"/>
              <a:gd name="connsiteX23" fmla="*/ 2235384 w 3892734"/>
              <a:gd name="connsiteY23" fmla="*/ 1168400 h 2286441"/>
              <a:gd name="connsiteX24" fmla="*/ 2292534 w 3892734"/>
              <a:gd name="connsiteY24" fmla="*/ 1016000 h 2286441"/>
              <a:gd name="connsiteX25" fmla="*/ 2368734 w 3892734"/>
              <a:gd name="connsiteY25" fmla="*/ 876300 h 2286441"/>
              <a:gd name="connsiteX26" fmla="*/ 2425884 w 3892734"/>
              <a:gd name="connsiteY26" fmla="*/ 787400 h 2286441"/>
              <a:gd name="connsiteX27" fmla="*/ 2476684 w 3892734"/>
              <a:gd name="connsiteY27" fmla="*/ 749300 h 2286441"/>
              <a:gd name="connsiteX28" fmla="*/ 2546534 w 3892734"/>
              <a:gd name="connsiteY28" fmla="*/ 736600 h 2286441"/>
              <a:gd name="connsiteX29" fmla="*/ 2654484 w 3892734"/>
              <a:gd name="connsiteY29" fmla="*/ 781050 h 2286441"/>
              <a:gd name="connsiteX30" fmla="*/ 2756084 w 3892734"/>
              <a:gd name="connsiteY30" fmla="*/ 838200 h 2286441"/>
              <a:gd name="connsiteX31" fmla="*/ 2851334 w 3892734"/>
              <a:gd name="connsiteY31" fmla="*/ 901700 h 2286441"/>
              <a:gd name="connsiteX32" fmla="*/ 2997384 w 3892734"/>
              <a:gd name="connsiteY32" fmla="*/ 920750 h 2286441"/>
              <a:gd name="connsiteX33" fmla="*/ 3175184 w 3892734"/>
              <a:gd name="connsiteY33" fmla="*/ 895350 h 2286441"/>
              <a:gd name="connsiteX34" fmla="*/ 3295834 w 3892734"/>
              <a:gd name="connsiteY34" fmla="*/ 774700 h 2286441"/>
              <a:gd name="connsiteX35" fmla="*/ 3391084 w 3892734"/>
              <a:gd name="connsiteY35" fmla="*/ 628650 h 2286441"/>
              <a:gd name="connsiteX36" fmla="*/ 3486334 w 3892734"/>
              <a:gd name="connsiteY36" fmla="*/ 495300 h 2286441"/>
              <a:gd name="connsiteX37" fmla="*/ 3594284 w 3892734"/>
              <a:gd name="connsiteY37" fmla="*/ 412750 h 2286441"/>
              <a:gd name="connsiteX38" fmla="*/ 3714934 w 3892734"/>
              <a:gd name="connsiteY38" fmla="*/ 406400 h 2286441"/>
              <a:gd name="connsiteX39" fmla="*/ 3892734 w 3892734"/>
              <a:gd name="connsiteY39" fmla="*/ 412750 h 2286441"/>
              <a:gd name="connsiteX40" fmla="*/ 3892734 w 3892734"/>
              <a:gd name="connsiteY40" fmla="*/ 755650 h 2286441"/>
              <a:gd name="connsiteX41" fmla="*/ 3708584 w 3892734"/>
              <a:gd name="connsiteY41" fmla="*/ 958850 h 2286441"/>
              <a:gd name="connsiteX42" fmla="*/ 3611747 w 3892734"/>
              <a:gd name="connsiteY42" fmla="*/ 1039839 h 2286441"/>
              <a:gd name="connsiteX43" fmla="*/ 3479984 w 3892734"/>
              <a:gd name="connsiteY43" fmla="*/ 1124086 h 2286441"/>
              <a:gd name="connsiteX44" fmla="*/ 3340284 w 3892734"/>
              <a:gd name="connsiteY44" fmla="*/ 1155700 h 2286441"/>
              <a:gd name="connsiteX45" fmla="*/ 3219634 w 3892734"/>
              <a:gd name="connsiteY45" fmla="*/ 1181100 h 2286441"/>
              <a:gd name="connsiteX46" fmla="*/ 3135496 w 3892734"/>
              <a:gd name="connsiteY46" fmla="*/ 1299916 h 2286441"/>
              <a:gd name="connsiteX47" fmla="*/ 2991034 w 3892734"/>
              <a:gd name="connsiteY47" fmla="*/ 1601049 h 2286441"/>
              <a:gd name="connsiteX48" fmla="*/ 2846571 w 3892734"/>
              <a:gd name="connsiteY48" fmla="*/ 1861399 h 2286441"/>
              <a:gd name="connsiteX49" fmla="*/ 2667184 w 3892734"/>
              <a:gd name="connsiteY49" fmla="*/ 2145316 h 2286441"/>
              <a:gd name="connsiteX50" fmla="*/ 2587809 w 3892734"/>
              <a:gd name="connsiteY50" fmla="*/ 2206268 h 2286441"/>
              <a:gd name="connsiteX51" fmla="*/ 2484621 w 3892734"/>
              <a:gd name="connsiteY51" fmla="*/ 2281349 h 2286441"/>
              <a:gd name="connsiteX52" fmla="*/ 2248084 w 3892734"/>
              <a:gd name="connsiteY52" fmla="*/ 2286441 h 2286441"/>
              <a:gd name="connsiteX53" fmla="*/ 2036946 w 3892734"/>
              <a:gd name="connsiteY53" fmla="*/ 2106231 h 2286441"/>
              <a:gd name="connsiteX54" fmla="*/ 1908359 w 3892734"/>
              <a:gd name="connsiteY54" fmla="*/ 1872537 h 2286441"/>
              <a:gd name="connsiteX55" fmla="*/ 1832158 w 3892734"/>
              <a:gd name="connsiteY55" fmla="*/ 1747371 h 2286441"/>
              <a:gd name="connsiteX56" fmla="*/ 1719447 w 3892734"/>
              <a:gd name="connsiteY56" fmla="*/ 1606380 h 2286441"/>
              <a:gd name="connsiteX57" fmla="*/ 1578160 w 3892734"/>
              <a:gd name="connsiteY57" fmla="*/ 1426137 h 2286441"/>
              <a:gd name="connsiteX58" fmla="*/ 1433697 w 3892734"/>
              <a:gd name="connsiteY58" fmla="*/ 1317171 h 2286441"/>
              <a:gd name="connsiteX59" fmla="*/ 1101909 w 3892734"/>
              <a:gd name="connsiteY59" fmla="*/ 1573782 h 2286441"/>
              <a:gd name="connsiteX60" fmla="*/ 895535 w 3892734"/>
              <a:gd name="connsiteY60" fmla="*/ 1609913 h 2286441"/>
              <a:gd name="connsiteX61" fmla="*/ 781234 w 3892734"/>
              <a:gd name="connsiteY61" fmla="*/ 1591782 h 2286441"/>
              <a:gd name="connsiteX62" fmla="*/ 538346 w 3892734"/>
              <a:gd name="connsiteY62" fmla="*/ 1642309 h 2286441"/>
              <a:gd name="connsiteX63" fmla="*/ 397059 w 3892734"/>
              <a:gd name="connsiteY63" fmla="*/ 1620170 h 2286441"/>
              <a:gd name="connsiteX64" fmla="*/ 12884 w 3892734"/>
              <a:gd name="connsiteY64" fmla="*/ 1221921 h 2286441"/>
              <a:gd name="connsiteX65" fmla="*/ 184 w 3892734"/>
              <a:gd name="connsiteY65" fmla="*/ 0 h 2286441"/>
              <a:gd name="connsiteX0" fmla="*/ 184 w 3892734"/>
              <a:gd name="connsiteY0" fmla="*/ 0 h 2286441"/>
              <a:gd name="connsiteX1" fmla="*/ 266884 w 3892734"/>
              <a:gd name="connsiteY1" fmla="*/ 1162050 h 2286441"/>
              <a:gd name="connsiteX2" fmla="*/ 322447 w 3892734"/>
              <a:gd name="connsiteY2" fmla="*/ 1258421 h 2286441"/>
              <a:gd name="connsiteX3" fmla="*/ 376422 w 3892734"/>
              <a:gd name="connsiteY3" fmla="*/ 1353535 h 2286441"/>
              <a:gd name="connsiteX4" fmla="*/ 412934 w 3892734"/>
              <a:gd name="connsiteY4" fmla="*/ 1314450 h 2286441"/>
              <a:gd name="connsiteX5" fmla="*/ 514534 w 3892734"/>
              <a:gd name="connsiteY5" fmla="*/ 996950 h 2286441"/>
              <a:gd name="connsiteX6" fmla="*/ 584384 w 3892734"/>
              <a:gd name="connsiteY6" fmla="*/ 641350 h 2286441"/>
              <a:gd name="connsiteX7" fmla="*/ 641534 w 3892734"/>
              <a:gd name="connsiteY7" fmla="*/ 444500 h 2286441"/>
              <a:gd name="connsiteX8" fmla="*/ 692334 w 3892734"/>
              <a:gd name="connsiteY8" fmla="*/ 330200 h 2286441"/>
              <a:gd name="connsiteX9" fmla="*/ 724084 w 3892734"/>
              <a:gd name="connsiteY9" fmla="*/ 279400 h 2286441"/>
              <a:gd name="connsiteX10" fmla="*/ 806634 w 3892734"/>
              <a:gd name="connsiteY10" fmla="*/ 334581 h 2286441"/>
              <a:gd name="connsiteX11" fmla="*/ 941571 w 3892734"/>
              <a:gd name="connsiteY11" fmla="*/ 603691 h 2286441"/>
              <a:gd name="connsiteX12" fmla="*/ 992372 w 3892734"/>
              <a:gd name="connsiteY12" fmla="*/ 744240 h 2286441"/>
              <a:gd name="connsiteX13" fmla="*/ 1093972 w 3892734"/>
              <a:gd name="connsiteY13" fmla="*/ 842884 h 2286441"/>
              <a:gd name="connsiteX14" fmla="*/ 1198746 w 3892734"/>
              <a:gd name="connsiteY14" fmla="*/ 780371 h 2286441"/>
              <a:gd name="connsiteX15" fmla="*/ 1297171 w 3892734"/>
              <a:gd name="connsiteY15" fmla="*/ 635305 h 2286441"/>
              <a:gd name="connsiteX16" fmla="*/ 1400358 w 3892734"/>
              <a:gd name="connsiteY16" fmla="*/ 547695 h 2286441"/>
              <a:gd name="connsiteX17" fmla="*/ 1486084 w 3892734"/>
              <a:gd name="connsiteY17" fmla="*/ 564606 h 2286441"/>
              <a:gd name="connsiteX18" fmla="*/ 1565459 w 3892734"/>
              <a:gd name="connsiteY18" fmla="*/ 681148 h 2286441"/>
              <a:gd name="connsiteX19" fmla="*/ 1771834 w 3892734"/>
              <a:gd name="connsiteY19" fmla="*/ 1080350 h 2286441"/>
              <a:gd name="connsiteX20" fmla="*/ 1892483 w 3892734"/>
              <a:gd name="connsiteY20" fmla="*/ 1258014 h 2286441"/>
              <a:gd name="connsiteX21" fmla="*/ 2030597 w 3892734"/>
              <a:gd name="connsiteY21" fmla="*/ 1489600 h 2286441"/>
              <a:gd name="connsiteX22" fmla="*/ 2338572 w 3892734"/>
              <a:gd name="connsiteY22" fmla="*/ 1299781 h 2286441"/>
              <a:gd name="connsiteX23" fmla="*/ 2235384 w 3892734"/>
              <a:gd name="connsiteY23" fmla="*/ 1168400 h 2286441"/>
              <a:gd name="connsiteX24" fmla="*/ 2292534 w 3892734"/>
              <a:gd name="connsiteY24" fmla="*/ 1016000 h 2286441"/>
              <a:gd name="connsiteX25" fmla="*/ 2368734 w 3892734"/>
              <a:gd name="connsiteY25" fmla="*/ 876300 h 2286441"/>
              <a:gd name="connsiteX26" fmla="*/ 2425884 w 3892734"/>
              <a:gd name="connsiteY26" fmla="*/ 787400 h 2286441"/>
              <a:gd name="connsiteX27" fmla="*/ 2476684 w 3892734"/>
              <a:gd name="connsiteY27" fmla="*/ 749300 h 2286441"/>
              <a:gd name="connsiteX28" fmla="*/ 2546534 w 3892734"/>
              <a:gd name="connsiteY28" fmla="*/ 736600 h 2286441"/>
              <a:gd name="connsiteX29" fmla="*/ 2654484 w 3892734"/>
              <a:gd name="connsiteY29" fmla="*/ 781050 h 2286441"/>
              <a:gd name="connsiteX30" fmla="*/ 2756084 w 3892734"/>
              <a:gd name="connsiteY30" fmla="*/ 838200 h 2286441"/>
              <a:gd name="connsiteX31" fmla="*/ 2851334 w 3892734"/>
              <a:gd name="connsiteY31" fmla="*/ 901700 h 2286441"/>
              <a:gd name="connsiteX32" fmla="*/ 2997384 w 3892734"/>
              <a:gd name="connsiteY32" fmla="*/ 920750 h 2286441"/>
              <a:gd name="connsiteX33" fmla="*/ 3175184 w 3892734"/>
              <a:gd name="connsiteY33" fmla="*/ 895350 h 2286441"/>
              <a:gd name="connsiteX34" fmla="*/ 3295834 w 3892734"/>
              <a:gd name="connsiteY34" fmla="*/ 774700 h 2286441"/>
              <a:gd name="connsiteX35" fmla="*/ 3391084 w 3892734"/>
              <a:gd name="connsiteY35" fmla="*/ 628650 h 2286441"/>
              <a:gd name="connsiteX36" fmla="*/ 3486334 w 3892734"/>
              <a:gd name="connsiteY36" fmla="*/ 495300 h 2286441"/>
              <a:gd name="connsiteX37" fmla="*/ 3594284 w 3892734"/>
              <a:gd name="connsiteY37" fmla="*/ 412750 h 2286441"/>
              <a:gd name="connsiteX38" fmla="*/ 3714934 w 3892734"/>
              <a:gd name="connsiteY38" fmla="*/ 406400 h 2286441"/>
              <a:gd name="connsiteX39" fmla="*/ 3892734 w 3892734"/>
              <a:gd name="connsiteY39" fmla="*/ 412750 h 2286441"/>
              <a:gd name="connsiteX40" fmla="*/ 3892734 w 3892734"/>
              <a:gd name="connsiteY40" fmla="*/ 755650 h 2286441"/>
              <a:gd name="connsiteX41" fmla="*/ 3708584 w 3892734"/>
              <a:gd name="connsiteY41" fmla="*/ 958850 h 2286441"/>
              <a:gd name="connsiteX42" fmla="*/ 3611747 w 3892734"/>
              <a:gd name="connsiteY42" fmla="*/ 1039839 h 2286441"/>
              <a:gd name="connsiteX43" fmla="*/ 3479984 w 3892734"/>
              <a:gd name="connsiteY43" fmla="*/ 1124086 h 2286441"/>
              <a:gd name="connsiteX44" fmla="*/ 3340284 w 3892734"/>
              <a:gd name="connsiteY44" fmla="*/ 1155700 h 2286441"/>
              <a:gd name="connsiteX45" fmla="*/ 3219634 w 3892734"/>
              <a:gd name="connsiteY45" fmla="*/ 1181100 h 2286441"/>
              <a:gd name="connsiteX46" fmla="*/ 3135496 w 3892734"/>
              <a:gd name="connsiteY46" fmla="*/ 1299916 h 2286441"/>
              <a:gd name="connsiteX47" fmla="*/ 2991034 w 3892734"/>
              <a:gd name="connsiteY47" fmla="*/ 1601049 h 2286441"/>
              <a:gd name="connsiteX48" fmla="*/ 2846571 w 3892734"/>
              <a:gd name="connsiteY48" fmla="*/ 1861399 h 2286441"/>
              <a:gd name="connsiteX49" fmla="*/ 2667184 w 3892734"/>
              <a:gd name="connsiteY49" fmla="*/ 2145316 h 2286441"/>
              <a:gd name="connsiteX50" fmla="*/ 2587809 w 3892734"/>
              <a:gd name="connsiteY50" fmla="*/ 2206268 h 2286441"/>
              <a:gd name="connsiteX51" fmla="*/ 2484621 w 3892734"/>
              <a:gd name="connsiteY51" fmla="*/ 2281349 h 2286441"/>
              <a:gd name="connsiteX52" fmla="*/ 2248084 w 3892734"/>
              <a:gd name="connsiteY52" fmla="*/ 2286441 h 2286441"/>
              <a:gd name="connsiteX53" fmla="*/ 2036946 w 3892734"/>
              <a:gd name="connsiteY53" fmla="*/ 2106231 h 2286441"/>
              <a:gd name="connsiteX54" fmla="*/ 1908359 w 3892734"/>
              <a:gd name="connsiteY54" fmla="*/ 1872537 h 2286441"/>
              <a:gd name="connsiteX55" fmla="*/ 1832158 w 3892734"/>
              <a:gd name="connsiteY55" fmla="*/ 1747371 h 2286441"/>
              <a:gd name="connsiteX56" fmla="*/ 1719447 w 3892734"/>
              <a:gd name="connsiteY56" fmla="*/ 1606380 h 2286441"/>
              <a:gd name="connsiteX57" fmla="*/ 1578160 w 3892734"/>
              <a:gd name="connsiteY57" fmla="*/ 1426137 h 2286441"/>
              <a:gd name="connsiteX58" fmla="*/ 1433697 w 3892734"/>
              <a:gd name="connsiteY58" fmla="*/ 1317171 h 2286441"/>
              <a:gd name="connsiteX59" fmla="*/ 1101909 w 3892734"/>
              <a:gd name="connsiteY59" fmla="*/ 1573782 h 2286441"/>
              <a:gd name="connsiteX60" fmla="*/ 895535 w 3892734"/>
              <a:gd name="connsiteY60" fmla="*/ 1609913 h 2286441"/>
              <a:gd name="connsiteX61" fmla="*/ 781234 w 3892734"/>
              <a:gd name="connsiteY61" fmla="*/ 1591782 h 2286441"/>
              <a:gd name="connsiteX62" fmla="*/ 538346 w 3892734"/>
              <a:gd name="connsiteY62" fmla="*/ 1642309 h 2286441"/>
              <a:gd name="connsiteX63" fmla="*/ 397059 w 3892734"/>
              <a:gd name="connsiteY63" fmla="*/ 1620170 h 2286441"/>
              <a:gd name="connsiteX64" fmla="*/ 12884 w 3892734"/>
              <a:gd name="connsiteY64" fmla="*/ 1221921 h 2286441"/>
              <a:gd name="connsiteX65" fmla="*/ 184 w 3892734"/>
              <a:gd name="connsiteY65" fmla="*/ 0 h 2286441"/>
              <a:gd name="connsiteX0" fmla="*/ 184 w 3892734"/>
              <a:gd name="connsiteY0" fmla="*/ 0 h 2286441"/>
              <a:gd name="connsiteX1" fmla="*/ 266884 w 3892734"/>
              <a:gd name="connsiteY1" fmla="*/ 1162050 h 2286441"/>
              <a:gd name="connsiteX2" fmla="*/ 322447 w 3892734"/>
              <a:gd name="connsiteY2" fmla="*/ 1258421 h 2286441"/>
              <a:gd name="connsiteX3" fmla="*/ 376422 w 3892734"/>
              <a:gd name="connsiteY3" fmla="*/ 1353535 h 2286441"/>
              <a:gd name="connsiteX4" fmla="*/ 412934 w 3892734"/>
              <a:gd name="connsiteY4" fmla="*/ 1314450 h 2286441"/>
              <a:gd name="connsiteX5" fmla="*/ 514534 w 3892734"/>
              <a:gd name="connsiteY5" fmla="*/ 996950 h 2286441"/>
              <a:gd name="connsiteX6" fmla="*/ 584384 w 3892734"/>
              <a:gd name="connsiteY6" fmla="*/ 641350 h 2286441"/>
              <a:gd name="connsiteX7" fmla="*/ 641534 w 3892734"/>
              <a:gd name="connsiteY7" fmla="*/ 444500 h 2286441"/>
              <a:gd name="connsiteX8" fmla="*/ 692334 w 3892734"/>
              <a:gd name="connsiteY8" fmla="*/ 330200 h 2286441"/>
              <a:gd name="connsiteX9" fmla="*/ 724084 w 3892734"/>
              <a:gd name="connsiteY9" fmla="*/ 279400 h 2286441"/>
              <a:gd name="connsiteX10" fmla="*/ 806634 w 3892734"/>
              <a:gd name="connsiteY10" fmla="*/ 334581 h 2286441"/>
              <a:gd name="connsiteX11" fmla="*/ 941571 w 3892734"/>
              <a:gd name="connsiteY11" fmla="*/ 603691 h 2286441"/>
              <a:gd name="connsiteX12" fmla="*/ 992372 w 3892734"/>
              <a:gd name="connsiteY12" fmla="*/ 744240 h 2286441"/>
              <a:gd name="connsiteX13" fmla="*/ 1093972 w 3892734"/>
              <a:gd name="connsiteY13" fmla="*/ 842884 h 2286441"/>
              <a:gd name="connsiteX14" fmla="*/ 1198746 w 3892734"/>
              <a:gd name="connsiteY14" fmla="*/ 780371 h 2286441"/>
              <a:gd name="connsiteX15" fmla="*/ 1297171 w 3892734"/>
              <a:gd name="connsiteY15" fmla="*/ 635305 h 2286441"/>
              <a:gd name="connsiteX16" fmla="*/ 1400358 w 3892734"/>
              <a:gd name="connsiteY16" fmla="*/ 547695 h 2286441"/>
              <a:gd name="connsiteX17" fmla="*/ 1486084 w 3892734"/>
              <a:gd name="connsiteY17" fmla="*/ 564606 h 2286441"/>
              <a:gd name="connsiteX18" fmla="*/ 1565459 w 3892734"/>
              <a:gd name="connsiteY18" fmla="*/ 681148 h 2286441"/>
              <a:gd name="connsiteX19" fmla="*/ 1771834 w 3892734"/>
              <a:gd name="connsiteY19" fmla="*/ 1080350 h 2286441"/>
              <a:gd name="connsiteX20" fmla="*/ 1892483 w 3892734"/>
              <a:gd name="connsiteY20" fmla="*/ 1258014 h 2286441"/>
              <a:gd name="connsiteX21" fmla="*/ 2030597 w 3892734"/>
              <a:gd name="connsiteY21" fmla="*/ 1489600 h 2286441"/>
              <a:gd name="connsiteX22" fmla="*/ 2281422 w 3892734"/>
              <a:gd name="connsiteY22" fmla="*/ 1299781 h 2286441"/>
              <a:gd name="connsiteX23" fmla="*/ 2235384 w 3892734"/>
              <a:gd name="connsiteY23" fmla="*/ 1168400 h 2286441"/>
              <a:gd name="connsiteX24" fmla="*/ 2292534 w 3892734"/>
              <a:gd name="connsiteY24" fmla="*/ 1016000 h 2286441"/>
              <a:gd name="connsiteX25" fmla="*/ 2368734 w 3892734"/>
              <a:gd name="connsiteY25" fmla="*/ 876300 h 2286441"/>
              <a:gd name="connsiteX26" fmla="*/ 2425884 w 3892734"/>
              <a:gd name="connsiteY26" fmla="*/ 787400 h 2286441"/>
              <a:gd name="connsiteX27" fmla="*/ 2476684 w 3892734"/>
              <a:gd name="connsiteY27" fmla="*/ 749300 h 2286441"/>
              <a:gd name="connsiteX28" fmla="*/ 2546534 w 3892734"/>
              <a:gd name="connsiteY28" fmla="*/ 736600 h 2286441"/>
              <a:gd name="connsiteX29" fmla="*/ 2654484 w 3892734"/>
              <a:gd name="connsiteY29" fmla="*/ 781050 h 2286441"/>
              <a:gd name="connsiteX30" fmla="*/ 2756084 w 3892734"/>
              <a:gd name="connsiteY30" fmla="*/ 838200 h 2286441"/>
              <a:gd name="connsiteX31" fmla="*/ 2851334 w 3892734"/>
              <a:gd name="connsiteY31" fmla="*/ 901700 h 2286441"/>
              <a:gd name="connsiteX32" fmla="*/ 2997384 w 3892734"/>
              <a:gd name="connsiteY32" fmla="*/ 920750 h 2286441"/>
              <a:gd name="connsiteX33" fmla="*/ 3175184 w 3892734"/>
              <a:gd name="connsiteY33" fmla="*/ 895350 h 2286441"/>
              <a:gd name="connsiteX34" fmla="*/ 3295834 w 3892734"/>
              <a:gd name="connsiteY34" fmla="*/ 774700 h 2286441"/>
              <a:gd name="connsiteX35" fmla="*/ 3391084 w 3892734"/>
              <a:gd name="connsiteY35" fmla="*/ 628650 h 2286441"/>
              <a:gd name="connsiteX36" fmla="*/ 3486334 w 3892734"/>
              <a:gd name="connsiteY36" fmla="*/ 495300 h 2286441"/>
              <a:gd name="connsiteX37" fmla="*/ 3594284 w 3892734"/>
              <a:gd name="connsiteY37" fmla="*/ 412750 h 2286441"/>
              <a:gd name="connsiteX38" fmla="*/ 3714934 w 3892734"/>
              <a:gd name="connsiteY38" fmla="*/ 406400 h 2286441"/>
              <a:gd name="connsiteX39" fmla="*/ 3892734 w 3892734"/>
              <a:gd name="connsiteY39" fmla="*/ 412750 h 2286441"/>
              <a:gd name="connsiteX40" fmla="*/ 3892734 w 3892734"/>
              <a:gd name="connsiteY40" fmla="*/ 755650 h 2286441"/>
              <a:gd name="connsiteX41" fmla="*/ 3708584 w 3892734"/>
              <a:gd name="connsiteY41" fmla="*/ 958850 h 2286441"/>
              <a:gd name="connsiteX42" fmla="*/ 3611747 w 3892734"/>
              <a:gd name="connsiteY42" fmla="*/ 1039839 h 2286441"/>
              <a:gd name="connsiteX43" fmla="*/ 3479984 w 3892734"/>
              <a:gd name="connsiteY43" fmla="*/ 1124086 h 2286441"/>
              <a:gd name="connsiteX44" fmla="*/ 3340284 w 3892734"/>
              <a:gd name="connsiteY44" fmla="*/ 1155700 h 2286441"/>
              <a:gd name="connsiteX45" fmla="*/ 3219634 w 3892734"/>
              <a:gd name="connsiteY45" fmla="*/ 1181100 h 2286441"/>
              <a:gd name="connsiteX46" fmla="*/ 3135496 w 3892734"/>
              <a:gd name="connsiteY46" fmla="*/ 1299916 h 2286441"/>
              <a:gd name="connsiteX47" fmla="*/ 2991034 w 3892734"/>
              <a:gd name="connsiteY47" fmla="*/ 1601049 h 2286441"/>
              <a:gd name="connsiteX48" fmla="*/ 2846571 w 3892734"/>
              <a:gd name="connsiteY48" fmla="*/ 1861399 h 2286441"/>
              <a:gd name="connsiteX49" fmla="*/ 2667184 w 3892734"/>
              <a:gd name="connsiteY49" fmla="*/ 2145316 h 2286441"/>
              <a:gd name="connsiteX50" fmla="*/ 2587809 w 3892734"/>
              <a:gd name="connsiteY50" fmla="*/ 2206268 h 2286441"/>
              <a:gd name="connsiteX51" fmla="*/ 2484621 w 3892734"/>
              <a:gd name="connsiteY51" fmla="*/ 2281349 h 2286441"/>
              <a:gd name="connsiteX52" fmla="*/ 2248084 w 3892734"/>
              <a:gd name="connsiteY52" fmla="*/ 2286441 h 2286441"/>
              <a:gd name="connsiteX53" fmla="*/ 2036946 w 3892734"/>
              <a:gd name="connsiteY53" fmla="*/ 2106231 h 2286441"/>
              <a:gd name="connsiteX54" fmla="*/ 1908359 w 3892734"/>
              <a:gd name="connsiteY54" fmla="*/ 1872537 h 2286441"/>
              <a:gd name="connsiteX55" fmla="*/ 1832158 w 3892734"/>
              <a:gd name="connsiteY55" fmla="*/ 1747371 h 2286441"/>
              <a:gd name="connsiteX56" fmla="*/ 1719447 w 3892734"/>
              <a:gd name="connsiteY56" fmla="*/ 1606380 h 2286441"/>
              <a:gd name="connsiteX57" fmla="*/ 1578160 w 3892734"/>
              <a:gd name="connsiteY57" fmla="*/ 1426137 h 2286441"/>
              <a:gd name="connsiteX58" fmla="*/ 1433697 w 3892734"/>
              <a:gd name="connsiteY58" fmla="*/ 1317171 h 2286441"/>
              <a:gd name="connsiteX59" fmla="*/ 1101909 w 3892734"/>
              <a:gd name="connsiteY59" fmla="*/ 1573782 h 2286441"/>
              <a:gd name="connsiteX60" fmla="*/ 895535 w 3892734"/>
              <a:gd name="connsiteY60" fmla="*/ 1609913 h 2286441"/>
              <a:gd name="connsiteX61" fmla="*/ 781234 w 3892734"/>
              <a:gd name="connsiteY61" fmla="*/ 1591782 h 2286441"/>
              <a:gd name="connsiteX62" fmla="*/ 538346 w 3892734"/>
              <a:gd name="connsiteY62" fmla="*/ 1642309 h 2286441"/>
              <a:gd name="connsiteX63" fmla="*/ 397059 w 3892734"/>
              <a:gd name="connsiteY63" fmla="*/ 1620170 h 2286441"/>
              <a:gd name="connsiteX64" fmla="*/ 12884 w 3892734"/>
              <a:gd name="connsiteY64" fmla="*/ 1221921 h 2286441"/>
              <a:gd name="connsiteX65" fmla="*/ 184 w 3892734"/>
              <a:gd name="connsiteY65" fmla="*/ 0 h 2286441"/>
              <a:gd name="connsiteX0" fmla="*/ 184 w 3892734"/>
              <a:gd name="connsiteY0" fmla="*/ 0 h 2286441"/>
              <a:gd name="connsiteX1" fmla="*/ 266884 w 3892734"/>
              <a:gd name="connsiteY1" fmla="*/ 1162050 h 2286441"/>
              <a:gd name="connsiteX2" fmla="*/ 322447 w 3892734"/>
              <a:gd name="connsiteY2" fmla="*/ 1258421 h 2286441"/>
              <a:gd name="connsiteX3" fmla="*/ 376422 w 3892734"/>
              <a:gd name="connsiteY3" fmla="*/ 1353535 h 2286441"/>
              <a:gd name="connsiteX4" fmla="*/ 412934 w 3892734"/>
              <a:gd name="connsiteY4" fmla="*/ 1314450 h 2286441"/>
              <a:gd name="connsiteX5" fmla="*/ 514534 w 3892734"/>
              <a:gd name="connsiteY5" fmla="*/ 996950 h 2286441"/>
              <a:gd name="connsiteX6" fmla="*/ 584384 w 3892734"/>
              <a:gd name="connsiteY6" fmla="*/ 641350 h 2286441"/>
              <a:gd name="connsiteX7" fmla="*/ 641534 w 3892734"/>
              <a:gd name="connsiteY7" fmla="*/ 444500 h 2286441"/>
              <a:gd name="connsiteX8" fmla="*/ 692334 w 3892734"/>
              <a:gd name="connsiteY8" fmla="*/ 330200 h 2286441"/>
              <a:gd name="connsiteX9" fmla="*/ 724084 w 3892734"/>
              <a:gd name="connsiteY9" fmla="*/ 279400 h 2286441"/>
              <a:gd name="connsiteX10" fmla="*/ 806634 w 3892734"/>
              <a:gd name="connsiteY10" fmla="*/ 334581 h 2286441"/>
              <a:gd name="connsiteX11" fmla="*/ 941571 w 3892734"/>
              <a:gd name="connsiteY11" fmla="*/ 603691 h 2286441"/>
              <a:gd name="connsiteX12" fmla="*/ 992372 w 3892734"/>
              <a:gd name="connsiteY12" fmla="*/ 744240 h 2286441"/>
              <a:gd name="connsiteX13" fmla="*/ 1093972 w 3892734"/>
              <a:gd name="connsiteY13" fmla="*/ 842884 h 2286441"/>
              <a:gd name="connsiteX14" fmla="*/ 1198746 w 3892734"/>
              <a:gd name="connsiteY14" fmla="*/ 780371 h 2286441"/>
              <a:gd name="connsiteX15" fmla="*/ 1297171 w 3892734"/>
              <a:gd name="connsiteY15" fmla="*/ 635305 h 2286441"/>
              <a:gd name="connsiteX16" fmla="*/ 1400358 w 3892734"/>
              <a:gd name="connsiteY16" fmla="*/ 547695 h 2286441"/>
              <a:gd name="connsiteX17" fmla="*/ 1486084 w 3892734"/>
              <a:gd name="connsiteY17" fmla="*/ 564606 h 2286441"/>
              <a:gd name="connsiteX18" fmla="*/ 1565459 w 3892734"/>
              <a:gd name="connsiteY18" fmla="*/ 681148 h 2286441"/>
              <a:gd name="connsiteX19" fmla="*/ 1771834 w 3892734"/>
              <a:gd name="connsiteY19" fmla="*/ 1080350 h 2286441"/>
              <a:gd name="connsiteX20" fmla="*/ 1892483 w 3892734"/>
              <a:gd name="connsiteY20" fmla="*/ 1258014 h 2286441"/>
              <a:gd name="connsiteX21" fmla="*/ 2111560 w 3892734"/>
              <a:gd name="connsiteY21" fmla="*/ 1521215 h 2286441"/>
              <a:gd name="connsiteX22" fmla="*/ 2281422 w 3892734"/>
              <a:gd name="connsiteY22" fmla="*/ 1299781 h 2286441"/>
              <a:gd name="connsiteX23" fmla="*/ 2235384 w 3892734"/>
              <a:gd name="connsiteY23" fmla="*/ 1168400 h 2286441"/>
              <a:gd name="connsiteX24" fmla="*/ 2292534 w 3892734"/>
              <a:gd name="connsiteY24" fmla="*/ 1016000 h 2286441"/>
              <a:gd name="connsiteX25" fmla="*/ 2368734 w 3892734"/>
              <a:gd name="connsiteY25" fmla="*/ 876300 h 2286441"/>
              <a:gd name="connsiteX26" fmla="*/ 2425884 w 3892734"/>
              <a:gd name="connsiteY26" fmla="*/ 787400 h 2286441"/>
              <a:gd name="connsiteX27" fmla="*/ 2476684 w 3892734"/>
              <a:gd name="connsiteY27" fmla="*/ 749300 h 2286441"/>
              <a:gd name="connsiteX28" fmla="*/ 2546534 w 3892734"/>
              <a:gd name="connsiteY28" fmla="*/ 736600 h 2286441"/>
              <a:gd name="connsiteX29" fmla="*/ 2654484 w 3892734"/>
              <a:gd name="connsiteY29" fmla="*/ 781050 h 2286441"/>
              <a:gd name="connsiteX30" fmla="*/ 2756084 w 3892734"/>
              <a:gd name="connsiteY30" fmla="*/ 838200 h 2286441"/>
              <a:gd name="connsiteX31" fmla="*/ 2851334 w 3892734"/>
              <a:gd name="connsiteY31" fmla="*/ 901700 h 2286441"/>
              <a:gd name="connsiteX32" fmla="*/ 2997384 w 3892734"/>
              <a:gd name="connsiteY32" fmla="*/ 920750 h 2286441"/>
              <a:gd name="connsiteX33" fmla="*/ 3175184 w 3892734"/>
              <a:gd name="connsiteY33" fmla="*/ 895350 h 2286441"/>
              <a:gd name="connsiteX34" fmla="*/ 3295834 w 3892734"/>
              <a:gd name="connsiteY34" fmla="*/ 774700 h 2286441"/>
              <a:gd name="connsiteX35" fmla="*/ 3391084 w 3892734"/>
              <a:gd name="connsiteY35" fmla="*/ 628650 h 2286441"/>
              <a:gd name="connsiteX36" fmla="*/ 3486334 w 3892734"/>
              <a:gd name="connsiteY36" fmla="*/ 495300 h 2286441"/>
              <a:gd name="connsiteX37" fmla="*/ 3594284 w 3892734"/>
              <a:gd name="connsiteY37" fmla="*/ 412750 h 2286441"/>
              <a:gd name="connsiteX38" fmla="*/ 3714934 w 3892734"/>
              <a:gd name="connsiteY38" fmla="*/ 406400 h 2286441"/>
              <a:gd name="connsiteX39" fmla="*/ 3892734 w 3892734"/>
              <a:gd name="connsiteY39" fmla="*/ 412750 h 2286441"/>
              <a:gd name="connsiteX40" fmla="*/ 3892734 w 3892734"/>
              <a:gd name="connsiteY40" fmla="*/ 755650 h 2286441"/>
              <a:gd name="connsiteX41" fmla="*/ 3708584 w 3892734"/>
              <a:gd name="connsiteY41" fmla="*/ 958850 h 2286441"/>
              <a:gd name="connsiteX42" fmla="*/ 3611747 w 3892734"/>
              <a:gd name="connsiteY42" fmla="*/ 1039839 h 2286441"/>
              <a:gd name="connsiteX43" fmla="*/ 3479984 w 3892734"/>
              <a:gd name="connsiteY43" fmla="*/ 1124086 h 2286441"/>
              <a:gd name="connsiteX44" fmla="*/ 3340284 w 3892734"/>
              <a:gd name="connsiteY44" fmla="*/ 1155700 h 2286441"/>
              <a:gd name="connsiteX45" fmla="*/ 3219634 w 3892734"/>
              <a:gd name="connsiteY45" fmla="*/ 1181100 h 2286441"/>
              <a:gd name="connsiteX46" fmla="*/ 3135496 w 3892734"/>
              <a:gd name="connsiteY46" fmla="*/ 1299916 h 2286441"/>
              <a:gd name="connsiteX47" fmla="*/ 2991034 w 3892734"/>
              <a:gd name="connsiteY47" fmla="*/ 1601049 h 2286441"/>
              <a:gd name="connsiteX48" fmla="*/ 2846571 w 3892734"/>
              <a:gd name="connsiteY48" fmla="*/ 1861399 h 2286441"/>
              <a:gd name="connsiteX49" fmla="*/ 2667184 w 3892734"/>
              <a:gd name="connsiteY49" fmla="*/ 2145316 h 2286441"/>
              <a:gd name="connsiteX50" fmla="*/ 2587809 w 3892734"/>
              <a:gd name="connsiteY50" fmla="*/ 2206268 h 2286441"/>
              <a:gd name="connsiteX51" fmla="*/ 2484621 w 3892734"/>
              <a:gd name="connsiteY51" fmla="*/ 2281349 h 2286441"/>
              <a:gd name="connsiteX52" fmla="*/ 2248084 w 3892734"/>
              <a:gd name="connsiteY52" fmla="*/ 2286441 h 2286441"/>
              <a:gd name="connsiteX53" fmla="*/ 2036946 w 3892734"/>
              <a:gd name="connsiteY53" fmla="*/ 2106231 h 2286441"/>
              <a:gd name="connsiteX54" fmla="*/ 1908359 w 3892734"/>
              <a:gd name="connsiteY54" fmla="*/ 1872537 h 2286441"/>
              <a:gd name="connsiteX55" fmla="*/ 1832158 w 3892734"/>
              <a:gd name="connsiteY55" fmla="*/ 1747371 h 2286441"/>
              <a:gd name="connsiteX56" fmla="*/ 1719447 w 3892734"/>
              <a:gd name="connsiteY56" fmla="*/ 1606380 h 2286441"/>
              <a:gd name="connsiteX57" fmla="*/ 1578160 w 3892734"/>
              <a:gd name="connsiteY57" fmla="*/ 1426137 h 2286441"/>
              <a:gd name="connsiteX58" fmla="*/ 1433697 w 3892734"/>
              <a:gd name="connsiteY58" fmla="*/ 1317171 h 2286441"/>
              <a:gd name="connsiteX59" fmla="*/ 1101909 w 3892734"/>
              <a:gd name="connsiteY59" fmla="*/ 1573782 h 2286441"/>
              <a:gd name="connsiteX60" fmla="*/ 895535 w 3892734"/>
              <a:gd name="connsiteY60" fmla="*/ 1609913 h 2286441"/>
              <a:gd name="connsiteX61" fmla="*/ 781234 w 3892734"/>
              <a:gd name="connsiteY61" fmla="*/ 1591782 h 2286441"/>
              <a:gd name="connsiteX62" fmla="*/ 538346 w 3892734"/>
              <a:gd name="connsiteY62" fmla="*/ 1642309 h 2286441"/>
              <a:gd name="connsiteX63" fmla="*/ 397059 w 3892734"/>
              <a:gd name="connsiteY63" fmla="*/ 1620170 h 2286441"/>
              <a:gd name="connsiteX64" fmla="*/ 12884 w 3892734"/>
              <a:gd name="connsiteY64" fmla="*/ 1221921 h 2286441"/>
              <a:gd name="connsiteX65" fmla="*/ 184 w 3892734"/>
              <a:gd name="connsiteY65" fmla="*/ 0 h 2286441"/>
              <a:gd name="connsiteX0" fmla="*/ 184 w 3892734"/>
              <a:gd name="connsiteY0" fmla="*/ 0 h 2286441"/>
              <a:gd name="connsiteX1" fmla="*/ 266884 w 3892734"/>
              <a:gd name="connsiteY1" fmla="*/ 1162050 h 2286441"/>
              <a:gd name="connsiteX2" fmla="*/ 322447 w 3892734"/>
              <a:gd name="connsiteY2" fmla="*/ 1258421 h 2286441"/>
              <a:gd name="connsiteX3" fmla="*/ 376422 w 3892734"/>
              <a:gd name="connsiteY3" fmla="*/ 1353535 h 2286441"/>
              <a:gd name="connsiteX4" fmla="*/ 412934 w 3892734"/>
              <a:gd name="connsiteY4" fmla="*/ 1314450 h 2286441"/>
              <a:gd name="connsiteX5" fmla="*/ 514534 w 3892734"/>
              <a:gd name="connsiteY5" fmla="*/ 996950 h 2286441"/>
              <a:gd name="connsiteX6" fmla="*/ 584384 w 3892734"/>
              <a:gd name="connsiteY6" fmla="*/ 641350 h 2286441"/>
              <a:gd name="connsiteX7" fmla="*/ 641534 w 3892734"/>
              <a:gd name="connsiteY7" fmla="*/ 444500 h 2286441"/>
              <a:gd name="connsiteX8" fmla="*/ 692334 w 3892734"/>
              <a:gd name="connsiteY8" fmla="*/ 330200 h 2286441"/>
              <a:gd name="connsiteX9" fmla="*/ 724084 w 3892734"/>
              <a:gd name="connsiteY9" fmla="*/ 279400 h 2286441"/>
              <a:gd name="connsiteX10" fmla="*/ 806634 w 3892734"/>
              <a:gd name="connsiteY10" fmla="*/ 334581 h 2286441"/>
              <a:gd name="connsiteX11" fmla="*/ 941571 w 3892734"/>
              <a:gd name="connsiteY11" fmla="*/ 603691 h 2286441"/>
              <a:gd name="connsiteX12" fmla="*/ 992372 w 3892734"/>
              <a:gd name="connsiteY12" fmla="*/ 744240 h 2286441"/>
              <a:gd name="connsiteX13" fmla="*/ 1093972 w 3892734"/>
              <a:gd name="connsiteY13" fmla="*/ 842884 h 2286441"/>
              <a:gd name="connsiteX14" fmla="*/ 1198746 w 3892734"/>
              <a:gd name="connsiteY14" fmla="*/ 780371 h 2286441"/>
              <a:gd name="connsiteX15" fmla="*/ 1297171 w 3892734"/>
              <a:gd name="connsiteY15" fmla="*/ 635305 h 2286441"/>
              <a:gd name="connsiteX16" fmla="*/ 1400358 w 3892734"/>
              <a:gd name="connsiteY16" fmla="*/ 547695 h 2286441"/>
              <a:gd name="connsiteX17" fmla="*/ 1486084 w 3892734"/>
              <a:gd name="connsiteY17" fmla="*/ 564606 h 2286441"/>
              <a:gd name="connsiteX18" fmla="*/ 1565459 w 3892734"/>
              <a:gd name="connsiteY18" fmla="*/ 681148 h 2286441"/>
              <a:gd name="connsiteX19" fmla="*/ 1771834 w 3892734"/>
              <a:gd name="connsiteY19" fmla="*/ 1080350 h 2286441"/>
              <a:gd name="connsiteX20" fmla="*/ 1892483 w 3892734"/>
              <a:gd name="connsiteY20" fmla="*/ 1258014 h 2286441"/>
              <a:gd name="connsiteX21" fmla="*/ 2063935 w 3892734"/>
              <a:gd name="connsiteY21" fmla="*/ 1525731 h 2286441"/>
              <a:gd name="connsiteX22" fmla="*/ 2281422 w 3892734"/>
              <a:gd name="connsiteY22" fmla="*/ 1299781 h 2286441"/>
              <a:gd name="connsiteX23" fmla="*/ 2235384 w 3892734"/>
              <a:gd name="connsiteY23" fmla="*/ 1168400 h 2286441"/>
              <a:gd name="connsiteX24" fmla="*/ 2292534 w 3892734"/>
              <a:gd name="connsiteY24" fmla="*/ 1016000 h 2286441"/>
              <a:gd name="connsiteX25" fmla="*/ 2368734 w 3892734"/>
              <a:gd name="connsiteY25" fmla="*/ 876300 h 2286441"/>
              <a:gd name="connsiteX26" fmla="*/ 2425884 w 3892734"/>
              <a:gd name="connsiteY26" fmla="*/ 787400 h 2286441"/>
              <a:gd name="connsiteX27" fmla="*/ 2476684 w 3892734"/>
              <a:gd name="connsiteY27" fmla="*/ 749300 h 2286441"/>
              <a:gd name="connsiteX28" fmla="*/ 2546534 w 3892734"/>
              <a:gd name="connsiteY28" fmla="*/ 736600 h 2286441"/>
              <a:gd name="connsiteX29" fmla="*/ 2654484 w 3892734"/>
              <a:gd name="connsiteY29" fmla="*/ 781050 h 2286441"/>
              <a:gd name="connsiteX30" fmla="*/ 2756084 w 3892734"/>
              <a:gd name="connsiteY30" fmla="*/ 838200 h 2286441"/>
              <a:gd name="connsiteX31" fmla="*/ 2851334 w 3892734"/>
              <a:gd name="connsiteY31" fmla="*/ 901700 h 2286441"/>
              <a:gd name="connsiteX32" fmla="*/ 2997384 w 3892734"/>
              <a:gd name="connsiteY32" fmla="*/ 920750 h 2286441"/>
              <a:gd name="connsiteX33" fmla="*/ 3175184 w 3892734"/>
              <a:gd name="connsiteY33" fmla="*/ 895350 h 2286441"/>
              <a:gd name="connsiteX34" fmla="*/ 3295834 w 3892734"/>
              <a:gd name="connsiteY34" fmla="*/ 774700 h 2286441"/>
              <a:gd name="connsiteX35" fmla="*/ 3391084 w 3892734"/>
              <a:gd name="connsiteY35" fmla="*/ 628650 h 2286441"/>
              <a:gd name="connsiteX36" fmla="*/ 3486334 w 3892734"/>
              <a:gd name="connsiteY36" fmla="*/ 495300 h 2286441"/>
              <a:gd name="connsiteX37" fmla="*/ 3594284 w 3892734"/>
              <a:gd name="connsiteY37" fmla="*/ 412750 h 2286441"/>
              <a:gd name="connsiteX38" fmla="*/ 3714934 w 3892734"/>
              <a:gd name="connsiteY38" fmla="*/ 406400 h 2286441"/>
              <a:gd name="connsiteX39" fmla="*/ 3892734 w 3892734"/>
              <a:gd name="connsiteY39" fmla="*/ 412750 h 2286441"/>
              <a:gd name="connsiteX40" fmla="*/ 3892734 w 3892734"/>
              <a:gd name="connsiteY40" fmla="*/ 755650 h 2286441"/>
              <a:gd name="connsiteX41" fmla="*/ 3708584 w 3892734"/>
              <a:gd name="connsiteY41" fmla="*/ 958850 h 2286441"/>
              <a:gd name="connsiteX42" fmla="*/ 3611747 w 3892734"/>
              <a:gd name="connsiteY42" fmla="*/ 1039839 h 2286441"/>
              <a:gd name="connsiteX43" fmla="*/ 3479984 w 3892734"/>
              <a:gd name="connsiteY43" fmla="*/ 1124086 h 2286441"/>
              <a:gd name="connsiteX44" fmla="*/ 3340284 w 3892734"/>
              <a:gd name="connsiteY44" fmla="*/ 1155700 h 2286441"/>
              <a:gd name="connsiteX45" fmla="*/ 3219634 w 3892734"/>
              <a:gd name="connsiteY45" fmla="*/ 1181100 h 2286441"/>
              <a:gd name="connsiteX46" fmla="*/ 3135496 w 3892734"/>
              <a:gd name="connsiteY46" fmla="*/ 1299916 h 2286441"/>
              <a:gd name="connsiteX47" fmla="*/ 2991034 w 3892734"/>
              <a:gd name="connsiteY47" fmla="*/ 1601049 h 2286441"/>
              <a:gd name="connsiteX48" fmla="*/ 2846571 w 3892734"/>
              <a:gd name="connsiteY48" fmla="*/ 1861399 h 2286441"/>
              <a:gd name="connsiteX49" fmla="*/ 2667184 w 3892734"/>
              <a:gd name="connsiteY49" fmla="*/ 2145316 h 2286441"/>
              <a:gd name="connsiteX50" fmla="*/ 2587809 w 3892734"/>
              <a:gd name="connsiteY50" fmla="*/ 2206268 h 2286441"/>
              <a:gd name="connsiteX51" fmla="*/ 2484621 w 3892734"/>
              <a:gd name="connsiteY51" fmla="*/ 2281349 h 2286441"/>
              <a:gd name="connsiteX52" fmla="*/ 2248084 w 3892734"/>
              <a:gd name="connsiteY52" fmla="*/ 2286441 h 2286441"/>
              <a:gd name="connsiteX53" fmla="*/ 2036946 w 3892734"/>
              <a:gd name="connsiteY53" fmla="*/ 2106231 h 2286441"/>
              <a:gd name="connsiteX54" fmla="*/ 1908359 w 3892734"/>
              <a:gd name="connsiteY54" fmla="*/ 1872537 h 2286441"/>
              <a:gd name="connsiteX55" fmla="*/ 1832158 w 3892734"/>
              <a:gd name="connsiteY55" fmla="*/ 1747371 h 2286441"/>
              <a:gd name="connsiteX56" fmla="*/ 1719447 w 3892734"/>
              <a:gd name="connsiteY56" fmla="*/ 1606380 h 2286441"/>
              <a:gd name="connsiteX57" fmla="*/ 1578160 w 3892734"/>
              <a:gd name="connsiteY57" fmla="*/ 1426137 h 2286441"/>
              <a:gd name="connsiteX58" fmla="*/ 1433697 w 3892734"/>
              <a:gd name="connsiteY58" fmla="*/ 1317171 h 2286441"/>
              <a:gd name="connsiteX59" fmla="*/ 1101909 w 3892734"/>
              <a:gd name="connsiteY59" fmla="*/ 1573782 h 2286441"/>
              <a:gd name="connsiteX60" fmla="*/ 895535 w 3892734"/>
              <a:gd name="connsiteY60" fmla="*/ 1609913 h 2286441"/>
              <a:gd name="connsiteX61" fmla="*/ 781234 w 3892734"/>
              <a:gd name="connsiteY61" fmla="*/ 1591782 h 2286441"/>
              <a:gd name="connsiteX62" fmla="*/ 538346 w 3892734"/>
              <a:gd name="connsiteY62" fmla="*/ 1642309 h 2286441"/>
              <a:gd name="connsiteX63" fmla="*/ 397059 w 3892734"/>
              <a:gd name="connsiteY63" fmla="*/ 1620170 h 2286441"/>
              <a:gd name="connsiteX64" fmla="*/ 12884 w 3892734"/>
              <a:gd name="connsiteY64" fmla="*/ 1221921 h 2286441"/>
              <a:gd name="connsiteX65" fmla="*/ 184 w 3892734"/>
              <a:gd name="connsiteY65" fmla="*/ 0 h 2286441"/>
              <a:gd name="connsiteX0" fmla="*/ 184 w 3892734"/>
              <a:gd name="connsiteY0" fmla="*/ 0 h 2286441"/>
              <a:gd name="connsiteX1" fmla="*/ 266884 w 3892734"/>
              <a:gd name="connsiteY1" fmla="*/ 1162050 h 2286441"/>
              <a:gd name="connsiteX2" fmla="*/ 322447 w 3892734"/>
              <a:gd name="connsiteY2" fmla="*/ 1258421 h 2286441"/>
              <a:gd name="connsiteX3" fmla="*/ 376422 w 3892734"/>
              <a:gd name="connsiteY3" fmla="*/ 1353535 h 2286441"/>
              <a:gd name="connsiteX4" fmla="*/ 412934 w 3892734"/>
              <a:gd name="connsiteY4" fmla="*/ 1314450 h 2286441"/>
              <a:gd name="connsiteX5" fmla="*/ 514534 w 3892734"/>
              <a:gd name="connsiteY5" fmla="*/ 996950 h 2286441"/>
              <a:gd name="connsiteX6" fmla="*/ 584384 w 3892734"/>
              <a:gd name="connsiteY6" fmla="*/ 641350 h 2286441"/>
              <a:gd name="connsiteX7" fmla="*/ 641534 w 3892734"/>
              <a:gd name="connsiteY7" fmla="*/ 444500 h 2286441"/>
              <a:gd name="connsiteX8" fmla="*/ 692334 w 3892734"/>
              <a:gd name="connsiteY8" fmla="*/ 330200 h 2286441"/>
              <a:gd name="connsiteX9" fmla="*/ 724084 w 3892734"/>
              <a:gd name="connsiteY9" fmla="*/ 279400 h 2286441"/>
              <a:gd name="connsiteX10" fmla="*/ 806634 w 3892734"/>
              <a:gd name="connsiteY10" fmla="*/ 334581 h 2286441"/>
              <a:gd name="connsiteX11" fmla="*/ 941571 w 3892734"/>
              <a:gd name="connsiteY11" fmla="*/ 603691 h 2286441"/>
              <a:gd name="connsiteX12" fmla="*/ 992372 w 3892734"/>
              <a:gd name="connsiteY12" fmla="*/ 744240 h 2286441"/>
              <a:gd name="connsiteX13" fmla="*/ 1093972 w 3892734"/>
              <a:gd name="connsiteY13" fmla="*/ 842884 h 2286441"/>
              <a:gd name="connsiteX14" fmla="*/ 1198746 w 3892734"/>
              <a:gd name="connsiteY14" fmla="*/ 780371 h 2286441"/>
              <a:gd name="connsiteX15" fmla="*/ 1297171 w 3892734"/>
              <a:gd name="connsiteY15" fmla="*/ 635305 h 2286441"/>
              <a:gd name="connsiteX16" fmla="*/ 1400358 w 3892734"/>
              <a:gd name="connsiteY16" fmla="*/ 547695 h 2286441"/>
              <a:gd name="connsiteX17" fmla="*/ 1486084 w 3892734"/>
              <a:gd name="connsiteY17" fmla="*/ 564606 h 2286441"/>
              <a:gd name="connsiteX18" fmla="*/ 1565459 w 3892734"/>
              <a:gd name="connsiteY18" fmla="*/ 681148 h 2286441"/>
              <a:gd name="connsiteX19" fmla="*/ 1771834 w 3892734"/>
              <a:gd name="connsiteY19" fmla="*/ 1080350 h 2286441"/>
              <a:gd name="connsiteX20" fmla="*/ 1892483 w 3892734"/>
              <a:gd name="connsiteY20" fmla="*/ 1258014 h 2286441"/>
              <a:gd name="connsiteX21" fmla="*/ 2073460 w 3892734"/>
              <a:gd name="connsiteY21" fmla="*/ 1552828 h 2286441"/>
              <a:gd name="connsiteX22" fmla="*/ 2281422 w 3892734"/>
              <a:gd name="connsiteY22" fmla="*/ 1299781 h 2286441"/>
              <a:gd name="connsiteX23" fmla="*/ 2235384 w 3892734"/>
              <a:gd name="connsiteY23" fmla="*/ 1168400 h 2286441"/>
              <a:gd name="connsiteX24" fmla="*/ 2292534 w 3892734"/>
              <a:gd name="connsiteY24" fmla="*/ 1016000 h 2286441"/>
              <a:gd name="connsiteX25" fmla="*/ 2368734 w 3892734"/>
              <a:gd name="connsiteY25" fmla="*/ 876300 h 2286441"/>
              <a:gd name="connsiteX26" fmla="*/ 2425884 w 3892734"/>
              <a:gd name="connsiteY26" fmla="*/ 787400 h 2286441"/>
              <a:gd name="connsiteX27" fmla="*/ 2476684 w 3892734"/>
              <a:gd name="connsiteY27" fmla="*/ 749300 h 2286441"/>
              <a:gd name="connsiteX28" fmla="*/ 2546534 w 3892734"/>
              <a:gd name="connsiteY28" fmla="*/ 736600 h 2286441"/>
              <a:gd name="connsiteX29" fmla="*/ 2654484 w 3892734"/>
              <a:gd name="connsiteY29" fmla="*/ 781050 h 2286441"/>
              <a:gd name="connsiteX30" fmla="*/ 2756084 w 3892734"/>
              <a:gd name="connsiteY30" fmla="*/ 838200 h 2286441"/>
              <a:gd name="connsiteX31" fmla="*/ 2851334 w 3892734"/>
              <a:gd name="connsiteY31" fmla="*/ 901700 h 2286441"/>
              <a:gd name="connsiteX32" fmla="*/ 2997384 w 3892734"/>
              <a:gd name="connsiteY32" fmla="*/ 920750 h 2286441"/>
              <a:gd name="connsiteX33" fmla="*/ 3175184 w 3892734"/>
              <a:gd name="connsiteY33" fmla="*/ 895350 h 2286441"/>
              <a:gd name="connsiteX34" fmla="*/ 3295834 w 3892734"/>
              <a:gd name="connsiteY34" fmla="*/ 774700 h 2286441"/>
              <a:gd name="connsiteX35" fmla="*/ 3391084 w 3892734"/>
              <a:gd name="connsiteY35" fmla="*/ 628650 h 2286441"/>
              <a:gd name="connsiteX36" fmla="*/ 3486334 w 3892734"/>
              <a:gd name="connsiteY36" fmla="*/ 495300 h 2286441"/>
              <a:gd name="connsiteX37" fmla="*/ 3594284 w 3892734"/>
              <a:gd name="connsiteY37" fmla="*/ 412750 h 2286441"/>
              <a:gd name="connsiteX38" fmla="*/ 3714934 w 3892734"/>
              <a:gd name="connsiteY38" fmla="*/ 406400 h 2286441"/>
              <a:gd name="connsiteX39" fmla="*/ 3892734 w 3892734"/>
              <a:gd name="connsiteY39" fmla="*/ 412750 h 2286441"/>
              <a:gd name="connsiteX40" fmla="*/ 3892734 w 3892734"/>
              <a:gd name="connsiteY40" fmla="*/ 755650 h 2286441"/>
              <a:gd name="connsiteX41" fmla="*/ 3708584 w 3892734"/>
              <a:gd name="connsiteY41" fmla="*/ 958850 h 2286441"/>
              <a:gd name="connsiteX42" fmla="*/ 3611747 w 3892734"/>
              <a:gd name="connsiteY42" fmla="*/ 1039839 h 2286441"/>
              <a:gd name="connsiteX43" fmla="*/ 3479984 w 3892734"/>
              <a:gd name="connsiteY43" fmla="*/ 1124086 h 2286441"/>
              <a:gd name="connsiteX44" fmla="*/ 3340284 w 3892734"/>
              <a:gd name="connsiteY44" fmla="*/ 1155700 h 2286441"/>
              <a:gd name="connsiteX45" fmla="*/ 3219634 w 3892734"/>
              <a:gd name="connsiteY45" fmla="*/ 1181100 h 2286441"/>
              <a:gd name="connsiteX46" fmla="*/ 3135496 w 3892734"/>
              <a:gd name="connsiteY46" fmla="*/ 1299916 h 2286441"/>
              <a:gd name="connsiteX47" fmla="*/ 2991034 w 3892734"/>
              <a:gd name="connsiteY47" fmla="*/ 1601049 h 2286441"/>
              <a:gd name="connsiteX48" fmla="*/ 2846571 w 3892734"/>
              <a:gd name="connsiteY48" fmla="*/ 1861399 h 2286441"/>
              <a:gd name="connsiteX49" fmla="*/ 2667184 w 3892734"/>
              <a:gd name="connsiteY49" fmla="*/ 2145316 h 2286441"/>
              <a:gd name="connsiteX50" fmla="*/ 2587809 w 3892734"/>
              <a:gd name="connsiteY50" fmla="*/ 2206268 h 2286441"/>
              <a:gd name="connsiteX51" fmla="*/ 2484621 w 3892734"/>
              <a:gd name="connsiteY51" fmla="*/ 2281349 h 2286441"/>
              <a:gd name="connsiteX52" fmla="*/ 2248084 w 3892734"/>
              <a:gd name="connsiteY52" fmla="*/ 2286441 h 2286441"/>
              <a:gd name="connsiteX53" fmla="*/ 2036946 w 3892734"/>
              <a:gd name="connsiteY53" fmla="*/ 2106231 h 2286441"/>
              <a:gd name="connsiteX54" fmla="*/ 1908359 w 3892734"/>
              <a:gd name="connsiteY54" fmla="*/ 1872537 h 2286441"/>
              <a:gd name="connsiteX55" fmla="*/ 1832158 w 3892734"/>
              <a:gd name="connsiteY55" fmla="*/ 1747371 h 2286441"/>
              <a:gd name="connsiteX56" fmla="*/ 1719447 w 3892734"/>
              <a:gd name="connsiteY56" fmla="*/ 1606380 h 2286441"/>
              <a:gd name="connsiteX57" fmla="*/ 1578160 w 3892734"/>
              <a:gd name="connsiteY57" fmla="*/ 1426137 h 2286441"/>
              <a:gd name="connsiteX58" fmla="*/ 1433697 w 3892734"/>
              <a:gd name="connsiteY58" fmla="*/ 1317171 h 2286441"/>
              <a:gd name="connsiteX59" fmla="*/ 1101909 w 3892734"/>
              <a:gd name="connsiteY59" fmla="*/ 1573782 h 2286441"/>
              <a:gd name="connsiteX60" fmla="*/ 895535 w 3892734"/>
              <a:gd name="connsiteY60" fmla="*/ 1609913 h 2286441"/>
              <a:gd name="connsiteX61" fmla="*/ 781234 w 3892734"/>
              <a:gd name="connsiteY61" fmla="*/ 1591782 h 2286441"/>
              <a:gd name="connsiteX62" fmla="*/ 538346 w 3892734"/>
              <a:gd name="connsiteY62" fmla="*/ 1642309 h 2286441"/>
              <a:gd name="connsiteX63" fmla="*/ 397059 w 3892734"/>
              <a:gd name="connsiteY63" fmla="*/ 1620170 h 2286441"/>
              <a:gd name="connsiteX64" fmla="*/ 12884 w 3892734"/>
              <a:gd name="connsiteY64" fmla="*/ 1221921 h 2286441"/>
              <a:gd name="connsiteX65" fmla="*/ 184 w 3892734"/>
              <a:gd name="connsiteY65" fmla="*/ 0 h 2286441"/>
              <a:gd name="connsiteX0" fmla="*/ 184 w 3892734"/>
              <a:gd name="connsiteY0" fmla="*/ 0 h 2286441"/>
              <a:gd name="connsiteX1" fmla="*/ 266884 w 3892734"/>
              <a:gd name="connsiteY1" fmla="*/ 1162050 h 2286441"/>
              <a:gd name="connsiteX2" fmla="*/ 322447 w 3892734"/>
              <a:gd name="connsiteY2" fmla="*/ 1258421 h 2286441"/>
              <a:gd name="connsiteX3" fmla="*/ 376422 w 3892734"/>
              <a:gd name="connsiteY3" fmla="*/ 1353535 h 2286441"/>
              <a:gd name="connsiteX4" fmla="*/ 412934 w 3892734"/>
              <a:gd name="connsiteY4" fmla="*/ 1314450 h 2286441"/>
              <a:gd name="connsiteX5" fmla="*/ 514534 w 3892734"/>
              <a:gd name="connsiteY5" fmla="*/ 996950 h 2286441"/>
              <a:gd name="connsiteX6" fmla="*/ 584384 w 3892734"/>
              <a:gd name="connsiteY6" fmla="*/ 641350 h 2286441"/>
              <a:gd name="connsiteX7" fmla="*/ 641534 w 3892734"/>
              <a:gd name="connsiteY7" fmla="*/ 444500 h 2286441"/>
              <a:gd name="connsiteX8" fmla="*/ 692334 w 3892734"/>
              <a:gd name="connsiteY8" fmla="*/ 330200 h 2286441"/>
              <a:gd name="connsiteX9" fmla="*/ 724084 w 3892734"/>
              <a:gd name="connsiteY9" fmla="*/ 279400 h 2286441"/>
              <a:gd name="connsiteX10" fmla="*/ 806634 w 3892734"/>
              <a:gd name="connsiteY10" fmla="*/ 334581 h 2286441"/>
              <a:gd name="connsiteX11" fmla="*/ 941571 w 3892734"/>
              <a:gd name="connsiteY11" fmla="*/ 603691 h 2286441"/>
              <a:gd name="connsiteX12" fmla="*/ 992372 w 3892734"/>
              <a:gd name="connsiteY12" fmla="*/ 744240 h 2286441"/>
              <a:gd name="connsiteX13" fmla="*/ 1093972 w 3892734"/>
              <a:gd name="connsiteY13" fmla="*/ 842884 h 2286441"/>
              <a:gd name="connsiteX14" fmla="*/ 1198746 w 3892734"/>
              <a:gd name="connsiteY14" fmla="*/ 780371 h 2286441"/>
              <a:gd name="connsiteX15" fmla="*/ 1297171 w 3892734"/>
              <a:gd name="connsiteY15" fmla="*/ 635305 h 2286441"/>
              <a:gd name="connsiteX16" fmla="*/ 1400358 w 3892734"/>
              <a:gd name="connsiteY16" fmla="*/ 547695 h 2286441"/>
              <a:gd name="connsiteX17" fmla="*/ 1486084 w 3892734"/>
              <a:gd name="connsiteY17" fmla="*/ 564606 h 2286441"/>
              <a:gd name="connsiteX18" fmla="*/ 1565459 w 3892734"/>
              <a:gd name="connsiteY18" fmla="*/ 681148 h 2286441"/>
              <a:gd name="connsiteX19" fmla="*/ 1771834 w 3892734"/>
              <a:gd name="connsiteY19" fmla="*/ 1080350 h 2286441"/>
              <a:gd name="connsiteX20" fmla="*/ 1892483 w 3892734"/>
              <a:gd name="connsiteY20" fmla="*/ 1258014 h 2286441"/>
              <a:gd name="connsiteX21" fmla="*/ 2082985 w 3892734"/>
              <a:gd name="connsiteY21" fmla="*/ 1530247 h 2286441"/>
              <a:gd name="connsiteX22" fmla="*/ 2281422 w 3892734"/>
              <a:gd name="connsiteY22" fmla="*/ 1299781 h 2286441"/>
              <a:gd name="connsiteX23" fmla="*/ 2235384 w 3892734"/>
              <a:gd name="connsiteY23" fmla="*/ 1168400 h 2286441"/>
              <a:gd name="connsiteX24" fmla="*/ 2292534 w 3892734"/>
              <a:gd name="connsiteY24" fmla="*/ 1016000 h 2286441"/>
              <a:gd name="connsiteX25" fmla="*/ 2368734 w 3892734"/>
              <a:gd name="connsiteY25" fmla="*/ 876300 h 2286441"/>
              <a:gd name="connsiteX26" fmla="*/ 2425884 w 3892734"/>
              <a:gd name="connsiteY26" fmla="*/ 787400 h 2286441"/>
              <a:gd name="connsiteX27" fmla="*/ 2476684 w 3892734"/>
              <a:gd name="connsiteY27" fmla="*/ 749300 h 2286441"/>
              <a:gd name="connsiteX28" fmla="*/ 2546534 w 3892734"/>
              <a:gd name="connsiteY28" fmla="*/ 736600 h 2286441"/>
              <a:gd name="connsiteX29" fmla="*/ 2654484 w 3892734"/>
              <a:gd name="connsiteY29" fmla="*/ 781050 h 2286441"/>
              <a:gd name="connsiteX30" fmla="*/ 2756084 w 3892734"/>
              <a:gd name="connsiteY30" fmla="*/ 838200 h 2286441"/>
              <a:gd name="connsiteX31" fmla="*/ 2851334 w 3892734"/>
              <a:gd name="connsiteY31" fmla="*/ 901700 h 2286441"/>
              <a:gd name="connsiteX32" fmla="*/ 2997384 w 3892734"/>
              <a:gd name="connsiteY32" fmla="*/ 920750 h 2286441"/>
              <a:gd name="connsiteX33" fmla="*/ 3175184 w 3892734"/>
              <a:gd name="connsiteY33" fmla="*/ 895350 h 2286441"/>
              <a:gd name="connsiteX34" fmla="*/ 3295834 w 3892734"/>
              <a:gd name="connsiteY34" fmla="*/ 774700 h 2286441"/>
              <a:gd name="connsiteX35" fmla="*/ 3391084 w 3892734"/>
              <a:gd name="connsiteY35" fmla="*/ 628650 h 2286441"/>
              <a:gd name="connsiteX36" fmla="*/ 3486334 w 3892734"/>
              <a:gd name="connsiteY36" fmla="*/ 495300 h 2286441"/>
              <a:gd name="connsiteX37" fmla="*/ 3594284 w 3892734"/>
              <a:gd name="connsiteY37" fmla="*/ 412750 h 2286441"/>
              <a:gd name="connsiteX38" fmla="*/ 3714934 w 3892734"/>
              <a:gd name="connsiteY38" fmla="*/ 406400 h 2286441"/>
              <a:gd name="connsiteX39" fmla="*/ 3892734 w 3892734"/>
              <a:gd name="connsiteY39" fmla="*/ 412750 h 2286441"/>
              <a:gd name="connsiteX40" fmla="*/ 3892734 w 3892734"/>
              <a:gd name="connsiteY40" fmla="*/ 755650 h 2286441"/>
              <a:gd name="connsiteX41" fmla="*/ 3708584 w 3892734"/>
              <a:gd name="connsiteY41" fmla="*/ 958850 h 2286441"/>
              <a:gd name="connsiteX42" fmla="*/ 3611747 w 3892734"/>
              <a:gd name="connsiteY42" fmla="*/ 1039839 h 2286441"/>
              <a:gd name="connsiteX43" fmla="*/ 3479984 w 3892734"/>
              <a:gd name="connsiteY43" fmla="*/ 1124086 h 2286441"/>
              <a:gd name="connsiteX44" fmla="*/ 3340284 w 3892734"/>
              <a:gd name="connsiteY44" fmla="*/ 1155700 h 2286441"/>
              <a:gd name="connsiteX45" fmla="*/ 3219634 w 3892734"/>
              <a:gd name="connsiteY45" fmla="*/ 1181100 h 2286441"/>
              <a:gd name="connsiteX46" fmla="*/ 3135496 w 3892734"/>
              <a:gd name="connsiteY46" fmla="*/ 1299916 h 2286441"/>
              <a:gd name="connsiteX47" fmla="*/ 2991034 w 3892734"/>
              <a:gd name="connsiteY47" fmla="*/ 1601049 h 2286441"/>
              <a:gd name="connsiteX48" fmla="*/ 2846571 w 3892734"/>
              <a:gd name="connsiteY48" fmla="*/ 1861399 h 2286441"/>
              <a:gd name="connsiteX49" fmla="*/ 2667184 w 3892734"/>
              <a:gd name="connsiteY49" fmla="*/ 2145316 h 2286441"/>
              <a:gd name="connsiteX50" fmla="*/ 2587809 w 3892734"/>
              <a:gd name="connsiteY50" fmla="*/ 2206268 h 2286441"/>
              <a:gd name="connsiteX51" fmla="*/ 2484621 w 3892734"/>
              <a:gd name="connsiteY51" fmla="*/ 2281349 h 2286441"/>
              <a:gd name="connsiteX52" fmla="*/ 2248084 w 3892734"/>
              <a:gd name="connsiteY52" fmla="*/ 2286441 h 2286441"/>
              <a:gd name="connsiteX53" fmla="*/ 2036946 w 3892734"/>
              <a:gd name="connsiteY53" fmla="*/ 2106231 h 2286441"/>
              <a:gd name="connsiteX54" fmla="*/ 1908359 w 3892734"/>
              <a:gd name="connsiteY54" fmla="*/ 1872537 h 2286441"/>
              <a:gd name="connsiteX55" fmla="*/ 1832158 w 3892734"/>
              <a:gd name="connsiteY55" fmla="*/ 1747371 h 2286441"/>
              <a:gd name="connsiteX56" fmla="*/ 1719447 w 3892734"/>
              <a:gd name="connsiteY56" fmla="*/ 1606380 h 2286441"/>
              <a:gd name="connsiteX57" fmla="*/ 1578160 w 3892734"/>
              <a:gd name="connsiteY57" fmla="*/ 1426137 h 2286441"/>
              <a:gd name="connsiteX58" fmla="*/ 1433697 w 3892734"/>
              <a:gd name="connsiteY58" fmla="*/ 1317171 h 2286441"/>
              <a:gd name="connsiteX59" fmla="*/ 1101909 w 3892734"/>
              <a:gd name="connsiteY59" fmla="*/ 1573782 h 2286441"/>
              <a:gd name="connsiteX60" fmla="*/ 895535 w 3892734"/>
              <a:gd name="connsiteY60" fmla="*/ 1609913 h 2286441"/>
              <a:gd name="connsiteX61" fmla="*/ 781234 w 3892734"/>
              <a:gd name="connsiteY61" fmla="*/ 1591782 h 2286441"/>
              <a:gd name="connsiteX62" fmla="*/ 538346 w 3892734"/>
              <a:gd name="connsiteY62" fmla="*/ 1642309 h 2286441"/>
              <a:gd name="connsiteX63" fmla="*/ 397059 w 3892734"/>
              <a:gd name="connsiteY63" fmla="*/ 1620170 h 2286441"/>
              <a:gd name="connsiteX64" fmla="*/ 12884 w 3892734"/>
              <a:gd name="connsiteY64" fmla="*/ 1221921 h 2286441"/>
              <a:gd name="connsiteX65" fmla="*/ 184 w 3892734"/>
              <a:gd name="connsiteY65" fmla="*/ 0 h 2286441"/>
              <a:gd name="connsiteX0" fmla="*/ 184 w 3892734"/>
              <a:gd name="connsiteY0" fmla="*/ 0 h 2286441"/>
              <a:gd name="connsiteX1" fmla="*/ 266884 w 3892734"/>
              <a:gd name="connsiteY1" fmla="*/ 1162050 h 2286441"/>
              <a:gd name="connsiteX2" fmla="*/ 322447 w 3892734"/>
              <a:gd name="connsiteY2" fmla="*/ 1258421 h 2286441"/>
              <a:gd name="connsiteX3" fmla="*/ 376422 w 3892734"/>
              <a:gd name="connsiteY3" fmla="*/ 1353535 h 2286441"/>
              <a:gd name="connsiteX4" fmla="*/ 412934 w 3892734"/>
              <a:gd name="connsiteY4" fmla="*/ 1314450 h 2286441"/>
              <a:gd name="connsiteX5" fmla="*/ 514534 w 3892734"/>
              <a:gd name="connsiteY5" fmla="*/ 996950 h 2286441"/>
              <a:gd name="connsiteX6" fmla="*/ 584384 w 3892734"/>
              <a:gd name="connsiteY6" fmla="*/ 641350 h 2286441"/>
              <a:gd name="connsiteX7" fmla="*/ 641534 w 3892734"/>
              <a:gd name="connsiteY7" fmla="*/ 444500 h 2286441"/>
              <a:gd name="connsiteX8" fmla="*/ 692334 w 3892734"/>
              <a:gd name="connsiteY8" fmla="*/ 330200 h 2286441"/>
              <a:gd name="connsiteX9" fmla="*/ 724084 w 3892734"/>
              <a:gd name="connsiteY9" fmla="*/ 279400 h 2286441"/>
              <a:gd name="connsiteX10" fmla="*/ 806634 w 3892734"/>
              <a:gd name="connsiteY10" fmla="*/ 334581 h 2286441"/>
              <a:gd name="connsiteX11" fmla="*/ 941571 w 3892734"/>
              <a:gd name="connsiteY11" fmla="*/ 603691 h 2286441"/>
              <a:gd name="connsiteX12" fmla="*/ 992372 w 3892734"/>
              <a:gd name="connsiteY12" fmla="*/ 744240 h 2286441"/>
              <a:gd name="connsiteX13" fmla="*/ 1093972 w 3892734"/>
              <a:gd name="connsiteY13" fmla="*/ 842884 h 2286441"/>
              <a:gd name="connsiteX14" fmla="*/ 1198746 w 3892734"/>
              <a:gd name="connsiteY14" fmla="*/ 780371 h 2286441"/>
              <a:gd name="connsiteX15" fmla="*/ 1297171 w 3892734"/>
              <a:gd name="connsiteY15" fmla="*/ 635305 h 2286441"/>
              <a:gd name="connsiteX16" fmla="*/ 1400358 w 3892734"/>
              <a:gd name="connsiteY16" fmla="*/ 547695 h 2286441"/>
              <a:gd name="connsiteX17" fmla="*/ 1486084 w 3892734"/>
              <a:gd name="connsiteY17" fmla="*/ 564606 h 2286441"/>
              <a:gd name="connsiteX18" fmla="*/ 1565459 w 3892734"/>
              <a:gd name="connsiteY18" fmla="*/ 681148 h 2286441"/>
              <a:gd name="connsiteX19" fmla="*/ 1771834 w 3892734"/>
              <a:gd name="connsiteY19" fmla="*/ 1080350 h 2286441"/>
              <a:gd name="connsiteX20" fmla="*/ 1892483 w 3892734"/>
              <a:gd name="connsiteY20" fmla="*/ 1258014 h 2286441"/>
              <a:gd name="connsiteX21" fmla="*/ 2082985 w 3892734"/>
              <a:gd name="connsiteY21" fmla="*/ 1530247 h 2286441"/>
              <a:gd name="connsiteX22" fmla="*/ 2281422 w 3892734"/>
              <a:gd name="connsiteY22" fmla="*/ 1299781 h 2286441"/>
              <a:gd name="connsiteX23" fmla="*/ 2373497 w 3892734"/>
              <a:gd name="connsiteY23" fmla="*/ 1163884 h 2286441"/>
              <a:gd name="connsiteX24" fmla="*/ 2292534 w 3892734"/>
              <a:gd name="connsiteY24" fmla="*/ 1016000 h 2286441"/>
              <a:gd name="connsiteX25" fmla="*/ 2368734 w 3892734"/>
              <a:gd name="connsiteY25" fmla="*/ 876300 h 2286441"/>
              <a:gd name="connsiteX26" fmla="*/ 2425884 w 3892734"/>
              <a:gd name="connsiteY26" fmla="*/ 787400 h 2286441"/>
              <a:gd name="connsiteX27" fmla="*/ 2476684 w 3892734"/>
              <a:gd name="connsiteY27" fmla="*/ 749300 h 2286441"/>
              <a:gd name="connsiteX28" fmla="*/ 2546534 w 3892734"/>
              <a:gd name="connsiteY28" fmla="*/ 736600 h 2286441"/>
              <a:gd name="connsiteX29" fmla="*/ 2654484 w 3892734"/>
              <a:gd name="connsiteY29" fmla="*/ 781050 h 2286441"/>
              <a:gd name="connsiteX30" fmla="*/ 2756084 w 3892734"/>
              <a:gd name="connsiteY30" fmla="*/ 838200 h 2286441"/>
              <a:gd name="connsiteX31" fmla="*/ 2851334 w 3892734"/>
              <a:gd name="connsiteY31" fmla="*/ 901700 h 2286441"/>
              <a:gd name="connsiteX32" fmla="*/ 2997384 w 3892734"/>
              <a:gd name="connsiteY32" fmla="*/ 920750 h 2286441"/>
              <a:gd name="connsiteX33" fmla="*/ 3175184 w 3892734"/>
              <a:gd name="connsiteY33" fmla="*/ 895350 h 2286441"/>
              <a:gd name="connsiteX34" fmla="*/ 3295834 w 3892734"/>
              <a:gd name="connsiteY34" fmla="*/ 774700 h 2286441"/>
              <a:gd name="connsiteX35" fmla="*/ 3391084 w 3892734"/>
              <a:gd name="connsiteY35" fmla="*/ 628650 h 2286441"/>
              <a:gd name="connsiteX36" fmla="*/ 3486334 w 3892734"/>
              <a:gd name="connsiteY36" fmla="*/ 495300 h 2286441"/>
              <a:gd name="connsiteX37" fmla="*/ 3594284 w 3892734"/>
              <a:gd name="connsiteY37" fmla="*/ 412750 h 2286441"/>
              <a:gd name="connsiteX38" fmla="*/ 3714934 w 3892734"/>
              <a:gd name="connsiteY38" fmla="*/ 406400 h 2286441"/>
              <a:gd name="connsiteX39" fmla="*/ 3892734 w 3892734"/>
              <a:gd name="connsiteY39" fmla="*/ 412750 h 2286441"/>
              <a:gd name="connsiteX40" fmla="*/ 3892734 w 3892734"/>
              <a:gd name="connsiteY40" fmla="*/ 755650 h 2286441"/>
              <a:gd name="connsiteX41" fmla="*/ 3708584 w 3892734"/>
              <a:gd name="connsiteY41" fmla="*/ 958850 h 2286441"/>
              <a:gd name="connsiteX42" fmla="*/ 3611747 w 3892734"/>
              <a:gd name="connsiteY42" fmla="*/ 1039839 h 2286441"/>
              <a:gd name="connsiteX43" fmla="*/ 3479984 w 3892734"/>
              <a:gd name="connsiteY43" fmla="*/ 1124086 h 2286441"/>
              <a:gd name="connsiteX44" fmla="*/ 3340284 w 3892734"/>
              <a:gd name="connsiteY44" fmla="*/ 1155700 h 2286441"/>
              <a:gd name="connsiteX45" fmla="*/ 3219634 w 3892734"/>
              <a:gd name="connsiteY45" fmla="*/ 1181100 h 2286441"/>
              <a:gd name="connsiteX46" fmla="*/ 3135496 w 3892734"/>
              <a:gd name="connsiteY46" fmla="*/ 1299916 h 2286441"/>
              <a:gd name="connsiteX47" fmla="*/ 2991034 w 3892734"/>
              <a:gd name="connsiteY47" fmla="*/ 1601049 h 2286441"/>
              <a:gd name="connsiteX48" fmla="*/ 2846571 w 3892734"/>
              <a:gd name="connsiteY48" fmla="*/ 1861399 h 2286441"/>
              <a:gd name="connsiteX49" fmla="*/ 2667184 w 3892734"/>
              <a:gd name="connsiteY49" fmla="*/ 2145316 h 2286441"/>
              <a:gd name="connsiteX50" fmla="*/ 2587809 w 3892734"/>
              <a:gd name="connsiteY50" fmla="*/ 2206268 h 2286441"/>
              <a:gd name="connsiteX51" fmla="*/ 2484621 w 3892734"/>
              <a:gd name="connsiteY51" fmla="*/ 2281349 h 2286441"/>
              <a:gd name="connsiteX52" fmla="*/ 2248084 w 3892734"/>
              <a:gd name="connsiteY52" fmla="*/ 2286441 h 2286441"/>
              <a:gd name="connsiteX53" fmla="*/ 2036946 w 3892734"/>
              <a:gd name="connsiteY53" fmla="*/ 2106231 h 2286441"/>
              <a:gd name="connsiteX54" fmla="*/ 1908359 w 3892734"/>
              <a:gd name="connsiteY54" fmla="*/ 1872537 h 2286441"/>
              <a:gd name="connsiteX55" fmla="*/ 1832158 w 3892734"/>
              <a:gd name="connsiteY55" fmla="*/ 1747371 h 2286441"/>
              <a:gd name="connsiteX56" fmla="*/ 1719447 w 3892734"/>
              <a:gd name="connsiteY56" fmla="*/ 1606380 h 2286441"/>
              <a:gd name="connsiteX57" fmla="*/ 1578160 w 3892734"/>
              <a:gd name="connsiteY57" fmla="*/ 1426137 h 2286441"/>
              <a:gd name="connsiteX58" fmla="*/ 1433697 w 3892734"/>
              <a:gd name="connsiteY58" fmla="*/ 1317171 h 2286441"/>
              <a:gd name="connsiteX59" fmla="*/ 1101909 w 3892734"/>
              <a:gd name="connsiteY59" fmla="*/ 1573782 h 2286441"/>
              <a:gd name="connsiteX60" fmla="*/ 895535 w 3892734"/>
              <a:gd name="connsiteY60" fmla="*/ 1609913 h 2286441"/>
              <a:gd name="connsiteX61" fmla="*/ 781234 w 3892734"/>
              <a:gd name="connsiteY61" fmla="*/ 1591782 h 2286441"/>
              <a:gd name="connsiteX62" fmla="*/ 538346 w 3892734"/>
              <a:gd name="connsiteY62" fmla="*/ 1642309 h 2286441"/>
              <a:gd name="connsiteX63" fmla="*/ 397059 w 3892734"/>
              <a:gd name="connsiteY63" fmla="*/ 1620170 h 2286441"/>
              <a:gd name="connsiteX64" fmla="*/ 12884 w 3892734"/>
              <a:gd name="connsiteY64" fmla="*/ 1221921 h 2286441"/>
              <a:gd name="connsiteX65" fmla="*/ 184 w 3892734"/>
              <a:gd name="connsiteY65" fmla="*/ 0 h 2286441"/>
              <a:gd name="connsiteX0" fmla="*/ 184 w 3892734"/>
              <a:gd name="connsiteY0" fmla="*/ 0 h 2286441"/>
              <a:gd name="connsiteX1" fmla="*/ 266884 w 3892734"/>
              <a:gd name="connsiteY1" fmla="*/ 1162050 h 2286441"/>
              <a:gd name="connsiteX2" fmla="*/ 322447 w 3892734"/>
              <a:gd name="connsiteY2" fmla="*/ 1258421 h 2286441"/>
              <a:gd name="connsiteX3" fmla="*/ 376422 w 3892734"/>
              <a:gd name="connsiteY3" fmla="*/ 1353535 h 2286441"/>
              <a:gd name="connsiteX4" fmla="*/ 412934 w 3892734"/>
              <a:gd name="connsiteY4" fmla="*/ 1314450 h 2286441"/>
              <a:gd name="connsiteX5" fmla="*/ 514534 w 3892734"/>
              <a:gd name="connsiteY5" fmla="*/ 996950 h 2286441"/>
              <a:gd name="connsiteX6" fmla="*/ 584384 w 3892734"/>
              <a:gd name="connsiteY6" fmla="*/ 641350 h 2286441"/>
              <a:gd name="connsiteX7" fmla="*/ 641534 w 3892734"/>
              <a:gd name="connsiteY7" fmla="*/ 444500 h 2286441"/>
              <a:gd name="connsiteX8" fmla="*/ 692334 w 3892734"/>
              <a:gd name="connsiteY8" fmla="*/ 330200 h 2286441"/>
              <a:gd name="connsiteX9" fmla="*/ 724084 w 3892734"/>
              <a:gd name="connsiteY9" fmla="*/ 279400 h 2286441"/>
              <a:gd name="connsiteX10" fmla="*/ 806634 w 3892734"/>
              <a:gd name="connsiteY10" fmla="*/ 334581 h 2286441"/>
              <a:gd name="connsiteX11" fmla="*/ 941571 w 3892734"/>
              <a:gd name="connsiteY11" fmla="*/ 603691 h 2286441"/>
              <a:gd name="connsiteX12" fmla="*/ 992372 w 3892734"/>
              <a:gd name="connsiteY12" fmla="*/ 744240 h 2286441"/>
              <a:gd name="connsiteX13" fmla="*/ 1093972 w 3892734"/>
              <a:gd name="connsiteY13" fmla="*/ 842884 h 2286441"/>
              <a:gd name="connsiteX14" fmla="*/ 1198746 w 3892734"/>
              <a:gd name="connsiteY14" fmla="*/ 780371 h 2286441"/>
              <a:gd name="connsiteX15" fmla="*/ 1297171 w 3892734"/>
              <a:gd name="connsiteY15" fmla="*/ 635305 h 2286441"/>
              <a:gd name="connsiteX16" fmla="*/ 1400358 w 3892734"/>
              <a:gd name="connsiteY16" fmla="*/ 547695 h 2286441"/>
              <a:gd name="connsiteX17" fmla="*/ 1486084 w 3892734"/>
              <a:gd name="connsiteY17" fmla="*/ 564606 h 2286441"/>
              <a:gd name="connsiteX18" fmla="*/ 1565459 w 3892734"/>
              <a:gd name="connsiteY18" fmla="*/ 681148 h 2286441"/>
              <a:gd name="connsiteX19" fmla="*/ 1771834 w 3892734"/>
              <a:gd name="connsiteY19" fmla="*/ 1080350 h 2286441"/>
              <a:gd name="connsiteX20" fmla="*/ 1892483 w 3892734"/>
              <a:gd name="connsiteY20" fmla="*/ 1258014 h 2286441"/>
              <a:gd name="connsiteX21" fmla="*/ 2082985 w 3892734"/>
              <a:gd name="connsiteY21" fmla="*/ 1530247 h 2286441"/>
              <a:gd name="connsiteX22" fmla="*/ 2281422 w 3892734"/>
              <a:gd name="connsiteY22" fmla="*/ 1299781 h 2286441"/>
              <a:gd name="connsiteX23" fmla="*/ 2349684 w 3892734"/>
              <a:gd name="connsiteY23" fmla="*/ 1150336 h 2286441"/>
              <a:gd name="connsiteX24" fmla="*/ 2292534 w 3892734"/>
              <a:gd name="connsiteY24" fmla="*/ 1016000 h 2286441"/>
              <a:gd name="connsiteX25" fmla="*/ 2368734 w 3892734"/>
              <a:gd name="connsiteY25" fmla="*/ 876300 h 2286441"/>
              <a:gd name="connsiteX26" fmla="*/ 2425884 w 3892734"/>
              <a:gd name="connsiteY26" fmla="*/ 787400 h 2286441"/>
              <a:gd name="connsiteX27" fmla="*/ 2476684 w 3892734"/>
              <a:gd name="connsiteY27" fmla="*/ 749300 h 2286441"/>
              <a:gd name="connsiteX28" fmla="*/ 2546534 w 3892734"/>
              <a:gd name="connsiteY28" fmla="*/ 736600 h 2286441"/>
              <a:gd name="connsiteX29" fmla="*/ 2654484 w 3892734"/>
              <a:gd name="connsiteY29" fmla="*/ 781050 h 2286441"/>
              <a:gd name="connsiteX30" fmla="*/ 2756084 w 3892734"/>
              <a:gd name="connsiteY30" fmla="*/ 838200 h 2286441"/>
              <a:gd name="connsiteX31" fmla="*/ 2851334 w 3892734"/>
              <a:gd name="connsiteY31" fmla="*/ 901700 h 2286441"/>
              <a:gd name="connsiteX32" fmla="*/ 2997384 w 3892734"/>
              <a:gd name="connsiteY32" fmla="*/ 920750 h 2286441"/>
              <a:gd name="connsiteX33" fmla="*/ 3175184 w 3892734"/>
              <a:gd name="connsiteY33" fmla="*/ 895350 h 2286441"/>
              <a:gd name="connsiteX34" fmla="*/ 3295834 w 3892734"/>
              <a:gd name="connsiteY34" fmla="*/ 774700 h 2286441"/>
              <a:gd name="connsiteX35" fmla="*/ 3391084 w 3892734"/>
              <a:gd name="connsiteY35" fmla="*/ 628650 h 2286441"/>
              <a:gd name="connsiteX36" fmla="*/ 3486334 w 3892734"/>
              <a:gd name="connsiteY36" fmla="*/ 495300 h 2286441"/>
              <a:gd name="connsiteX37" fmla="*/ 3594284 w 3892734"/>
              <a:gd name="connsiteY37" fmla="*/ 412750 h 2286441"/>
              <a:gd name="connsiteX38" fmla="*/ 3714934 w 3892734"/>
              <a:gd name="connsiteY38" fmla="*/ 406400 h 2286441"/>
              <a:gd name="connsiteX39" fmla="*/ 3892734 w 3892734"/>
              <a:gd name="connsiteY39" fmla="*/ 412750 h 2286441"/>
              <a:gd name="connsiteX40" fmla="*/ 3892734 w 3892734"/>
              <a:gd name="connsiteY40" fmla="*/ 755650 h 2286441"/>
              <a:gd name="connsiteX41" fmla="*/ 3708584 w 3892734"/>
              <a:gd name="connsiteY41" fmla="*/ 958850 h 2286441"/>
              <a:gd name="connsiteX42" fmla="*/ 3611747 w 3892734"/>
              <a:gd name="connsiteY42" fmla="*/ 1039839 h 2286441"/>
              <a:gd name="connsiteX43" fmla="*/ 3479984 w 3892734"/>
              <a:gd name="connsiteY43" fmla="*/ 1124086 h 2286441"/>
              <a:gd name="connsiteX44" fmla="*/ 3340284 w 3892734"/>
              <a:gd name="connsiteY44" fmla="*/ 1155700 h 2286441"/>
              <a:gd name="connsiteX45" fmla="*/ 3219634 w 3892734"/>
              <a:gd name="connsiteY45" fmla="*/ 1181100 h 2286441"/>
              <a:gd name="connsiteX46" fmla="*/ 3135496 w 3892734"/>
              <a:gd name="connsiteY46" fmla="*/ 1299916 h 2286441"/>
              <a:gd name="connsiteX47" fmla="*/ 2991034 w 3892734"/>
              <a:gd name="connsiteY47" fmla="*/ 1601049 h 2286441"/>
              <a:gd name="connsiteX48" fmla="*/ 2846571 w 3892734"/>
              <a:gd name="connsiteY48" fmla="*/ 1861399 h 2286441"/>
              <a:gd name="connsiteX49" fmla="*/ 2667184 w 3892734"/>
              <a:gd name="connsiteY49" fmla="*/ 2145316 h 2286441"/>
              <a:gd name="connsiteX50" fmla="*/ 2587809 w 3892734"/>
              <a:gd name="connsiteY50" fmla="*/ 2206268 h 2286441"/>
              <a:gd name="connsiteX51" fmla="*/ 2484621 w 3892734"/>
              <a:gd name="connsiteY51" fmla="*/ 2281349 h 2286441"/>
              <a:gd name="connsiteX52" fmla="*/ 2248084 w 3892734"/>
              <a:gd name="connsiteY52" fmla="*/ 2286441 h 2286441"/>
              <a:gd name="connsiteX53" fmla="*/ 2036946 w 3892734"/>
              <a:gd name="connsiteY53" fmla="*/ 2106231 h 2286441"/>
              <a:gd name="connsiteX54" fmla="*/ 1908359 w 3892734"/>
              <a:gd name="connsiteY54" fmla="*/ 1872537 h 2286441"/>
              <a:gd name="connsiteX55" fmla="*/ 1832158 w 3892734"/>
              <a:gd name="connsiteY55" fmla="*/ 1747371 h 2286441"/>
              <a:gd name="connsiteX56" fmla="*/ 1719447 w 3892734"/>
              <a:gd name="connsiteY56" fmla="*/ 1606380 h 2286441"/>
              <a:gd name="connsiteX57" fmla="*/ 1578160 w 3892734"/>
              <a:gd name="connsiteY57" fmla="*/ 1426137 h 2286441"/>
              <a:gd name="connsiteX58" fmla="*/ 1433697 w 3892734"/>
              <a:gd name="connsiteY58" fmla="*/ 1317171 h 2286441"/>
              <a:gd name="connsiteX59" fmla="*/ 1101909 w 3892734"/>
              <a:gd name="connsiteY59" fmla="*/ 1573782 h 2286441"/>
              <a:gd name="connsiteX60" fmla="*/ 895535 w 3892734"/>
              <a:gd name="connsiteY60" fmla="*/ 1609913 h 2286441"/>
              <a:gd name="connsiteX61" fmla="*/ 781234 w 3892734"/>
              <a:gd name="connsiteY61" fmla="*/ 1591782 h 2286441"/>
              <a:gd name="connsiteX62" fmla="*/ 538346 w 3892734"/>
              <a:gd name="connsiteY62" fmla="*/ 1642309 h 2286441"/>
              <a:gd name="connsiteX63" fmla="*/ 397059 w 3892734"/>
              <a:gd name="connsiteY63" fmla="*/ 1620170 h 2286441"/>
              <a:gd name="connsiteX64" fmla="*/ 12884 w 3892734"/>
              <a:gd name="connsiteY64" fmla="*/ 1221921 h 2286441"/>
              <a:gd name="connsiteX65" fmla="*/ 184 w 3892734"/>
              <a:gd name="connsiteY65" fmla="*/ 0 h 2286441"/>
              <a:gd name="connsiteX0" fmla="*/ 184 w 3892734"/>
              <a:gd name="connsiteY0" fmla="*/ 0 h 2286441"/>
              <a:gd name="connsiteX1" fmla="*/ 266884 w 3892734"/>
              <a:gd name="connsiteY1" fmla="*/ 1162050 h 2286441"/>
              <a:gd name="connsiteX2" fmla="*/ 322447 w 3892734"/>
              <a:gd name="connsiteY2" fmla="*/ 1258421 h 2286441"/>
              <a:gd name="connsiteX3" fmla="*/ 376422 w 3892734"/>
              <a:gd name="connsiteY3" fmla="*/ 1353535 h 2286441"/>
              <a:gd name="connsiteX4" fmla="*/ 412934 w 3892734"/>
              <a:gd name="connsiteY4" fmla="*/ 1314450 h 2286441"/>
              <a:gd name="connsiteX5" fmla="*/ 514534 w 3892734"/>
              <a:gd name="connsiteY5" fmla="*/ 996950 h 2286441"/>
              <a:gd name="connsiteX6" fmla="*/ 584384 w 3892734"/>
              <a:gd name="connsiteY6" fmla="*/ 641350 h 2286441"/>
              <a:gd name="connsiteX7" fmla="*/ 641534 w 3892734"/>
              <a:gd name="connsiteY7" fmla="*/ 444500 h 2286441"/>
              <a:gd name="connsiteX8" fmla="*/ 692334 w 3892734"/>
              <a:gd name="connsiteY8" fmla="*/ 330200 h 2286441"/>
              <a:gd name="connsiteX9" fmla="*/ 724084 w 3892734"/>
              <a:gd name="connsiteY9" fmla="*/ 279400 h 2286441"/>
              <a:gd name="connsiteX10" fmla="*/ 806634 w 3892734"/>
              <a:gd name="connsiteY10" fmla="*/ 334581 h 2286441"/>
              <a:gd name="connsiteX11" fmla="*/ 941571 w 3892734"/>
              <a:gd name="connsiteY11" fmla="*/ 603691 h 2286441"/>
              <a:gd name="connsiteX12" fmla="*/ 992372 w 3892734"/>
              <a:gd name="connsiteY12" fmla="*/ 744240 h 2286441"/>
              <a:gd name="connsiteX13" fmla="*/ 1093972 w 3892734"/>
              <a:gd name="connsiteY13" fmla="*/ 842884 h 2286441"/>
              <a:gd name="connsiteX14" fmla="*/ 1198746 w 3892734"/>
              <a:gd name="connsiteY14" fmla="*/ 780371 h 2286441"/>
              <a:gd name="connsiteX15" fmla="*/ 1297171 w 3892734"/>
              <a:gd name="connsiteY15" fmla="*/ 635305 h 2286441"/>
              <a:gd name="connsiteX16" fmla="*/ 1400358 w 3892734"/>
              <a:gd name="connsiteY16" fmla="*/ 547695 h 2286441"/>
              <a:gd name="connsiteX17" fmla="*/ 1486084 w 3892734"/>
              <a:gd name="connsiteY17" fmla="*/ 564606 h 2286441"/>
              <a:gd name="connsiteX18" fmla="*/ 1565459 w 3892734"/>
              <a:gd name="connsiteY18" fmla="*/ 681148 h 2286441"/>
              <a:gd name="connsiteX19" fmla="*/ 1771834 w 3892734"/>
              <a:gd name="connsiteY19" fmla="*/ 1080350 h 2286441"/>
              <a:gd name="connsiteX20" fmla="*/ 1892483 w 3892734"/>
              <a:gd name="connsiteY20" fmla="*/ 1258014 h 2286441"/>
              <a:gd name="connsiteX21" fmla="*/ 2082985 w 3892734"/>
              <a:gd name="connsiteY21" fmla="*/ 1530247 h 2286441"/>
              <a:gd name="connsiteX22" fmla="*/ 2281422 w 3892734"/>
              <a:gd name="connsiteY22" fmla="*/ 1299781 h 2286441"/>
              <a:gd name="connsiteX23" fmla="*/ 2349684 w 3892734"/>
              <a:gd name="connsiteY23" fmla="*/ 1150336 h 2286441"/>
              <a:gd name="connsiteX24" fmla="*/ 2368734 w 3892734"/>
              <a:gd name="connsiteY24" fmla="*/ 876300 h 2286441"/>
              <a:gd name="connsiteX25" fmla="*/ 2425884 w 3892734"/>
              <a:gd name="connsiteY25" fmla="*/ 787400 h 2286441"/>
              <a:gd name="connsiteX26" fmla="*/ 2476684 w 3892734"/>
              <a:gd name="connsiteY26" fmla="*/ 749300 h 2286441"/>
              <a:gd name="connsiteX27" fmla="*/ 2546534 w 3892734"/>
              <a:gd name="connsiteY27" fmla="*/ 736600 h 2286441"/>
              <a:gd name="connsiteX28" fmla="*/ 2654484 w 3892734"/>
              <a:gd name="connsiteY28" fmla="*/ 781050 h 2286441"/>
              <a:gd name="connsiteX29" fmla="*/ 2756084 w 3892734"/>
              <a:gd name="connsiteY29" fmla="*/ 838200 h 2286441"/>
              <a:gd name="connsiteX30" fmla="*/ 2851334 w 3892734"/>
              <a:gd name="connsiteY30" fmla="*/ 901700 h 2286441"/>
              <a:gd name="connsiteX31" fmla="*/ 2997384 w 3892734"/>
              <a:gd name="connsiteY31" fmla="*/ 920750 h 2286441"/>
              <a:gd name="connsiteX32" fmla="*/ 3175184 w 3892734"/>
              <a:gd name="connsiteY32" fmla="*/ 895350 h 2286441"/>
              <a:gd name="connsiteX33" fmla="*/ 3295834 w 3892734"/>
              <a:gd name="connsiteY33" fmla="*/ 774700 h 2286441"/>
              <a:gd name="connsiteX34" fmla="*/ 3391084 w 3892734"/>
              <a:gd name="connsiteY34" fmla="*/ 628650 h 2286441"/>
              <a:gd name="connsiteX35" fmla="*/ 3486334 w 3892734"/>
              <a:gd name="connsiteY35" fmla="*/ 495300 h 2286441"/>
              <a:gd name="connsiteX36" fmla="*/ 3594284 w 3892734"/>
              <a:gd name="connsiteY36" fmla="*/ 412750 h 2286441"/>
              <a:gd name="connsiteX37" fmla="*/ 3714934 w 3892734"/>
              <a:gd name="connsiteY37" fmla="*/ 406400 h 2286441"/>
              <a:gd name="connsiteX38" fmla="*/ 3892734 w 3892734"/>
              <a:gd name="connsiteY38" fmla="*/ 412750 h 2286441"/>
              <a:gd name="connsiteX39" fmla="*/ 3892734 w 3892734"/>
              <a:gd name="connsiteY39" fmla="*/ 755650 h 2286441"/>
              <a:gd name="connsiteX40" fmla="*/ 3708584 w 3892734"/>
              <a:gd name="connsiteY40" fmla="*/ 958850 h 2286441"/>
              <a:gd name="connsiteX41" fmla="*/ 3611747 w 3892734"/>
              <a:gd name="connsiteY41" fmla="*/ 1039839 h 2286441"/>
              <a:gd name="connsiteX42" fmla="*/ 3479984 w 3892734"/>
              <a:gd name="connsiteY42" fmla="*/ 1124086 h 2286441"/>
              <a:gd name="connsiteX43" fmla="*/ 3340284 w 3892734"/>
              <a:gd name="connsiteY43" fmla="*/ 1155700 h 2286441"/>
              <a:gd name="connsiteX44" fmla="*/ 3219634 w 3892734"/>
              <a:gd name="connsiteY44" fmla="*/ 1181100 h 2286441"/>
              <a:gd name="connsiteX45" fmla="*/ 3135496 w 3892734"/>
              <a:gd name="connsiteY45" fmla="*/ 1299916 h 2286441"/>
              <a:gd name="connsiteX46" fmla="*/ 2991034 w 3892734"/>
              <a:gd name="connsiteY46" fmla="*/ 1601049 h 2286441"/>
              <a:gd name="connsiteX47" fmla="*/ 2846571 w 3892734"/>
              <a:gd name="connsiteY47" fmla="*/ 1861399 h 2286441"/>
              <a:gd name="connsiteX48" fmla="*/ 2667184 w 3892734"/>
              <a:gd name="connsiteY48" fmla="*/ 2145316 h 2286441"/>
              <a:gd name="connsiteX49" fmla="*/ 2587809 w 3892734"/>
              <a:gd name="connsiteY49" fmla="*/ 2206268 h 2286441"/>
              <a:gd name="connsiteX50" fmla="*/ 2484621 w 3892734"/>
              <a:gd name="connsiteY50" fmla="*/ 2281349 h 2286441"/>
              <a:gd name="connsiteX51" fmla="*/ 2248084 w 3892734"/>
              <a:gd name="connsiteY51" fmla="*/ 2286441 h 2286441"/>
              <a:gd name="connsiteX52" fmla="*/ 2036946 w 3892734"/>
              <a:gd name="connsiteY52" fmla="*/ 2106231 h 2286441"/>
              <a:gd name="connsiteX53" fmla="*/ 1908359 w 3892734"/>
              <a:gd name="connsiteY53" fmla="*/ 1872537 h 2286441"/>
              <a:gd name="connsiteX54" fmla="*/ 1832158 w 3892734"/>
              <a:gd name="connsiteY54" fmla="*/ 1747371 h 2286441"/>
              <a:gd name="connsiteX55" fmla="*/ 1719447 w 3892734"/>
              <a:gd name="connsiteY55" fmla="*/ 1606380 h 2286441"/>
              <a:gd name="connsiteX56" fmla="*/ 1578160 w 3892734"/>
              <a:gd name="connsiteY56" fmla="*/ 1426137 h 2286441"/>
              <a:gd name="connsiteX57" fmla="*/ 1433697 w 3892734"/>
              <a:gd name="connsiteY57" fmla="*/ 1317171 h 2286441"/>
              <a:gd name="connsiteX58" fmla="*/ 1101909 w 3892734"/>
              <a:gd name="connsiteY58" fmla="*/ 1573782 h 2286441"/>
              <a:gd name="connsiteX59" fmla="*/ 895535 w 3892734"/>
              <a:gd name="connsiteY59" fmla="*/ 1609913 h 2286441"/>
              <a:gd name="connsiteX60" fmla="*/ 781234 w 3892734"/>
              <a:gd name="connsiteY60" fmla="*/ 1591782 h 2286441"/>
              <a:gd name="connsiteX61" fmla="*/ 538346 w 3892734"/>
              <a:gd name="connsiteY61" fmla="*/ 1642309 h 2286441"/>
              <a:gd name="connsiteX62" fmla="*/ 397059 w 3892734"/>
              <a:gd name="connsiteY62" fmla="*/ 1620170 h 2286441"/>
              <a:gd name="connsiteX63" fmla="*/ 12884 w 3892734"/>
              <a:gd name="connsiteY63" fmla="*/ 1221921 h 2286441"/>
              <a:gd name="connsiteX64" fmla="*/ 184 w 3892734"/>
              <a:gd name="connsiteY64" fmla="*/ 0 h 2286441"/>
              <a:gd name="connsiteX0" fmla="*/ 184 w 3892734"/>
              <a:gd name="connsiteY0" fmla="*/ 0 h 2286441"/>
              <a:gd name="connsiteX1" fmla="*/ 266884 w 3892734"/>
              <a:gd name="connsiteY1" fmla="*/ 1162050 h 2286441"/>
              <a:gd name="connsiteX2" fmla="*/ 322447 w 3892734"/>
              <a:gd name="connsiteY2" fmla="*/ 1258421 h 2286441"/>
              <a:gd name="connsiteX3" fmla="*/ 376422 w 3892734"/>
              <a:gd name="connsiteY3" fmla="*/ 1353535 h 2286441"/>
              <a:gd name="connsiteX4" fmla="*/ 412934 w 3892734"/>
              <a:gd name="connsiteY4" fmla="*/ 1314450 h 2286441"/>
              <a:gd name="connsiteX5" fmla="*/ 514534 w 3892734"/>
              <a:gd name="connsiteY5" fmla="*/ 996950 h 2286441"/>
              <a:gd name="connsiteX6" fmla="*/ 584384 w 3892734"/>
              <a:gd name="connsiteY6" fmla="*/ 641350 h 2286441"/>
              <a:gd name="connsiteX7" fmla="*/ 641534 w 3892734"/>
              <a:gd name="connsiteY7" fmla="*/ 444500 h 2286441"/>
              <a:gd name="connsiteX8" fmla="*/ 692334 w 3892734"/>
              <a:gd name="connsiteY8" fmla="*/ 330200 h 2286441"/>
              <a:gd name="connsiteX9" fmla="*/ 724084 w 3892734"/>
              <a:gd name="connsiteY9" fmla="*/ 279400 h 2286441"/>
              <a:gd name="connsiteX10" fmla="*/ 806634 w 3892734"/>
              <a:gd name="connsiteY10" fmla="*/ 334581 h 2286441"/>
              <a:gd name="connsiteX11" fmla="*/ 941571 w 3892734"/>
              <a:gd name="connsiteY11" fmla="*/ 603691 h 2286441"/>
              <a:gd name="connsiteX12" fmla="*/ 992372 w 3892734"/>
              <a:gd name="connsiteY12" fmla="*/ 744240 h 2286441"/>
              <a:gd name="connsiteX13" fmla="*/ 1093972 w 3892734"/>
              <a:gd name="connsiteY13" fmla="*/ 842884 h 2286441"/>
              <a:gd name="connsiteX14" fmla="*/ 1198746 w 3892734"/>
              <a:gd name="connsiteY14" fmla="*/ 780371 h 2286441"/>
              <a:gd name="connsiteX15" fmla="*/ 1297171 w 3892734"/>
              <a:gd name="connsiteY15" fmla="*/ 635305 h 2286441"/>
              <a:gd name="connsiteX16" fmla="*/ 1400358 w 3892734"/>
              <a:gd name="connsiteY16" fmla="*/ 547695 h 2286441"/>
              <a:gd name="connsiteX17" fmla="*/ 1486084 w 3892734"/>
              <a:gd name="connsiteY17" fmla="*/ 564606 h 2286441"/>
              <a:gd name="connsiteX18" fmla="*/ 1565459 w 3892734"/>
              <a:gd name="connsiteY18" fmla="*/ 681148 h 2286441"/>
              <a:gd name="connsiteX19" fmla="*/ 1771834 w 3892734"/>
              <a:gd name="connsiteY19" fmla="*/ 1080350 h 2286441"/>
              <a:gd name="connsiteX20" fmla="*/ 1892483 w 3892734"/>
              <a:gd name="connsiteY20" fmla="*/ 1258014 h 2286441"/>
              <a:gd name="connsiteX21" fmla="*/ 2082985 w 3892734"/>
              <a:gd name="connsiteY21" fmla="*/ 1530247 h 2286441"/>
              <a:gd name="connsiteX22" fmla="*/ 2281422 w 3892734"/>
              <a:gd name="connsiteY22" fmla="*/ 1299781 h 2286441"/>
              <a:gd name="connsiteX23" fmla="*/ 2349684 w 3892734"/>
              <a:gd name="connsiteY23" fmla="*/ 1150336 h 2286441"/>
              <a:gd name="connsiteX24" fmla="*/ 2473509 w 3892734"/>
              <a:gd name="connsiteY24" fmla="*/ 925978 h 2286441"/>
              <a:gd name="connsiteX25" fmla="*/ 2425884 w 3892734"/>
              <a:gd name="connsiteY25" fmla="*/ 787400 h 2286441"/>
              <a:gd name="connsiteX26" fmla="*/ 2476684 w 3892734"/>
              <a:gd name="connsiteY26" fmla="*/ 749300 h 2286441"/>
              <a:gd name="connsiteX27" fmla="*/ 2546534 w 3892734"/>
              <a:gd name="connsiteY27" fmla="*/ 736600 h 2286441"/>
              <a:gd name="connsiteX28" fmla="*/ 2654484 w 3892734"/>
              <a:gd name="connsiteY28" fmla="*/ 781050 h 2286441"/>
              <a:gd name="connsiteX29" fmla="*/ 2756084 w 3892734"/>
              <a:gd name="connsiteY29" fmla="*/ 838200 h 2286441"/>
              <a:gd name="connsiteX30" fmla="*/ 2851334 w 3892734"/>
              <a:gd name="connsiteY30" fmla="*/ 901700 h 2286441"/>
              <a:gd name="connsiteX31" fmla="*/ 2997384 w 3892734"/>
              <a:gd name="connsiteY31" fmla="*/ 920750 h 2286441"/>
              <a:gd name="connsiteX32" fmla="*/ 3175184 w 3892734"/>
              <a:gd name="connsiteY32" fmla="*/ 895350 h 2286441"/>
              <a:gd name="connsiteX33" fmla="*/ 3295834 w 3892734"/>
              <a:gd name="connsiteY33" fmla="*/ 774700 h 2286441"/>
              <a:gd name="connsiteX34" fmla="*/ 3391084 w 3892734"/>
              <a:gd name="connsiteY34" fmla="*/ 628650 h 2286441"/>
              <a:gd name="connsiteX35" fmla="*/ 3486334 w 3892734"/>
              <a:gd name="connsiteY35" fmla="*/ 495300 h 2286441"/>
              <a:gd name="connsiteX36" fmla="*/ 3594284 w 3892734"/>
              <a:gd name="connsiteY36" fmla="*/ 412750 h 2286441"/>
              <a:gd name="connsiteX37" fmla="*/ 3714934 w 3892734"/>
              <a:gd name="connsiteY37" fmla="*/ 406400 h 2286441"/>
              <a:gd name="connsiteX38" fmla="*/ 3892734 w 3892734"/>
              <a:gd name="connsiteY38" fmla="*/ 412750 h 2286441"/>
              <a:gd name="connsiteX39" fmla="*/ 3892734 w 3892734"/>
              <a:gd name="connsiteY39" fmla="*/ 755650 h 2286441"/>
              <a:gd name="connsiteX40" fmla="*/ 3708584 w 3892734"/>
              <a:gd name="connsiteY40" fmla="*/ 958850 h 2286441"/>
              <a:gd name="connsiteX41" fmla="*/ 3611747 w 3892734"/>
              <a:gd name="connsiteY41" fmla="*/ 1039839 h 2286441"/>
              <a:gd name="connsiteX42" fmla="*/ 3479984 w 3892734"/>
              <a:gd name="connsiteY42" fmla="*/ 1124086 h 2286441"/>
              <a:gd name="connsiteX43" fmla="*/ 3340284 w 3892734"/>
              <a:gd name="connsiteY43" fmla="*/ 1155700 h 2286441"/>
              <a:gd name="connsiteX44" fmla="*/ 3219634 w 3892734"/>
              <a:gd name="connsiteY44" fmla="*/ 1181100 h 2286441"/>
              <a:gd name="connsiteX45" fmla="*/ 3135496 w 3892734"/>
              <a:gd name="connsiteY45" fmla="*/ 1299916 h 2286441"/>
              <a:gd name="connsiteX46" fmla="*/ 2991034 w 3892734"/>
              <a:gd name="connsiteY46" fmla="*/ 1601049 h 2286441"/>
              <a:gd name="connsiteX47" fmla="*/ 2846571 w 3892734"/>
              <a:gd name="connsiteY47" fmla="*/ 1861399 h 2286441"/>
              <a:gd name="connsiteX48" fmla="*/ 2667184 w 3892734"/>
              <a:gd name="connsiteY48" fmla="*/ 2145316 h 2286441"/>
              <a:gd name="connsiteX49" fmla="*/ 2587809 w 3892734"/>
              <a:gd name="connsiteY49" fmla="*/ 2206268 h 2286441"/>
              <a:gd name="connsiteX50" fmla="*/ 2484621 w 3892734"/>
              <a:gd name="connsiteY50" fmla="*/ 2281349 h 2286441"/>
              <a:gd name="connsiteX51" fmla="*/ 2248084 w 3892734"/>
              <a:gd name="connsiteY51" fmla="*/ 2286441 h 2286441"/>
              <a:gd name="connsiteX52" fmla="*/ 2036946 w 3892734"/>
              <a:gd name="connsiteY52" fmla="*/ 2106231 h 2286441"/>
              <a:gd name="connsiteX53" fmla="*/ 1908359 w 3892734"/>
              <a:gd name="connsiteY53" fmla="*/ 1872537 h 2286441"/>
              <a:gd name="connsiteX54" fmla="*/ 1832158 w 3892734"/>
              <a:gd name="connsiteY54" fmla="*/ 1747371 h 2286441"/>
              <a:gd name="connsiteX55" fmla="*/ 1719447 w 3892734"/>
              <a:gd name="connsiteY55" fmla="*/ 1606380 h 2286441"/>
              <a:gd name="connsiteX56" fmla="*/ 1578160 w 3892734"/>
              <a:gd name="connsiteY56" fmla="*/ 1426137 h 2286441"/>
              <a:gd name="connsiteX57" fmla="*/ 1433697 w 3892734"/>
              <a:gd name="connsiteY57" fmla="*/ 1317171 h 2286441"/>
              <a:gd name="connsiteX58" fmla="*/ 1101909 w 3892734"/>
              <a:gd name="connsiteY58" fmla="*/ 1573782 h 2286441"/>
              <a:gd name="connsiteX59" fmla="*/ 895535 w 3892734"/>
              <a:gd name="connsiteY59" fmla="*/ 1609913 h 2286441"/>
              <a:gd name="connsiteX60" fmla="*/ 781234 w 3892734"/>
              <a:gd name="connsiteY60" fmla="*/ 1591782 h 2286441"/>
              <a:gd name="connsiteX61" fmla="*/ 538346 w 3892734"/>
              <a:gd name="connsiteY61" fmla="*/ 1642309 h 2286441"/>
              <a:gd name="connsiteX62" fmla="*/ 397059 w 3892734"/>
              <a:gd name="connsiteY62" fmla="*/ 1620170 h 2286441"/>
              <a:gd name="connsiteX63" fmla="*/ 12884 w 3892734"/>
              <a:gd name="connsiteY63" fmla="*/ 1221921 h 2286441"/>
              <a:gd name="connsiteX64" fmla="*/ 184 w 3892734"/>
              <a:gd name="connsiteY64" fmla="*/ 0 h 2286441"/>
              <a:gd name="connsiteX0" fmla="*/ 184 w 3892734"/>
              <a:gd name="connsiteY0" fmla="*/ 0 h 2286441"/>
              <a:gd name="connsiteX1" fmla="*/ 266884 w 3892734"/>
              <a:gd name="connsiteY1" fmla="*/ 1162050 h 2286441"/>
              <a:gd name="connsiteX2" fmla="*/ 322447 w 3892734"/>
              <a:gd name="connsiteY2" fmla="*/ 1258421 h 2286441"/>
              <a:gd name="connsiteX3" fmla="*/ 376422 w 3892734"/>
              <a:gd name="connsiteY3" fmla="*/ 1353535 h 2286441"/>
              <a:gd name="connsiteX4" fmla="*/ 412934 w 3892734"/>
              <a:gd name="connsiteY4" fmla="*/ 1314450 h 2286441"/>
              <a:gd name="connsiteX5" fmla="*/ 514534 w 3892734"/>
              <a:gd name="connsiteY5" fmla="*/ 996950 h 2286441"/>
              <a:gd name="connsiteX6" fmla="*/ 584384 w 3892734"/>
              <a:gd name="connsiteY6" fmla="*/ 641350 h 2286441"/>
              <a:gd name="connsiteX7" fmla="*/ 641534 w 3892734"/>
              <a:gd name="connsiteY7" fmla="*/ 444500 h 2286441"/>
              <a:gd name="connsiteX8" fmla="*/ 692334 w 3892734"/>
              <a:gd name="connsiteY8" fmla="*/ 330200 h 2286441"/>
              <a:gd name="connsiteX9" fmla="*/ 724084 w 3892734"/>
              <a:gd name="connsiteY9" fmla="*/ 279400 h 2286441"/>
              <a:gd name="connsiteX10" fmla="*/ 806634 w 3892734"/>
              <a:gd name="connsiteY10" fmla="*/ 334581 h 2286441"/>
              <a:gd name="connsiteX11" fmla="*/ 941571 w 3892734"/>
              <a:gd name="connsiteY11" fmla="*/ 603691 h 2286441"/>
              <a:gd name="connsiteX12" fmla="*/ 992372 w 3892734"/>
              <a:gd name="connsiteY12" fmla="*/ 744240 h 2286441"/>
              <a:gd name="connsiteX13" fmla="*/ 1093972 w 3892734"/>
              <a:gd name="connsiteY13" fmla="*/ 842884 h 2286441"/>
              <a:gd name="connsiteX14" fmla="*/ 1198746 w 3892734"/>
              <a:gd name="connsiteY14" fmla="*/ 780371 h 2286441"/>
              <a:gd name="connsiteX15" fmla="*/ 1297171 w 3892734"/>
              <a:gd name="connsiteY15" fmla="*/ 635305 h 2286441"/>
              <a:gd name="connsiteX16" fmla="*/ 1400358 w 3892734"/>
              <a:gd name="connsiteY16" fmla="*/ 547695 h 2286441"/>
              <a:gd name="connsiteX17" fmla="*/ 1486084 w 3892734"/>
              <a:gd name="connsiteY17" fmla="*/ 564606 h 2286441"/>
              <a:gd name="connsiteX18" fmla="*/ 1565459 w 3892734"/>
              <a:gd name="connsiteY18" fmla="*/ 681148 h 2286441"/>
              <a:gd name="connsiteX19" fmla="*/ 1771834 w 3892734"/>
              <a:gd name="connsiteY19" fmla="*/ 1080350 h 2286441"/>
              <a:gd name="connsiteX20" fmla="*/ 1892483 w 3892734"/>
              <a:gd name="connsiteY20" fmla="*/ 1258014 h 2286441"/>
              <a:gd name="connsiteX21" fmla="*/ 2082985 w 3892734"/>
              <a:gd name="connsiteY21" fmla="*/ 1530247 h 2286441"/>
              <a:gd name="connsiteX22" fmla="*/ 2281422 w 3892734"/>
              <a:gd name="connsiteY22" fmla="*/ 1299781 h 2286441"/>
              <a:gd name="connsiteX23" fmla="*/ 2349684 w 3892734"/>
              <a:gd name="connsiteY23" fmla="*/ 1150336 h 2286441"/>
              <a:gd name="connsiteX24" fmla="*/ 2425884 w 3892734"/>
              <a:gd name="connsiteY24" fmla="*/ 925978 h 2286441"/>
              <a:gd name="connsiteX25" fmla="*/ 2425884 w 3892734"/>
              <a:gd name="connsiteY25" fmla="*/ 787400 h 2286441"/>
              <a:gd name="connsiteX26" fmla="*/ 2476684 w 3892734"/>
              <a:gd name="connsiteY26" fmla="*/ 749300 h 2286441"/>
              <a:gd name="connsiteX27" fmla="*/ 2546534 w 3892734"/>
              <a:gd name="connsiteY27" fmla="*/ 736600 h 2286441"/>
              <a:gd name="connsiteX28" fmla="*/ 2654484 w 3892734"/>
              <a:gd name="connsiteY28" fmla="*/ 781050 h 2286441"/>
              <a:gd name="connsiteX29" fmla="*/ 2756084 w 3892734"/>
              <a:gd name="connsiteY29" fmla="*/ 838200 h 2286441"/>
              <a:gd name="connsiteX30" fmla="*/ 2851334 w 3892734"/>
              <a:gd name="connsiteY30" fmla="*/ 901700 h 2286441"/>
              <a:gd name="connsiteX31" fmla="*/ 2997384 w 3892734"/>
              <a:gd name="connsiteY31" fmla="*/ 920750 h 2286441"/>
              <a:gd name="connsiteX32" fmla="*/ 3175184 w 3892734"/>
              <a:gd name="connsiteY32" fmla="*/ 895350 h 2286441"/>
              <a:gd name="connsiteX33" fmla="*/ 3295834 w 3892734"/>
              <a:gd name="connsiteY33" fmla="*/ 774700 h 2286441"/>
              <a:gd name="connsiteX34" fmla="*/ 3391084 w 3892734"/>
              <a:gd name="connsiteY34" fmla="*/ 628650 h 2286441"/>
              <a:gd name="connsiteX35" fmla="*/ 3486334 w 3892734"/>
              <a:gd name="connsiteY35" fmla="*/ 495300 h 2286441"/>
              <a:gd name="connsiteX36" fmla="*/ 3594284 w 3892734"/>
              <a:gd name="connsiteY36" fmla="*/ 412750 h 2286441"/>
              <a:gd name="connsiteX37" fmla="*/ 3714934 w 3892734"/>
              <a:gd name="connsiteY37" fmla="*/ 406400 h 2286441"/>
              <a:gd name="connsiteX38" fmla="*/ 3892734 w 3892734"/>
              <a:gd name="connsiteY38" fmla="*/ 412750 h 2286441"/>
              <a:gd name="connsiteX39" fmla="*/ 3892734 w 3892734"/>
              <a:gd name="connsiteY39" fmla="*/ 755650 h 2286441"/>
              <a:gd name="connsiteX40" fmla="*/ 3708584 w 3892734"/>
              <a:gd name="connsiteY40" fmla="*/ 958850 h 2286441"/>
              <a:gd name="connsiteX41" fmla="*/ 3611747 w 3892734"/>
              <a:gd name="connsiteY41" fmla="*/ 1039839 h 2286441"/>
              <a:gd name="connsiteX42" fmla="*/ 3479984 w 3892734"/>
              <a:gd name="connsiteY42" fmla="*/ 1124086 h 2286441"/>
              <a:gd name="connsiteX43" fmla="*/ 3340284 w 3892734"/>
              <a:gd name="connsiteY43" fmla="*/ 1155700 h 2286441"/>
              <a:gd name="connsiteX44" fmla="*/ 3219634 w 3892734"/>
              <a:gd name="connsiteY44" fmla="*/ 1181100 h 2286441"/>
              <a:gd name="connsiteX45" fmla="*/ 3135496 w 3892734"/>
              <a:gd name="connsiteY45" fmla="*/ 1299916 h 2286441"/>
              <a:gd name="connsiteX46" fmla="*/ 2991034 w 3892734"/>
              <a:gd name="connsiteY46" fmla="*/ 1601049 h 2286441"/>
              <a:gd name="connsiteX47" fmla="*/ 2846571 w 3892734"/>
              <a:gd name="connsiteY47" fmla="*/ 1861399 h 2286441"/>
              <a:gd name="connsiteX48" fmla="*/ 2667184 w 3892734"/>
              <a:gd name="connsiteY48" fmla="*/ 2145316 h 2286441"/>
              <a:gd name="connsiteX49" fmla="*/ 2587809 w 3892734"/>
              <a:gd name="connsiteY49" fmla="*/ 2206268 h 2286441"/>
              <a:gd name="connsiteX50" fmla="*/ 2484621 w 3892734"/>
              <a:gd name="connsiteY50" fmla="*/ 2281349 h 2286441"/>
              <a:gd name="connsiteX51" fmla="*/ 2248084 w 3892734"/>
              <a:gd name="connsiteY51" fmla="*/ 2286441 h 2286441"/>
              <a:gd name="connsiteX52" fmla="*/ 2036946 w 3892734"/>
              <a:gd name="connsiteY52" fmla="*/ 2106231 h 2286441"/>
              <a:gd name="connsiteX53" fmla="*/ 1908359 w 3892734"/>
              <a:gd name="connsiteY53" fmla="*/ 1872537 h 2286441"/>
              <a:gd name="connsiteX54" fmla="*/ 1832158 w 3892734"/>
              <a:gd name="connsiteY54" fmla="*/ 1747371 h 2286441"/>
              <a:gd name="connsiteX55" fmla="*/ 1719447 w 3892734"/>
              <a:gd name="connsiteY55" fmla="*/ 1606380 h 2286441"/>
              <a:gd name="connsiteX56" fmla="*/ 1578160 w 3892734"/>
              <a:gd name="connsiteY56" fmla="*/ 1426137 h 2286441"/>
              <a:gd name="connsiteX57" fmla="*/ 1433697 w 3892734"/>
              <a:gd name="connsiteY57" fmla="*/ 1317171 h 2286441"/>
              <a:gd name="connsiteX58" fmla="*/ 1101909 w 3892734"/>
              <a:gd name="connsiteY58" fmla="*/ 1573782 h 2286441"/>
              <a:gd name="connsiteX59" fmla="*/ 895535 w 3892734"/>
              <a:gd name="connsiteY59" fmla="*/ 1609913 h 2286441"/>
              <a:gd name="connsiteX60" fmla="*/ 781234 w 3892734"/>
              <a:gd name="connsiteY60" fmla="*/ 1591782 h 2286441"/>
              <a:gd name="connsiteX61" fmla="*/ 538346 w 3892734"/>
              <a:gd name="connsiteY61" fmla="*/ 1642309 h 2286441"/>
              <a:gd name="connsiteX62" fmla="*/ 397059 w 3892734"/>
              <a:gd name="connsiteY62" fmla="*/ 1620170 h 2286441"/>
              <a:gd name="connsiteX63" fmla="*/ 12884 w 3892734"/>
              <a:gd name="connsiteY63" fmla="*/ 1221921 h 2286441"/>
              <a:gd name="connsiteX64" fmla="*/ 184 w 3892734"/>
              <a:gd name="connsiteY64" fmla="*/ 0 h 2286441"/>
              <a:gd name="connsiteX0" fmla="*/ 184 w 3892734"/>
              <a:gd name="connsiteY0" fmla="*/ 0 h 2286441"/>
              <a:gd name="connsiteX1" fmla="*/ 266884 w 3892734"/>
              <a:gd name="connsiteY1" fmla="*/ 1162050 h 2286441"/>
              <a:gd name="connsiteX2" fmla="*/ 322447 w 3892734"/>
              <a:gd name="connsiteY2" fmla="*/ 1258421 h 2286441"/>
              <a:gd name="connsiteX3" fmla="*/ 376422 w 3892734"/>
              <a:gd name="connsiteY3" fmla="*/ 1353535 h 2286441"/>
              <a:gd name="connsiteX4" fmla="*/ 412934 w 3892734"/>
              <a:gd name="connsiteY4" fmla="*/ 1314450 h 2286441"/>
              <a:gd name="connsiteX5" fmla="*/ 514534 w 3892734"/>
              <a:gd name="connsiteY5" fmla="*/ 996950 h 2286441"/>
              <a:gd name="connsiteX6" fmla="*/ 584384 w 3892734"/>
              <a:gd name="connsiteY6" fmla="*/ 641350 h 2286441"/>
              <a:gd name="connsiteX7" fmla="*/ 641534 w 3892734"/>
              <a:gd name="connsiteY7" fmla="*/ 444500 h 2286441"/>
              <a:gd name="connsiteX8" fmla="*/ 692334 w 3892734"/>
              <a:gd name="connsiteY8" fmla="*/ 330200 h 2286441"/>
              <a:gd name="connsiteX9" fmla="*/ 724084 w 3892734"/>
              <a:gd name="connsiteY9" fmla="*/ 279400 h 2286441"/>
              <a:gd name="connsiteX10" fmla="*/ 806634 w 3892734"/>
              <a:gd name="connsiteY10" fmla="*/ 334581 h 2286441"/>
              <a:gd name="connsiteX11" fmla="*/ 941571 w 3892734"/>
              <a:gd name="connsiteY11" fmla="*/ 603691 h 2286441"/>
              <a:gd name="connsiteX12" fmla="*/ 992372 w 3892734"/>
              <a:gd name="connsiteY12" fmla="*/ 744240 h 2286441"/>
              <a:gd name="connsiteX13" fmla="*/ 1093972 w 3892734"/>
              <a:gd name="connsiteY13" fmla="*/ 842884 h 2286441"/>
              <a:gd name="connsiteX14" fmla="*/ 1198746 w 3892734"/>
              <a:gd name="connsiteY14" fmla="*/ 780371 h 2286441"/>
              <a:gd name="connsiteX15" fmla="*/ 1297171 w 3892734"/>
              <a:gd name="connsiteY15" fmla="*/ 635305 h 2286441"/>
              <a:gd name="connsiteX16" fmla="*/ 1400358 w 3892734"/>
              <a:gd name="connsiteY16" fmla="*/ 547695 h 2286441"/>
              <a:gd name="connsiteX17" fmla="*/ 1486084 w 3892734"/>
              <a:gd name="connsiteY17" fmla="*/ 564606 h 2286441"/>
              <a:gd name="connsiteX18" fmla="*/ 1565459 w 3892734"/>
              <a:gd name="connsiteY18" fmla="*/ 681148 h 2286441"/>
              <a:gd name="connsiteX19" fmla="*/ 1771834 w 3892734"/>
              <a:gd name="connsiteY19" fmla="*/ 1080350 h 2286441"/>
              <a:gd name="connsiteX20" fmla="*/ 1892483 w 3892734"/>
              <a:gd name="connsiteY20" fmla="*/ 1258014 h 2286441"/>
              <a:gd name="connsiteX21" fmla="*/ 2082985 w 3892734"/>
              <a:gd name="connsiteY21" fmla="*/ 1530247 h 2286441"/>
              <a:gd name="connsiteX22" fmla="*/ 2281422 w 3892734"/>
              <a:gd name="connsiteY22" fmla="*/ 1299781 h 2286441"/>
              <a:gd name="connsiteX23" fmla="*/ 2349684 w 3892734"/>
              <a:gd name="connsiteY23" fmla="*/ 1150336 h 2286441"/>
              <a:gd name="connsiteX24" fmla="*/ 2425884 w 3892734"/>
              <a:gd name="connsiteY24" fmla="*/ 925978 h 2286441"/>
              <a:gd name="connsiteX25" fmla="*/ 2476684 w 3892734"/>
              <a:gd name="connsiteY25" fmla="*/ 749300 h 2286441"/>
              <a:gd name="connsiteX26" fmla="*/ 2546534 w 3892734"/>
              <a:gd name="connsiteY26" fmla="*/ 736600 h 2286441"/>
              <a:gd name="connsiteX27" fmla="*/ 2654484 w 3892734"/>
              <a:gd name="connsiteY27" fmla="*/ 781050 h 2286441"/>
              <a:gd name="connsiteX28" fmla="*/ 2756084 w 3892734"/>
              <a:gd name="connsiteY28" fmla="*/ 838200 h 2286441"/>
              <a:gd name="connsiteX29" fmla="*/ 2851334 w 3892734"/>
              <a:gd name="connsiteY29" fmla="*/ 901700 h 2286441"/>
              <a:gd name="connsiteX30" fmla="*/ 2997384 w 3892734"/>
              <a:gd name="connsiteY30" fmla="*/ 920750 h 2286441"/>
              <a:gd name="connsiteX31" fmla="*/ 3175184 w 3892734"/>
              <a:gd name="connsiteY31" fmla="*/ 895350 h 2286441"/>
              <a:gd name="connsiteX32" fmla="*/ 3295834 w 3892734"/>
              <a:gd name="connsiteY32" fmla="*/ 774700 h 2286441"/>
              <a:gd name="connsiteX33" fmla="*/ 3391084 w 3892734"/>
              <a:gd name="connsiteY33" fmla="*/ 628650 h 2286441"/>
              <a:gd name="connsiteX34" fmla="*/ 3486334 w 3892734"/>
              <a:gd name="connsiteY34" fmla="*/ 495300 h 2286441"/>
              <a:gd name="connsiteX35" fmla="*/ 3594284 w 3892734"/>
              <a:gd name="connsiteY35" fmla="*/ 412750 h 2286441"/>
              <a:gd name="connsiteX36" fmla="*/ 3714934 w 3892734"/>
              <a:gd name="connsiteY36" fmla="*/ 406400 h 2286441"/>
              <a:gd name="connsiteX37" fmla="*/ 3892734 w 3892734"/>
              <a:gd name="connsiteY37" fmla="*/ 412750 h 2286441"/>
              <a:gd name="connsiteX38" fmla="*/ 3892734 w 3892734"/>
              <a:gd name="connsiteY38" fmla="*/ 755650 h 2286441"/>
              <a:gd name="connsiteX39" fmla="*/ 3708584 w 3892734"/>
              <a:gd name="connsiteY39" fmla="*/ 958850 h 2286441"/>
              <a:gd name="connsiteX40" fmla="*/ 3611747 w 3892734"/>
              <a:gd name="connsiteY40" fmla="*/ 1039839 h 2286441"/>
              <a:gd name="connsiteX41" fmla="*/ 3479984 w 3892734"/>
              <a:gd name="connsiteY41" fmla="*/ 1124086 h 2286441"/>
              <a:gd name="connsiteX42" fmla="*/ 3340284 w 3892734"/>
              <a:gd name="connsiteY42" fmla="*/ 1155700 h 2286441"/>
              <a:gd name="connsiteX43" fmla="*/ 3219634 w 3892734"/>
              <a:gd name="connsiteY43" fmla="*/ 1181100 h 2286441"/>
              <a:gd name="connsiteX44" fmla="*/ 3135496 w 3892734"/>
              <a:gd name="connsiteY44" fmla="*/ 1299916 h 2286441"/>
              <a:gd name="connsiteX45" fmla="*/ 2991034 w 3892734"/>
              <a:gd name="connsiteY45" fmla="*/ 1601049 h 2286441"/>
              <a:gd name="connsiteX46" fmla="*/ 2846571 w 3892734"/>
              <a:gd name="connsiteY46" fmla="*/ 1861399 h 2286441"/>
              <a:gd name="connsiteX47" fmla="*/ 2667184 w 3892734"/>
              <a:gd name="connsiteY47" fmla="*/ 2145316 h 2286441"/>
              <a:gd name="connsiteX48" fmla="*/ 2587809 w 3892734"/>
              <a:gd name="connsiteY48" fmla="*/ 2206268 h 2286441"/>
              <a:gd name="connsiteX49" fmla="*/ 2484621 w 3892734"/>
              <a:gd name="connsiteY49" fmla="*/ 2281349 h 2286441"/>
              <a:gd name="connsiteX50" fmla="*/ 2248084 w 3892734"/>
              <a:gd name="connsiteY50" fmla="*/ 2286441 h 2286441"/>
              <a:gd name="connsiteX51" fmla="*/ 2036946 w 3892734"/>
              <a:gd name="connsiteY51" fmla="*/ 2106231 h 2286441"/>
              <a:gd name="connsiteX52" fmla="*/ 1908359 w 3892734"/>
              <a:gd name="connsiteY52" fmla="*/ 1872537 h 2286441"/>
              <a:gd name="connsiteX53" fmla="*/ 1832158 w 3892734"/>
              <a:gd name="connsiteY53" fmla="*/ 1747371 h 2286441"/>
              <a:gd name="connsiteX54" fmla="*/ 1719447 w 3892734"/>
              <a:gd name="connsiteY54" fmla="*/ 1606380 h 2286441"/>
              <a:gd name="connsiteX55" fmla="*/ 1578160 w 3892734"/>
              <a:gd name="connsiteY55" fmla="*/ 1426137 h 2286441"/>
              <a:gd name="connsiteX56" fmla="*/ 1433697 w 3892734"/>
              <a:gd name="connsiteY56" fmla="*/ 1317171 h 2286441"/>
              <a:gd name="connsiteX57" fmla="*/ 1101909 w 3892734"/>
              <a:gd name="connsiteY57" fmla="*/ 1573782 h 2286441"/>
              <a:gd name="connsiteX58" fmla="*/ 895535 w 3892734"/>
              <a:gd name="connsiteY58" fmla="*/ 1609913 h 2286441"/>
              <a:gd name="connsiteX59" fmla="*/ 781234 w 3892734"/>
              <a:gd name="connsiteY59" fmla="*/ 1591782 h 2286441"/>
              <a:gd name="connsiteX60" fmla="*/ 538346 w 3892734"/>
              <a:gd name="connsiteY60" fmla="*/ 1642309 h 2286441"/>
              <a:gd name="connsiteX61" fmla="*/ 397059 w 3892734"/>
              <a:gd name="connsiteY61" fmla="*/ 1620170 h 2286441"/>
              <a:gd name="connsiteX62" fmla="*/ 12884 w 3892734"/>
              <a:gd name="connsiteY62" fmla="*/ 1221921 h 2286441"/>
              <a:gd name="connsiteX63" fmla="*/ 184 w 3892734"/>
              <a:gd name="connsiteY63" fmla="*/ 0 h 2286441"/>
              <a:gd name="connsiteX0" fmla="*/ 184 w 3892734"/>
              <a:gd name="connsiteY0" fmla="*/ 0 h 2286441"/>
              <a:gd name="connsiteX1" fmla="*/ 266884 w 3892734"/>
              <a:gd name="connsiteY1" fmla="*/ 1162050 h 2286441"/>
              <a:gd name="connsiteX2" fmla="*/ 322447 w 3892734"/>
              <a:gd name="connsiteY2" fmla="*/ 1258421 h 2286441"/>
              <a:gd name="connsiteX3" fmla="*/ 376422 w 3892734"/>
              <a:gd name="connsiteY3" fmla="*/ 1353535 h 2286441"/>
              <a:gd name="connsiteX4" fmla="*/ 412934 w 3892734"/>
              <a:gd name="connsiteY4" fmla="*/ 1314450 h 2286441"/>
              <a:gd name="connsiteX5" fmla="*/ 514534 w 3892734"/>
              <a:gd name="connsiteY5" fmla="*/ 996950 h 2286441"/>
              <a:gd name="connsiteX6" fmla="*/ 584384 w 3892734"/>
              <a:gd name="connsiteY6" fmla="*/ 641350 h 2286441"/>
              <a:gd name="connsiteX7" fmla="*/ 641534 w 3892734"/>
              <a:gd name="connsiteY7" fmla="*/ 444500 h 2286441"/>
              <a:gd name="connsiteX8" fmla="*/ 692334 w 3892734"/>
              <a:gd name="connsiteY8" fmla="*/ 330200 h 2286441"/>
              <a:gd name="connsiteX9" fmla="*/ 724084 w 3892734"/>
              <a:gd name="connsiteY9" fmla="*/ 279400 h 2286441"/>
              <a:gd name="connsiteX10" fmla="*/ 806634 w 3892734"/>
              <a:gd name="connsiteY10" fmla="*/ 334581 h 2286441"/>
              <a:gd name="connsiteX11" fmla="*/ 941571 w 3892734"/>
              <a:gd name="connsiteY11" fmla="*/ 603691 h 2286441"/>
              <a:gd name="connsiteX12" fmla="*/ 992372 w 3892734"/>
              <a:gd name="connsiteY12" fmla="*/ 744240 h 2286441"/>
              <a:gd name="connsiteX13" fmla="*/ 1093972 w 3892734"/>
              <a:gd name="connsiteY13" fmla="*/ 842884 h 2286441"/>
              <a:gd name="connsiteX14" fmla="*/ 1198746 w 3892734"/>
              <a:gd name="connsiteY14" fmla="*/ 780371 h 2286441"/>
              <a:gd name="connsiteX15" fmla="*/ 1297171 w 3892734"/>
              <a:gd name="connsiteY15" fmla="*/ 635305 h 2286441"/>
              <a:gd name="connsiteX16" fmla="*/ 1400358 w 3892734"/>
              <a:gd name="connsiteY16" fmla="*/ 547695 h 2286441"/>
              <a:gd name="connsiteX17" fmla="*/ 1486084 w 3892734"/>
              <a:gd name="connsiteY17" fmla="*/ 564606 h 2286441"/>
              <a:gd name="connsiteX18" fmla="*/ 1565459 w 3892734"/>
              <a:gd name="connsiteY18" fmla="*/ 681148 h 2286441"/>
              <a:gd name="connsiteX19" fmla="*/ 1771834 w 3892734"/>
              <a:gd name="connsiteY19" fmla="*/ 1080350 h 2286441"/>
              <a:gd name="connsiteX20" fmla="*/ 1892483 w 3892734"/>
              <a:gd name="connsiteY20" fmla="*/ 1258014 h 2286441"/>
              <a:gd name="connsiteX21" fmla="*/ 2082985 w 3892734"/>
              <a:gd name="connsiteY21" fmla="*/ 1530247 h 2286441"/>
              <a:gd name="connsiteX22" fmla="*/ 2281422 w 3892734"/>
              <a:gd name="connsiteY22" fmla="*/ 1299781 h 2286441"/>
              <a:gd name="connsiteX23" fmla="*/ 2349684 w 3892734"/>
              <a:gd name="connsiteY23" fmla="*/ 1150336 h 2286441"/>
              <a:gd name="connsiteX24" fmla="*/ 2425884 w 3892734"/>
              <a:gd name="connsiteY24" fmla="*/ 925978 h 2286441"/>
              <a:gd name="connsiteX25" fmla="*/ 2548121 w 3892734"/>
              <a:gd name="connsiteY25" fmla="*/ 884789 h 2286441"/>
              <a:gd name="connsiteX26" fmla="*/ 2546534 w 3892734"/>
              <a:gd name="connsiteY26" fmla="*/ 736600 h 2286441"/>
              <a:gd name="connsiteX27" fmla="*/ 2654484 w 3892734"/>
              <a:gd name="connsiteY27" fmla="*/ 781050 h 2286441"/>
              <a:gd name="connsiteX28" fmla="*/ 2756084 w 3892734"/>
              <a:gd name="connsiteY28" fmla="*/ 838200 h 2286441"/>
              <a:gd name="connsiteX29" fmla="*/ 2851334 w 3892734"/>
              <a:gd name="connsiteY29" fmla="*/ 901700 h 2286441"/>
              <a:gd name="connsiteX30" fmla="*/ 2997384 w 3892734"/>
              <a:gd name="connsiteY30" fmla="*/ 920750 h 2286441"/>
              <a:gd name="connsiteX31" fmla="*/ 3175184 w 3892734"/>
              <a:gd name="connsiteY31" fmla="*/ 895350 h 2286441"/>
              <a:gd name="connsiteX32" fmla="*/ 3295834 w 3892734"/>
              <a:gd name="connsiteY32" fmla="*/ 774700 h 2286441"/>
              <a:gd name="connsiteX33" fmla="*/ 3391084 w 3892734"/>
              <a:gd name="connsiteY33" fmla="*/ 628650 h 2286441"/>
              <a:gd name="connsiteX34" fmla="*/ 3486334 w 3892734"/>
              <a:gd name="connsiteY34" fmla="*/ 495300 h 2286441"/>
              <a:gd name="connsiteX35" fmla="*/ 3594284 w 3892734"/>
              <a:gd name="connsiteY35" fmla="*/ 412750 h 2286441"/>
              <a:gd name="connsiteX36" fmla="*/ 3714934 w 3892734"/>
              <a:gd name="connsiteY36" fmla="*/ 406400 h 2286441"/>
              <a:gd name="connsiteX37" fmla="*/ 3892734 w 3892734"/>
              <a:gd name="connsiteY37" fmla="*/ 412750 h 2286441"/>
              <a:gd name="connsiteX38" fmla="*/ 3892734 w 3892734"/>
              <a:gd name="connsiteY38" fmla="*/ 755650 h 2286441"/>
              <a:gd name="connsiteX39" fmla="*/ 3708584 w 3892734"/>
              <a:gd name="connsiteY39" fmla="*/ 958850 h 2286441"/>
              <a:gd name="connsiteX40" fmla="*/ 3611747 w 3892734"/>
              <a:gd name="connsiteY40" fmla="*/ 1039839 h 2286441"/>
              <a:gd name="connsiteX41" fmla="*/ 3479984 w 3892734"/>
              <a:gd name="connsiteY41" fmla="*/ 1124086 h 2286441"/>
              <a:gd name="connsiteX42" fmla="*/ 3340284 w 3892734"/>
              <a:gd name="connsiteY42" fmla="*/ 1155700 h 2286441"/>
              <a:gd name="connsiteX43" fmla="*/ 3219634 w 3892734"/>
              <a:gd name="connsiteY43" fmla="*/ 1181100 h 2286441"/>
              <a:gd name="connsiteX44" fmla="*/ 3135496 w 3892734"/>
              <a:gd name="connsiteY44" fmla="*/ 1299916 h 2286441"/>
              <a:gd name="connsiteX45" fmla="*/ 2991034 w 3892734"/>
              <a:gd name="connsiteY45" fmla="*/ 1601049 h 2286441"/>
              <a:gd name="connsiteX46" fmla="*/ 2846571 w 3892734"/>
              <a:gd name="connsiteY46" fmla="*/ 1861399 h 2286441"/>
              <a:gd name="connsiteX47" fmla="*/ 2667184 w 3892734"/>
              <a:gd name="connsiteY47" fmla="*/ 2145316 h 2286441"/>
              <a:gd name="connsiteX48" fmla="*/ 2587809 w 3892734"/>
              <a:gd name="connsiteY48" fmla="*/ 2206268 h 2286441"/>
              <a:gd name="connsiteX49" fmla="*/ 2484621 w 3892734"/>
              <a:gd name="connsiteY49" fmla="*/ 2281349 h 2286441"/>
              <a:gd name="connsiteX50" fmla="*/ 2248084 w 3892734"/>
              <a:gd name="connsiteY50" fmla="*/ 2286441 h 2286441"/>
              <a:gd name="connsiteX51" fmla="*/ 2036946 w 3892734"/>
              <a:gd name="connsiteY51" fmla="*/ 2106231 h 2286441"/>
              <a:gd name="connsiteX52" fmla="*/ 1908359 w 3892734"/>
              <a:gd name="connsiteY52" fmla="*/ 1872537 h 2286441"/>
              <a:gd name="connsiteX53" fmla="*/ 1832158 w 3892734"/>
              <a:gd name="connsiteY53" fmla="*/ 1747371 h 2286441"/>
              <a:gd name="connsiteX54" fmla="*/ 1719447 w 3892734"/>
              <a:gd name="connsiteY54" fmla="*/ 1606380 h 2286441"/>
              <a:gd name="connsiteX55" fmla="*/ 1578160 w 3892734"/>
              <a:gd name="connsiteY55" fmla="*/ 1426137 h 2286441"/>
              <a:gd name="connsiteX56" fmla="*/ 1433697 w 3892734"/>
              <a:gd name="connsiteY56" fmla="*/ 1317171 h 2286441"/>
              <a:gd name="connsiteX57" fmla="*/ 1101909 w 3892734"/>
              <a:gd name="connsiteY57" fmla="*/ 1573782 h 2286441"/>
              <a:gd name="connsiteX58" fmla="*/ 895535 w 3892734"/>
              <a:gd name="connsiteY58" fmla="*/ 1609913 h 2286441"/>
              <a:gd name="connsiteX59" fmla="*/ 781234 w 3892734"/>
              <a:gd name="connsiteY59" fmla="*/ 1591782 h 2286441"/>
              <a:gd name="connsiteX60" fmla="*/ 538346 w 3892734"/>
              <a:gd name="connsiteY60" fmla="*/ 1642309 h 2286441"/>
              <a:gd name="connsiteX61" fmla="*/ 397059 w 3892734"/>
              <a:gd name="connsiteY61" fmla="*/ 1620170 h 2286441"/>
              <a:gd name="connsiteX62" fmla="*/ 12884 w 3892734"/>
              <a:gd name="connsiteY62" fmla="*/ 1221921 h 2286441"/>
              <a:gd name="connsiteX63" fmla="*/ 184 w 3892734"/>
              <a:gd name="connsiteY63" fmla="*/ 0 h 2286441"/>
              <a:gd name="connsiteX0" fmla="*/ 184 w 3892734"/>
              <a:gd name="connsiteY0" fmla="*/ 0 h 2286441"/>
              <a:gd name="connsiteX1" fmla="*/ 266884 w 3892734"/>
              <a:gd name="connsiteY1" fmla="*/ 1162050 h 2286441"/>
              <a:gd name="connsiteX2" fmla="*/ 322447 w 3892734"/>
              <a:gd name="connsiteY2" fmla="*/ 1258421 h 2286441"/>
              <a:gd name="connsiteX3" fmla="*/ 376422 w 3892734"/>
              <a:gd name="connsiteY3" fmla="*/ 1353535 h 2286441"/>
              <a:gd name="connsiteX4" fmla="*/ 412934 w 3892734"/>
              <a:gd name="connsiteY4" fmla="*/ 1314450 h 2286441"/>
              <a:gd name="connsiteX5" fmla="*/ 514534 w 3892734"/>
              <a:gd name="connsiteY5" fmla="*/ 996950 h 2286441"/>
              <a:gd name="connsiteX6" fmla="*/ 584384 w 3892734"/>
              <a:gd name="connsiteY6" fmla="*/ 641350 h 2286441"/>
              <a:gd name="connsiteX7" fmla="*/ 641534 w 3892734"/>
              <a:gd name="connsiteY7" fmla="*/ 444500 h 2286441"/>
              <a:gd name="connsiteX8" fmla="*/ 692334 w 3892734"/>
              <a:gd name="connsiteY8" fmla="*/ 330200 h 2286441"/>
              <a:gd name="connsiteX9" fmla="*/ 724084 w 3892734"/>
              <a:gd name="connsiteY9" fmla="*/ 279400 h 2286441"/>
              <a:gd name="connsiteX10" fmla="*/ 806634 w 3892734"/>
              <a:gd name="connsiteY10" fmla="*/ 334581 h 2286441"/>
              <a:gd name="connsiteX11" fmla="*/ 941571 w 3892734"/>
              <a:gd name="connsiteY11" fmla="*/ 603691 h 2286441"/>
              <a:gd name="connsiteX12" fmla="*/ 992372 w 3892734"/>
              <a:gd name="connsiteY12" fmla="*/ 744240 h 2286441"/>
              <a:gd name="connsiteX13" fmla="*/ 1093972 w 3892734"/>
              <a:gd name="connsiteY13" fmla="*/ 842884 h 2286441"/>
              <a:gd name="connsiteX14" fmla="*/ 1198746 w 3892734"/>
              <a:gd name="connsiteY14" fmla="*/ 780371 h 2286441"/>
              <a:gd name="connsiteX15" fmla="*/ 1297171 w 3892734"/>
              <a:gd name="connsiteY15" fmla="*/ 635305 h 2286441"/>
              <a:gd name="connsiteX16" fmla="*/ 1400358 w 3892734"/>
              <a:gd name="connsiteY16" fmla="*/ 547695 h 2286441"/>
              <a:gd name="connsiteX17" fmla="*/ 1486084 w 3892734"/>
              <a:gd name="connsiteY17" fmla="*/ 564606 h 2286441"/>
              <a:gd name="connsiteX18" fmla="*/ 1565459 w 3892734"/>
              <a:gd name="connsiteY18" fmla="*/ 681148 h 2286441"/>
              <a:gd name="connsiteX19" fmla="*/ 1771834 w 3892734"/>
              <a:gd name="connsiteY19" fmla="*/ 1080350 h 2286441"/>
              <a:gd name="connsiteX20" fmla="*/ 1892483 w 3892734"/>
              <a:gd name="connsiteY20" fmla="*/ 1258014 h 2286441"/>
              <a:gd name="connsiteX21" fmla="*/ 2082985 w 3892734"/>
              <a:gd name="connsiteY21" fmla="*/ 1530247 h 2286441"/>
              <a:gd name="connsiteX22" fmla="*/ 2281422 w 3892734"/>
              <a:gd name="connsiteY22" fmla="*/ 1299781 h 2286441"/>
              <a:gd name="connsiteX23" fmla="*/ 2349684 w 3892734"/>
              <a:gd name="connsiteY23" fmla="*/ 1150336 h 2286441"/>
              <a:gd name="connsiteX24" fmla="*/ 2425884 w 3892734"/>
              <a:gd name="connsiteY24" fmla="*/ 925978 h 2286441"/>
              <a:gd name="connsiteX25" fmla="*/ 2519546 w 3892734"/>
              <a:gd name="connsiteY25" fmla="*/ 862207 h 2286441"/>
              <a:gd name="connsiteX26" fmla="*/ 2546534 w 3892734"/>
              <a:gd name="connsiteY26" fmla="*/ 736600 h 2286441"/>
              <a:gd name="connsiteX27" fmla="*/ 2654484 w 3892734"/>
              <a:gd name="connsiteY27" fmla="*/ 781050 h 2286441"/>
              <a:gd name="connsiteX28" fmla="*/ 2756084 w 3892734"/>
              <a:gd name="connsiteY28" fmla="*/ 838200 h 2286441"/>
              <a:gd name="connsiteX29" fmla="*/ 2851334 w 3892734"/>
              <a:gd name="connsiteY29" fmla="*/ 901700 h 2286441"/>
              <a:gd name="connsiteX30" fmla="*/ 2997384 w 3892734"/>
              <a:gd name="connsiteY30" fmla="*/ 920750 h 2286441"/>
              <a:gd name="connsiteX31" fmla="*/ 3175184 w 3892734"/>
              <a:gd name="connsiteY31" fmla="*/ 895350 h 2286441"/>
              <a:gd name="connsiteX32" fmla="*/ 3295834 w 3892734"/>
              <a:gd name="connsiteY32" fmla="*/ 774700 h 2286441"/>
              <a:gd name="connsiteX33" fmla="*/ 3391084 w 3892734"/>
              <a:gd name="connsiteY33" fmla="*/ 628650 h 2286441"/>
              <a:gd name="connsiteX34" fmla="*/ 3486334 w 3892734"/>
              <a:gd name="connsiteY34" fmla="*/ 495300 h 2286441"/>
              <a:gd name="connsiteX35" fmla="*/ 3594284 w 3892734"/>
              <a:gd name="connsiteY35" fmla="*/ 412750 h 2286441"/>
              <a:gd name="connsiteX36" fmla="*/ 3714934 w 3892734"/>
              <a:gd name="connsiteY36" fmla="*/ 406400 h 2286441"/>
              <a:gd name="connsiteX37" fmla="*/ 3892734 w 3892734"/>
              <a:gd name="connsiteY37" fmla="*/ 412750 h 2286441"/>
              <a:gd name="connsiteX38" fmla="*/ 3892734 w 3892734"/>
              <a:gd name="connsiteY38" fmla="*/ 755650 h 2286441"/>
              <a:gd name="connsiteX39" fmla="*/ 3708584 w 3892734"/>
              <a:gd name="connsiteY39" fmla="*/ 958850 h 2286441"/>
              <a:gd name="connsiteX40" fmla="*/ 3611747 w 3892734"/>
              <a:gd name="connsiteY40" fmla="*/ 1039839 h 2286441"/>
              <a:gd name="connsiteX41" fmla="*/ 3479984 w 3892734"/>
              <a:gd name="connsiteY41" fmla="*/ 1124086 h 2286441"/>
              <a:gd name="connsiteX42" fmla="*/ 3340284 w 3892734"/>
              <a:gd name="connsiteY42" fmla="*/ 1155700 h 2286441"/>
              <a:gd name="connsiteX43" fmla="*/ 3219634 w 3892734"/>
              <a:gd name="connsiteY43" fmla="*/ 1181100 h 2286441"/>
              <a:gd name="connsiteX44" fmla="*/ 3135496 w 3892734"/>
              <a:gd name="connsiteY44" fmla="*/ 1299916 h 2286441"/>
              <a:gd name="connsiteX45" fmla="*/ 2991034 w 3892734"/>
              <a:gd name="connsiteY45" fmla="*/ 1601049 h 2286441"/>
              <a:gd name="connsiteX46" fmla="*/ 2846571 w 3892734"/>
              <a:gd name="connsiteY46" fmla="*/ 1861399 h 2286441"/>
              <a:gd name="connsiteX47" fmla="*/ 2667184 w 3892734"/>
              <a:gd name="connsiteY47" fmla="*/ 2145316 h 2286441"/>
              <a:gd name="connsiteX48" fmla="*/ 2587809 w 3892734"/>
              <a:gd name="connsiteY48" fmla="*/ 2206268 h 2286441"/>
              <a:gd name="connsiteX49" fmla="*/ 2484621 w 3892734"/>
              <a:gd name="connsiteY49" fmla="*/ 2281349 h 2286441"/>
              <a:gd name="connsiteX50" fmla="*/ 2248084 w 3892734"/>
              <a:gd name="connsiteY50" fmla="*/ 2286441 h 2286441"/>
              <a:gd name="connsiteX51" fmla="*/ 2036946 w 3892734"/>
              <a:gd name="connsiteY51" fmla="*/ 2106231 h 2286441"/>
              <a:gd name="connsiteX52" fmla="*/ 1908359 w 3892734"/>
              <a:gd name="connsiteY52" fmla="*/ 1872537 h 2286441"/>
              <a:gd name="connsiteX53" fmla="*/ 1832158 w 3892734"/>
              <a:gd name="connsiteY53" fmla="*/ 1747371 h 2286441"/>
              <a:gd name="connsiteX54" fmla="*/ 1719447 w 3892734"/>
              <a:gd name="connsiteY54" fmla="*/ 1606380 h 2286441"/>
              <a:gd name="connsiteX55" fmla="*/ 1578160 w 3892734"/>
              <a:gd name="connsiteY55" fmla="*/ 1426137 h 2286441"/>
              <a:gd name="connsiteX56" fmla="*/ 1433697 w 3892734"/>
              <a:gd name="connsiteY56" fmla="*/ 1317171 h 2286441"/>
              <a:gd name="connsiteX57" fmla="*/ 1101909 w 3892734"/>
              <a:gd name="connsiteY57" fmla="*/ 1573782 h 2286441"/>
              <a:gd name="connsiteX58" fmla="*/ 895535 w 3892734"/>
              <a:gd name="connsiteY58" fmla="*/ 1609913 h 2286441"/>
              <a:gd name="connsiteX59" fmla="*/ 781234 w 3892734"/>
              <a:gd name="connsiteY59" fmla="*/ 1591782 h 2286441"/>
              <a:gd name="connsiteX60" fmla="*/ 538346 w 3892734"/>
              <a:gd name="connsiteY60" fmla="*/ 1642309 h 2286441"/>
              <a:gd name="connsiteX61" fmla="*/ 397059 w 3892734"/>
              <a:gd name="connsiteY61" fmla="*/ 1620170 h 2286441"/>
              <a:gd name="connsiteX62" fmla="*/ 12884 w 3892734"/>
              <a:gd name="connsiteY62" fmla="*/ 1221921 h 2286441"/>
              <a:gd name="connsiteX63" fmla="*/ 184 w 3892734"/>
              <a:gd name="connsiteY63" fmla="*/ 0 h 2286441"/>
              <a:gd name="connsiteX0" fmla="*/ 184 w 3892734"/>
              <a:gd name="connsiteY0" fmla="*/ 0 h 2286441"/>
              <a:gd name="connsiteX1" fmla="*/ 266884 w 3892734"/>
              <a:gd name="connsiteY1" fmla="*/ 1162050 h 2286441"/>
              <a:gd name="connsiteX2" fmla="*/ 322447 w 3892734"/>
              <a:gd name="connsiteY2" fmla="*/ 1258421 h 2286441"/>
              <a:gd name="connsiteX3" fmla="*/ 376422 w 3892734"/>
              <a:gd name="connsiteY3" fmla="*/ 1353535 h 2286441"/>
              <a:gd name="connsiteX4" fmla="*/ 412934 w 3892734"/>
              <a:gd name="connsiteY4" fmla="*/ 1314450 h 2286441"/>
              <a:gd name="connsiteX5" fmla="*/ 514534 w 3892734"/>
              <a:gd name="connsiteY5" fmla="*/ 996950 h 2286441"/>
              <a:gd name="connsiteX6" fmla="*/ 584384 w 3892734"/>
              <a:gd name="connsiteY6" fmla="*/ 641350 h 2286441"/>
              <a:gd name="connsiteX7" fmla="*/ 641534 w 3892734"/>
              <a:gd name="connsiteY7" fmla="*/ 444500 h 2286441"/>
              <a:gd name="connsiteX8" fmla="*/ 692334 w 3892734"/>
              <a:gd name="connsiteY8" fmla="*/ 330200 h 2286441"/>
              <a:gd name="connsiteX9" fmla="*/ 724084 w 3892734"/>
              <a:gd name="connsiteY9" fmla="*/ 279400 h 2286441"/>
              <a:gd name="connsiteX10" fmla="*/ 806634 w 3892734"/>
              <a:gd name="connsiteY10" fmla="*/ 334581 h 2286441"/>
              <a:gd name="connsiteX11" fmla="*/ 941571 w 3892734"/>
              <a:gd name="connsiteY11" fmla="*/ 603691 h 2286441"/>
              <a:gd name="connsiteX12" fmla="*/ 992372 w 3892734"/>
              <a:gd name="connsiteY12" fmla="*/ 744240 h 2286441"/>
              <a:gd name="connsiteX13" fmla="*/ 1093972 w 3892734"/>
              <a:gd name="connsiteY13" fmla="*/ 842884 h 2286441"/>
              <a:gd name="connsiteX14" fmla="*/ 1198746 w 3892734"/>
              <a:gd name="connsiteY14" fmla="*/ 780371 h 2286441"/>
              <a:gd name="connsiteX15" fmla="*/ 1297171 w 3892734"/>
              <a:gd name="connsiteY15" fmla="*/ 635305 h 2286441"/>
              <a:gd name="connsiteX16" fmla="*/ 1400358 w 3892734"/>
              <a:gd name="connsiteY16" fmla="*/ 547695 h 2286441"/>
              <a:gd name="connsiteX17" fmla="*/ 1486084 w 3892734"/>
              <a:gd name="connsiteY17" fmla="*/ 564606 h 2286441"/>
              <a:gd name="connsiteX18" fmla="*/ 1565459 w 3892734"/>
              <a:gd name="connsiteY18" fmla="*/ 681148 h 2286441"/>
              <a:gd name="connsiteX19" fmla="*/ 1771834 w 3892734"/>
              <a:gd name="connsiteY19" fmla="*/ 1080350 h 2286441"/>
              <a:gd name="connsiteX20" fmla="*/ 1892483 w 3892734"/>
              <a:gd name="connsiteY20" fmla="*/ 1258014 h 2286441"/>
              <a:gd name="connsiteX21" fmla="*/ 2082985 w 3892734"/>
              <a:gd name="connsiteY21" fmla="*/ 1530247 h 2286441"/>
              <a:gd name="connsiteX22" fmla="*/ 2281422 w 3892734"/>
              <a:gd name="connsiteY22" fmla="*/ 1299781 h 2286441"/>
              <a:gd name="connsiteX23" fmla="*/ 2349684 w 3892734"/>
              <a:gd name="connsiteY23" fmla="*/ 1150336 h 2286441"/>
              <a:gd name="connsiteX24" fmla="*/ 2425884 w 3892734"/>
              <a:gd name="connsiteY24" fmla="*/ 925978 h 2286441"/>
              <a:gd name="connsiteX25" fmla="*/ 2519546 w 3892734"/>
              <a:gd name="connsiteY25" fmla="*/ 862207 h 2286441"/>
              <a:gd name="connsiteX26" fmla="*/ 2637021 w 3892734"/>
              <a:gd name="connsiteY26" fmla="*/ 872088 h 2286441"/>
              <a:gd name="connsiteX27" fmla="*/ 2654484 w 3892734"/>
              <a:gd name="connsiteY27" fmla="*/ 781050 h 2286441"/>
              <a:gd name="connsiteX28" fmla="*/ 2756084 w 3892734"/>
              <a:gd name="connsiteY28" fmla="*/ 838200 h 2286441"/>
              <a:gd name="connsiteX29" fmla="*/ 2851334 w 3892734"/>
              <a:gd name="connsiteY29" fmla="*/ 901700 h 2286441"/>
              <a:gd name="connsiteX30" fmla="*/ 2997384 w 3892734"/>
              <a:gd name="connsiteY30" fmla="*/ 920750 h 2286441"/>
              <a:gd name="connsiteX31" fmla="*/ 3175184 w 3892734"/>
              <a:gd name="connsiteY31" fmla="*/ 895350 h 2286441"/>
              <a:gd name="connsiteX32" fmla="*/ 3295834 w 3892734"/>
              <a:gd name="connsiteY32" fmla="*/ 774700 h 2286441"/>
              <a:gd name="connsiteX33" fmla="*/ 3391084 w 3892734"/>
              <a:gd name="connsiteY33" fmla="*/ 628650 h 2286441"/>
              <a:gd name="connsiteX34" fmla="*/ 3486334 w 3892734"/>
              <a:gd name="connsiteY34" fmla="*/ 495300 h 2286441"/>
              <a:gd name="connsiteX35" fmla="*/ 3594284 w 3892734"/>
              <a:gd name="connsiteY35" fmla="*/ 412750 h 2286441"/>
              <a:gd name="connsiteX36" fmla="*/ 3714934 w 3892734"/>
              <a:gd name="connsiteY36" fmla="*/ 406400 h 2286441"/>
              <a:gd name="connsiteX37" fmla="*/ 3892734 w 3892734"/>
              <a:gd name="connsiteY37" fmla="*/ 412750 h 2286441"/>
              <a:gd name="connsiteX38" fmla="*/ 3892734 w 3892734"/>
              <a:gd name="connsiteY38" fmla="*/ 755650 h 2286441"/>
              <a:gd name="connsiteX39" fmla="*/ 3708584 w 3892734"/>
              <a:gd name="connsiteY39" fmla="*/ 958850 h 2286441"/>
              <a:gd name="connsiteX40" fmla="*/ 3611747 w 3892734"/>
              <a:gd name="connsiteY40" fmla="*/ 1039839 h 2286441"/>
              <a:gd name="connsiteX41" fmla="*/ 3479984 w 3892734"/>
              <a:gd name="connsiteY41" fmla="*/ 1124086 h 2286441"/>
              <a:gd name="connsiteX42" fmla="*/ 3340284 w 3892734"/>
              <a:gd name="connsiteY42" fmla="*/ 1155700 h 2286441"/>
              <a:gd name="connsiteX43" fmla="*/ 3219634 w 3892734"/>
              <a:gd name="connsiteY43" fmla="*/ 1181100 h 2286441"/>
              <a:gd name="connsiteX44" fmla="*/ 3135496 w 3892734"/>
              <a:gd name="connsiteY44" fmla="*/ 1299916 h 2286441"/>
              <a:gd name="connsiteX45" fmla="*/ 2991034 w 3892734"/>
              <a:gd name="connsiteY45" fmla="*/ 1601049 h 2286441"/>
              <a:gd name="connsiteX46" fmla="*/ 2846571 w 3892734"/>
              <a:gd name="connsiteY46" fmla="*/ 1861399 h 2286441"/>
              <a:gd name="connsiteX47" fmla="*/ 2667184 w 3892734"/>
              <a:gd name="connsiteY47" fmla="*/ 2145316 h 2286441"/>
              <a:gd name="connsiteX48" fmla="*/ 2587809 w 3892734"/>
              <a:gd name="connsiteY48" fmla="*/ 2206268 h 2286441"/>
              <a:gd name="connsiteX49" fmla="*/ 2484621 w 3892734"/>
              <a:gd name="connsiteY49" fmla="*/ 2281349 h 2286441"/>
              <a:gd name="connsiteX50" fmla="*/ 2248084 w 3892734"/>
              <a:gd name="connsiteY50" fmla="*/ 2286441 h 2286441"/>
              <a:gd name="connsiteX51" fmla="*/ 2036946 w 3892734"/>
              <a:gd name="connsiteY51" fmla="*/ 2106231 h 2286441"/>
              <a:gd name="connsiteX52" fmla="*/ 1908359 w 3892734"/>
              <a:gd name="connsiteY52" fmla="*/ 1872537 h 2286441"/>
              <a:gd name="connsiteX53" fmla="*/ 1832158 w 3892734"/>
              <a:gd name="connsiteY53" fmla="*/ 1747371 h 2286441"/>
              <a:gd name="connsiteX54" fmla="*/ 1719447 w 3892734"/>
              <a:gd name="connsiteY54" fmla="*/ 1606380 h 2286441"/>
              <a:gd name="connsiteX55" fmla="*/ 1578160 w 3892734"/>
              <a:gd name="connsiteY55" fmla="*/ 1426137 h 2286441"/>
              <a:gd name="connsiteX56" fmla="*/ 1433697 w 3892734"/>
              <a:gd name="connsiteY56" fmla="*/ 1317171 h 2286441"/>
              <a:gd name="connsiteX57" fmla="*/ 1101909 w 3892734"/>
              <a:gd name="connsiteY57" fmla="*/ 1573782 h 2286441"/>
              <a:gd name="connsiteX58" fmla="*/ 895535 w 3892734"/>
              <a:gd name="connsiteY58" fmla="*/ 1609913 h 2286441"/>
              <a:gd name="connsiteX59" fmla="*/ 781234 w 3892734"/>
              <a:gd name="connsiteY59" fmla="*/ 1591782 h 2286441"/>
              <a:gd name="connsiteX60" fmla="*/ 538346 w 3892734"/>
              <a:gd name="connsiteY60" fmla="*/ 1642309 h 2286441"/>
              <a:gd name="connsiteX61" fmla="*/ 397059 w 3892734"/>
              <a:gd name="connsiteY61" fmla="*/ 1620170 h 2286441"/>
              <a:gd name="connsiteX62" fmla="*/ 12884 w 3892734"/>
              <a:gd name="connsiteY62" fmla="*/ 1221921 h 2286441"/>
              <a:gd name="connsiteX63" fmla="*/ 184 w 3892734"/>
              <a:gd name="connsiteY63" fmla="*/ 0 h 2286441"/>
              <a:gd name="connsiteX0" fmla="*/ 184 w 3892734"/>
              <a:gd name="connsiteY0" fmla="*/ 0 h 2286441"/>
              <a:gd name="connsiteX1" fmla="*/ 266884 w 3892734"/>
              <a:gd name="connsiteY1" fmla="*/ 1162050 h 2286441"/>
              <a:gd name="connsiteX2" fmla="*/ 322447 w 3892734"/>
              <a:gd name="connsiteY2" fmla="*/ 1258421 h 2286441"/>
              <a:gd name="connsiteX3" fmla="*/ 376422 w 3892734"/>
              <a:gd name="connsiteY3" fmla="*/ 1353535 h 2286441"/>
              <a:gd name="connsiteX4" fmla="*/ 412934 w 3892734"/>
              <a:gd name="connsiteY4" fmla="*/ 1314450 h 2286441"/>
              <a:gd name="connsiteX5" fmla="*/ 514534 w 3892734"/>
              <a:gd name="connsiteY5" fmla="*/ 996950 h 2286441"/>
              <a:gd name="connsiteX6" fmla="*/ 584384 w 3892734"/>
              <a:gd name="connsiteY6" fmla="*/ 641350 h 2286441"/>
              <a:gd name="connsiteX7" fmla="*/ 641534 w 3892734"/>
              <a:gd name="connsiteY7" fmla="*/ 444500 h 2286441"/>
              <a:gd name="connsiteX8" fmla="*/ 692334 w 3892734"/>
              <a:gd name="connsiteY8" fmla="*/ 330200 h 2286441"/>
              <a:gd name="connsiteX9" fmla="*/ 724084 w 3892734"/>
              <a:gd name="connsiteY9" fmla="*/ 279400 h 2286441"/>
              <a:gd name="connsiteX10" fmla="*/ 806634 w 3892734"/>
              <a:gd name="connsiteY10" fmla="*/ 334581 h 2286441"/>
              <a:gd name="connsiteX11" fmla="*/ 941571 w 3892734"/>
              <a:gd name="connsiteY11" fmla="*/ 603691 h 2286441"/>
              <a:gd name="connsiteX12" fmla="*/ 992372 w 3892734"/>
              <a:gd name="connsiteY12" fmla="*/ 744240 h 2286441"/>
              <a:gd name="connsiteX13" fmla="*/ 1093972 w 3892734"/>
              <a:gd name="connsiteY13" fmla="*/ 842884 h 2286441"/>
              <a:gd name="connsiteX14" fmla="*/ 1198746 w 3892734"/>
              <a:gd name="connsiteY14" fmla="*/ 780371 h 2286441"/>
              <a:gd name="connsiteX15" fmla="*/ 1297171 w 3892734"/>
              <a:gd name="connsiteY15" fmla="*/ 635305 h 2286441"/>
              <a:gd name="connsiteX16" fmla="*/ 1400358 w 3892734"/>
              <a:gd name="connsiteY16" fmla="*/ 547695 h 2286441"/>
              <a:gd name="connsiteX17" fmla="*/ 1486084 w 3892734"/>
              <a:gd name="connsiteY17" fmla="*/ 564606 h 2286441"/>
              <a:gd name="connsiteX18" fmla="*/ 1565459 w 3892734"/>
              <a:gd name="connsiteY18" fmla="*/ 681148 h 2286441"/>
              <a:gd name="connsiteX19" fmla="*/ 1771834 w 3892734"/>
              <a:gd name="connsiteY19" fmla="*/ 1080350 h 2286441"/>
              <a:gd name="connsiteX20" fmla="*/ 1892483 w 3892734"/>
              <a:gd name="connsiteY20" fmla="*/ 1258014 h 2286441"/>
              <a:gd name="connsiteX21" fmla="*/ 2082985 w 3892734"/>
              <a:gd name="connsiteY21" fmla="*/ 1530247 h 2286441"/>
              <a:gd name="connsiteX22" fmla="*/ 2281422 w 3892734"/>
              <a:gd name="connsiteY22" fmla="*/ 1299781 h 2286441"/>
              <a:gd name="connsiteX23" fmla="*/ 2349684 w 3892734"/>
              <a:gd name="connsiteY23" fmla="*/ 1150336 h 2286441"/>
              <a:gd name="connsiteX24" fmla="*/ 2425884 w 3892734"/>
              <a:gd name="connsiteY24" fmla="*/ 925978 h 2286441"/>
              <a:gd name="connsiteX25" fmla="*/ 2519546 w 3892734"/>
              <a:gd name="connsiteY25" fmla="*/ 862207 h 2286441"/>
              <a:gd name="connsiteX26" fmla="*/ 2637021 w 3892734"/>
              <a:gd name="connsiteY26" fmla="*/ 872088 h 2286441"/>
              <a:gd name="connsiteX27" fmla="*/ 2654484 w 3892734"/>
              <a:gd name="connsiteY27" fmla="*/ 781050 h 2286441"/>
              <a:gd name="connsiteX28" fmla="*/ 2756084 w 3892734"/>
              <a:gd name="connsiteY28" fmla="*/ 838200 h 2286441"/>
              <a:gd name="connsiteX29" fmla="*/ 2851334 w 3892734"/>
              <a:gd name="connsiteY29" fmla="*/ 901700 h 2286441"/>
              <a:gd name="connsiteX30" fmla="*/ 2997384 w 3892734"/>
              <a:gd name="connsiteY30" fmla="*/ 920750 h 2286441"/>
              <a:gd name="connsiteX31" fmla="*/ 3175184 w 3892734"/>
              <a:gd name="connsiteY31" fmla="*/ 895350 h 2286441"/>
              <a:gd name="connsiteX32" fmla="*/ 3295834 w 3892734"/>
              <a:gd name="connsiteY32" fmla="*/ 774700 h 2286441"/>
              <a:gd name="connsiteX33" fmla="*/ 3391084 w 3892734"/>
              <a:gd name="connsiteY33" fmla="*/ 628650 h 2286441"/>
              <a:gd name="connsiteX34" fmla="*/ 3486334 w 3892734"/>
              <a:gd name="connsiteY34" fmla="*/ 495300 h 2286441"/>
              <a:gd name="connsiteX35" fmla="*/ 3594284 w 3892734"/>
              <a:gd name="connsiteY35" fmla="*/ 412750 h 2286441"/>
              <a:gd name="connsiteX36" fmla="*/ 3714934 w 3892734"/>
              <a:gd name="connsiteY36" fmla="*/ 406400 h 2286441"/>
              <a:gd name="connsiteX37" fmla="*/ 3892734 w 3892734"/>
              <a:gd name="connsiteY37" fmla="*/ 412750 h 2286441"/>
              <a:gd name="connsiteX38" fmla="*/ 3892734 w 3892734"/>
              <a:gd name="connsiteY38" fmla="*/ 755650 h 2286441"/>
              <a:gd name="connsiteX39" fmla="*/ 3708584 w 3892734"/>
              <a:gd name="connsiteY39" fmla="*/ 958850 h 2286441"/>
              <a:gd name="connsiteX40" fmla="*/ 3611747 w 3892734"/>
              <a:gd name="connsiteY40" fmla="*/ 1039839 h 2286441"/>
              <a:gd name="connsiteX41" fmla="*/ 3479984 w 3892734"/>
              <a:gd name="connsiteY41" fmla="*/ 1124086 h 2286441"/>
              <a:gd name="connsiteX42" fmla="*/ 3340284 w 3892734"/>
              <a:gd name="connsiteY42" fmla="*/ 1155700 h 2286441"/>
              <a:gd name="connsiteX43" fmla="*/ 3219634 w 3892734"/>
              <a:gd name="connsiteY43" fmla="*/ 1181100 h 2286441"/>
              <a:gd name="connsiteX44" fmla="*/ 3135496 w 3892734"/>
              <a:gd name="connsiteY44" fmla="*/ 1299916 h 2286441"/>
              <a:gd name="connsiteX45" fmla="*/ 2991034 w 3892734"/>
              <a:gd name="connsiteY45" fmla="*/ 1601049 h 2286441"/>
              <a:gd name="connsiteX46" fmla="*/ 2846571 w 3892734"/>
              <a:gd name="connsiteY46" fmla="*/ 1861399 h 2286441"/>
              <a:gd name="connsiteX47" fmla="*/ 2667184 w 3892734"/>
              <a:gd name="connsiteY47" fmla="*/ 2145316 h 2286441"/>
              <a:gd name="connsiteX48" fmla="*/ 2587809 w 3892734"/>
              <a:gd name="connsiteY48" fmla="*/ 2206268 h 2286441"/>
              <a:gd name="connsiteX49" fmla="*/ 2484621 w 3892734"/>
              <a:gd name="connsiteY49" fmla="*/ 2281349 h 2286441"/>
              <a:gd name="connsiteX50" fmla="*/ 2248084 w 3892734"/>
              <a:gd name="connsiteY50" fmla="*/ 2286441 h 2286441"/>
              <a:gd name="connsiteX51" fmla="*/ 2036946 w 3892734"/>
              <a:gd name="connsiteY51" fmla="*/ 2106231 h 2286441"/>
              <a:gd name="connsiteX52" fmla="*/ 1908359 w 3892734"/>
              <a:gd name="connsiteY52" fmla="*/ 1872537 h 2286441"/>
              <a:gd name="connsiteX53" fmla="*/ 1832158 w 3892734"/>
              <a:gd name="connsiteY53" fmla="*/ 1747371 h 2286441"/>
              <a:gd name="connsiteX54" fmla="*/ 1719447 w 3892734"/>
              <a:gd name="connsiteY54" fmla="*/ 1606380 h 2286441"/>
              <a:gd name="connsiteX55" fmla="*/ 1578160 w 3892734"/>
              <a:gd name="connsiteY55" fmla="*/ 1426137 h 2286441"/>
              <a:gd name="connsiteX56" fmla="*/ 1381309 w 3892734"/>
              <a:gd name="connsiteY56" fmla="*/ 1344268 h 2286441"/>
              <a:gd name="connsiteX57" fmla="*/ 1101909 w 3892734"/>
              <a:gd name="connsiteY57" fmla="*/ 1573782 h 2286441"/>
              <a:gd name="connsiteX58" fmla="*/ 895535 w 3892734"/>
              <a:gd name="connsiteY58" fmla="*/ 1609913 h 2286441"/>
              <a:gd name="connsiteX59" fmla="*/ 781234 w 3892734"/>
              <a:gd name="connsiteY59" fmla="*/ 1591782 h 2286441"/>
              <a:gd name="connsiteX60" fmla="*/ 538346 w 3892734"/>
              <a:gd name="connsiteY60" fmla="*/ 1642309 h 2286441"/>
              <a:gd name="connsiteX61" fmla="*/ 397059 w 3892734"/>
              <a:gd name="connsiteY61" fmla="*/ 1620170 h 2286441"/>
              <a:gd name="connsiteX62" fmla="*/ 12884 w 3892734"/>
              <a:gd name="connsiteY62" fmla="*/ 1221921 h 2286441"/>
              <a:gd name="connsiteX63" fmla="*/ 184 w 3892734"/>
              <a:gd name="connsiteY63" fmla="*/ 0 h 2286441"/>
              <a:gd name="connsiteX0" fmla="*/ 184 w 3892734"/>
              <a:gd name="connsiteY0" fmla="*/ 0 h 2286441"/>
              <a:gd name="connsiteX1" fmla="*/ 266884 w 3892734"/>
              <a:gd name="connsiteY1" fmla="*/ 1162050 h 2286441"/>
              <a:gd name="connsiteX2" fmla="*/ 322447 w 3892734"/>
              <a:gd name="connsiteY2" fmla="*/ 1258421 h 2286441"/>
              <a:gd name="connsiteX3" fmla="*/ 376422 w 3892734"/>
              <a:gd name="connsiteY3" fmla="*/ 1353535 h 2286441"/>
              <a:gd name="connsiteX4" fmla="*/ 412934 w 3892734"/>
              <a:gd name="connsiteY4" fmla="*/ 1314450 h 2286441"/>
              <a:gd name="connsiteX5" fmla="*/ 514534 w 3892734"/>
              <a:gd name="connsiteY5" fmla="*/ 996950 h 2286441"/>
              <a:gd name="connsiteX6" fmla="*/ 584384 w 3892734"/>
              <a:gd name="connsiteY6" fmla="*/ 641350 h 2286441"/>
              <a:gd name="connsiteX7" fmla="*/ 641534 w 3892734"/>
              <a:gd name="connsiteY7" fmla="*/ 444500 h 2286441"/>
              <a:gd name="connsiteX8" fmla="*/ 692334 w 3892734"/>
              <a:gd name="connsiteY8" fmla="*/ 330200 h 2286441"/>
              <a:gd name="connsiteX9" fmla="*/ 724084 w 3892734"/>
              <a:gd name="connsiteY9" fmla="*/ 279400 h 2286441"/>
              <a:gd name="connsiteX10" fmla="*/ 806634 w 3892734"/>
              <a:gd name="connsiteY10" fmla="*/ 334581 h 2286441"/>
              <a:gd name="connsiteX11" fmla="*/ 941571 w 3892734"/>
              <a:gd name="connsiteY11" fmla="*/ 603691 h 2286441"/>
              <a:gd name="connsiteX12" fmla="*/ 992372 w 3892734"/>
              <a:gd name="connsiteY12" fmla="*/ 744240 h 2286441"/>
              <a:gd name="connsiteX13" fmla="*/ 1093972 w 3892734"/>
              <a:gd name="connsiteY13" fmla="*/ 842884 h 2286441"/>
              <a:gd name="connsiteX14" fmla="*/ 1198746 w 3892734"/>
              <a:gd name="connsiteY14" fmla="*/ 780371 h 2286441"/>
              <a:gd name="connsiteX15" fmla="*/ 1297171 w 3892734"/>
              <a:gd name="connsiteY15" fmla="*/ 635305 h 2286441"/>
              <a:gd name="connsiteX16" fmla="*/ 1400358 w 3892734"/>
              <a:gd name="connsiteY16" fmla="*/ 547695 h 2286441"/>
              <a:gd name="connsiteX17" fmla="*/ 1486084 w 3892734"/>
              <a:gd name="connsiteY17" fmla="*/ 564606 h 2286441"/>
              <a:gd name="connsiteX18" fmla="*/ 1565459 w 3892734"/>
              <a:gd name="connsiteY18" fmla="*/ 681148 h 2286441"/>
              <a:gd name="connsiteX19" fmla="*/ 1771834 w 3892734"/>
              <a:gd name="connsiteY19" fmla="*/ 1080350 h 2286441"/>
              <a:gd name="connsiteX20" fmla="*/ 1892483 w 3892734"/>
              <a:gd name="connsiteY20" fmla="*/ 1258014 h 2286441"/>
              <a:gd name="connsiteX21" fmla="*/ 2082985 w 3892734"/>
              <a:gd name="connsiteY21" fmla="*/ 1530247 h 2286441"/>
              <a:gd name="connsiteX22" fmla="*/ 2281422 w 3892734"/>
              <a:gd name="connsiteY22" fmla="*/ 1299781 h 2286441"/>
              <a:gd name="connsiteX23" fmla="*/ 2349684 w 3892734"/>
              <a:gd name="connsiteY23" fmla="*/ 1150336 h 2286441"/>
              <a:gd name="connsiteX24" fmla="*/ 2425884 w 3892734"/>
              <a:gd name="connsiteY24" fmla="*/ 925978 h 2286441"/>
              <a:gd name="connsiteX25" fmla="*/ 2519546 w 3892734"/>
              <a:gd name="connsiteY25" fmla="*/ 862207 h 2286441"/>
              <a:gd name="connsiteX26" fmla="*/ 2637021 w 3892734"/>
              <a:gd name="connsiteY26" fmla="*/ 872088 h 2286441"/>
              <a:gd name="connsiteX27" fmla="*/ 2654484 w 3892734"/>
              <a:gd name="connsiteY27" fmla="*/ 781050 h 2286441"/>
              <a:gd name="connsiteX28" fmla="*/ 2756084 w 3892734"/>
              <a:gd name="connsiteY28" fmla="*/ 838200 h 2286441"/>
              <a:gd name="connsiteX29" fmla="*/ 2851334 w 3892734"/>
              <a:gd name="connsiteY29" fmla="*/ 901700 h 2286441"/>
              <a:gd name="connsiteX30" fmla="*/ 2997384 w 3892734"/>
              <a:gd name="connsiteY30" fmla="*/ 920750 h 2286441"/>
              <a:gd name="connsiteX31" fmla="*/ 3175184 w 3892734"/>
              <a:gd name="connsiteY31" fmla="*/ 895350 h 2286441"/>
              <a:gd name="connsiteX32" fmla="*/ 3295834 w 3892734"/>
              <a:gd name="connsiteY32" fmla="*/ 774700 h 2286441"/>
              <a:gd name="connsiteX33" fmla="*/ 3391084 w 3892734"/>
              <a:gd name="connsiteY33" fmla="*/ 628650 h 2286441"/>
              <a:gd name="connsiteX34" fmla="*/ 3486334 w 3892734"/>
              <a:gd name="connsiteY34" fmla="*/ 495300 h 2286441"/>
              <a:gd name="connsiteX35" fmla="*/ 3594284 w 3892734"/>
              <a:gd name="connsiteY35" fmla="*/ 412750 h 2286441"/>
              <a:gd name="connsiteX36" fmla="*/ 3714934 w 3892734"/>
              <a:gd name="connsiteY36" fmla="*/ 406400 h 2286441"/>
              <a:gd name="connsiteX37" fmla="*/ 3892734 w 3892734"/>
              <a:gd name="connsiteY37" fmla="*/ 412750 h 2286441"/>
              <a:gd name="connsiteX38" fmla="*/ 3892734 w 3892734"/>
              <a:gd name="connsiteY38" fmla="*/ 755650 h 2286441"/>
              <a:gd name="connsiteX39" fmla="*/ 3708584 w 3892734"/>
              <a:gd name="connsiteY39" fmla="*/ 958850 h 2286441"/>
              <a:gd name="connsiteX40" fmla="*/ 3611747 w 3892734"/>
              <a:gd name="connsiteY40" fmla="*/ 1039839 h 2286441"/>
              <a:gd name="connsiteX41" fmla="*/ 3479984 w 3892734"/>
              <a:gd name="connsiteY41" fmla="*/ 1124086 h 2286441"/>
              <a:gd name="connsiteX42" fmla="*/ 3340284 w 3892734"/>
              <a:gd name="connsiteY42" fmla="*/ 1155700 h 2286441"/>
              <a:gd name="connsiteX43" fmla="*/ 3219634 w 3892734"/>
              <a:gd name="connsiteY43" fmla="*/ 1181100 h 2286441"/>
              <a:gd name="connsiteX44" fmla="*/ 3135496 w 3892734"/>
              <a:gd name="connsiteY44" fmla="*/ 1299916 h 2286441"/>
              <a:gd name="connsiteX45" fmla="*/ 2991034 w 3892734"/>
              <a:gd name="connsiteY45" fmla="*/ 1601049 h 2286441"/>
              <a:gd name="connsiteX46" fmla="*/ 2846571 w 3892734"/>
              <a:gd name="connsiteY46" fmla="*/ 1861399 h 2286441"/>
              <a:gd name="connsiteX47" fmla="*/ 2667184 w 3892734"/>
              <a:gd name="connsiteY47" fmla="*/ 2145316 h 2286441"/>
              <a:gd name="connsiteX48" fmla="*/ 2587809 w 3892734"/>
              <a:gd name="connsiteY48" fmla="*/ 2206268 h 2286441"/>
              <a:gd name="connsiteX49" fmla="*/ 2484621 w 3892734"/>
              <a:gd name="connsiteY49" fmla="*/ 2281349 h 2286441"/>
              <a:gd name="connsiteX50" fmla="*/ 2248084 w 3892734"/>
              <a:gd name="connsiteY50" fmla="*/ 2286441 h 2286441"/>
              <a:gd name="connsiteX51" fmla="*/ 2036946 w 3892734"/>
              <a:gd name="connsiteY51" fmla="*/ 2106231 h 2286441"/>
              <a:gd name="connsiteX52" fmla="*/ 1908359 w 3892734"/>
              <a:gd name="connsiteY52" fmla="*/ 1872537 h 2286441"/>
              <a:gd name="connsiteX53" fmla="*/ 1832158 w 3892734"/>
              <a:gd name="connsiteY53" fmla="*/ 1747371 h 2286441"/>
              <a:gd name="connsiteX54" fmla="*/ 1719447 w 3892734"/>
              <a:gd name="connsiteY54" fmla="*/ 1606380 h 2286441"/>
              <a:gd name="connsiteX55" fmla="*/ 1578160 w 3892734"/>
              <a:gd name="connsiteY55" fmla="*/ 1426137 h 2286441"/>
              <a:gd name="connsiteX56" fmla="*/ 1381309 w 3892734"/>
              <a:gd name="connsiteY56" fmla="*/ 1344268 h 2286441"/>
              <a:gd name="connsiteX57" fmla="*/ 1101909 w 3892734"/>
              <a:gd name="connsiteY57" fmla="*/ 1573782 h 2286441"/>
              <a:gd name="connsiteX58" fmla="*/ 895535 w 3892734"/>
              <a:gd name="connsiteY58" fmla="*/ 1609913 h 2286441"/>
              <a:gd name="connsiteX59" fmla="*/ 776471 w 3892734"/>
              <a:gd name="connsiteY59" fmla="*/ 1591782 h 2286441"/>
              <a:gd name="connsiteX60" fmla="*/ 538346 w 3892734"/>
              <a:gd name="connsiteY60" fmla="*/ 1642309 h 2286441"/>
              <a:gd name="connsiteX61" fmla="*/ 397059 w 3892734"/>
              <a:gd name="connsiteY61" fmla="*/ 1620170 h 2286441"/>
              <a:gd name="connsiteX62" fmla="*/ 12884 w 3892734"/>
              <a:gd name="connsiteY62" fmla="*/ 1221921 h 2286441"/>
              <a:gd name="connsiteX63" fmla="*/ 184 w 3892734"/>
              <a:gd name="connsiteY63" fmla="*/ 0 h 2286441"/>
              <a:gd name="connsiteX0" fmla="*/ 184 w 3892734"/>
              <a:gd name="connsiteY0" fmla="*/ 0 h 2286441"/>
              <a:gd name="connsiteX1" fmla="*/ 266884 w 3892734"/>
              <a:gd name="connsiteY1" fmla="*/ 1162050 h 2286441"/>
              <a:gd name="connsiteX2" fmla="*/ 322447 w 3892734"/>
              <a:gd name="connsiteY2" fmla="*/ 1258421 h 2286441"/>
              <a:gd name="connsiteX3" fmla="*/ 376422 w 3892734"/>
              <a:gd name="connsiteY3" fmla="*/ 1353535 h 2286441"/>
              <a:gd name="connsiteX4" fmla="*/ 412934 w 3892734"/>
              <a:gd name="connsiteY4" fmla="*/ 1314450 h 2286441"/>
              <a:gd name="connsiteX5" fmla="*/ 514534 w 3892734"/>
              <a:gd name="connsiteY5" fmla="*/ 996950 h 2286441"/>
              <a:gd name="connsiteX6" fmla="*/ 584384 w 3892734"/>
              <a:gd name="connsiteY6" fmla="*/ 641350 h 2286441"/>
              <a:gd name="connsiteX7" fmla="*/ 641534 w 3892734"/>
              <a:gd name="connsiteY7" fmla="*/ 444500 h 2286441"/>
              <a:gd name="connsiteX8" fmla="*/ 692334 w 3892734"/>
              <a:gd name="connsiteY8" fmla="*/ 330200 h 2286441"/>
              <a:gd name="connsiteX9" fmla="*/ 724084 w 3892734"/>
              <a:gd name="connsiteY9" fmla="*/ 279400 h 2286441"/>
              <a:gd name="connsiteX10" fmla="*/ 806634 w 3892734"/>
              <a:gd name="connsiteY10" fmla="*/ 334581 h 2286441"/>
              <a:gd name="connsiteX11" fmla="*/ 941571 w 3892734"/>
              <a:gd name="connsiteY11" fmla="*/ 603691 h 2286441"/>
              <a:gd name="connsiteX12" fmla="*/ 992372 w 3892734"/>
              <a:gd name="connsiteY12" fmla="*/ 744240 h 2286441"/>
              <a:gd name="connsiteX13" fmla="*/ 1093972 w 3892734"/>
              <a:gd name="connsiteY13" fmla="*/ 842884 h 2286441"/>
              <a:gd name="connsiteX14" fmla="*/ 1198746 w 3892734"/>
              <a:gd name="connsiteY14" fmla="*/ 780371 h 2286441"/>
              <a:gd name="connsiteX15" fmla="*/ 1297171 w 3892734"/>
              <a:gd name="connsiteY15" fmla="*/ 635305 h 2286441"/>
              <a:gd name="connsiteX16" fmla="*/ 1400358 w 3892734"/>
              <a:gd name="connsiteY16" fmla="*/ 547695 h 2286441"/>
              <a:gd name="connsiteX17" fmla="*/ 1486084 w 3892734"/>
              <a:gd name="connsiteY17" fmla="*/ 564606 h 2286441"/>
              <a:gd name="connsiteX18" fmla="*/ 1565459 w 3892734"/>
              <a:gd name="connsiteY18" fmla="*/ 681148 h 2286441"/>
              <a:gd name="connsiteX19" fmla="*/ 1771834 w 3892734"/>
              <a:gd name="connsiteY19" fmla="*/ 1080350 h 2286441"/>
              <a:gd name="connsiteX20" fmla="*/ 1892483 w 3892734"/>
              <a:gd name="connsiteY20" fmla="*/ 1258014 h 2286441"/>
              <a:gd name="connsiteX21" fmla="*/ 2082985 w 3892734"/>
              <a:gd name="connsiteY21" fmla="*/ 1530247 h 2286441"/>
              <a:gd name="connsiteX22" fmla="*/ 2281422 w 3892734"/>
              <a:gd name="connsiteY22" fmla="*/ 1299781 h 2286441"/>
              <a:gd name="connsiteX23" fmla="*/ 2349684 w 3892734"/>
              <a:gd name="connsiteY23" fmla="*/ 1150336 h 2286441"/>
              <a:gd name="connsiteX24" fmla="*/ 2425884 w 3892734"/>
              <a:gd name="connsiteY24" fmla="*/ 925978 h 2286441"/>
              <a:gd name="connsiteX25" fmla="*/ 2519546 w 3892734"/>
              <a:gd name="connsiteY25" fmla="*/ 862207 h 2286441"/>
              <a:gd name="connsiteX26" fmla="*/ 2613208 w 3892734"/>
              <a:gd name="connsiteY26" fmla="*/ 858540 h 2286441"/>
              <a:gd name="connsiteX27" fmla="*/ 2654484 w 3892734"/>
              <a:gd name="connsiteY27" fmla="*/ 781050 h 2286441"/>
              <a:gd name="connsiteX28" fmla="*/ 2756084 w 3892734"/>
              <a:gd name="connsiteY28" fmla="*/ 838200 h 2286441"/>
              <a:gd name="connsiteX29" fmla="*/ 2851334 w 3892734"/>
              <a:gd name="connsiteY29" fmla="*/ 901700 h 2286441"/>
              <a:gd name="connsiteX30" fmla="*/ 2997384 w 3892734"/>
              <a:gd name="connsiteY30" fmla="*/ 920750 h 2286441"/>
              <a:gd name="connsiteX31" fmla="*/ 3175184 w 3892734"/>
              <a:gd name="connsiteY31" fmla="*/ 895350 h 2286441"/>
              <a:gd name="connsiteX32" fmla="*/ 3295834 w 3892734"/>
              <a:gd name="connsiteY32" fmla="*/ 774700 h 2286441"/>
              <a:gd name="connsiteX33" fmla="*/ 3391084 w 3892734"/>
              <a:gd name="connsiteY33" fmla="*/ 628650 h 2286441"/>
              <a:gd name="connsiteX34" fmla="*/ 3486334 w 3892734"/>
              <a:gd name="connsiteY34" fmla="*/ 495300 h 2286441"/>
              <a:gd name="connsiteX35" fmla="*/ 3594284 w 3892734"/>
              <a:gd name="connsiteY35" fmla="*/ 412750 h 2286441"/>
              <a:gd name="connsiteX36" fmla="*/ 3714934 w 3892734"/>
              <a:gd name="connsiteY36" fmla="*/ 406400 h 2286441"/>
              <a:gd name="connsiteX37" fmla="*/ 3892734 w 3892734"/>
              <a:gd name="connsiteY37" fmla="*/ 412750 h 2286441"/>
              <a:gd name="connsiteX38" fmla="*/ 3892734 w 3892734"/>
              <a:gd name="connsiteY38" fmla="*/ 755650 h 2286441"/>
              <a:gd name="connsiteX39" fmla="*/ 3708584 w 3892734"/>
              <a:gd name="connsiteY39" fmla="*/ 958850 h 2286441"/>
              <a:gd name="connsiteX40" fmla="*/ 3611747 w 3892734"/>
              <a:gd name="connsiteY40" fmla="*/ 1039839 h 2286441"/>
              <a:gd name="connsiteX41" fmla="*/ 3479984 w 3892734"/>
              <a:gd name="connsiteY41" fmla="*/ 1124086 h 2286441"/>
              <a:gd name="connsiteX42" fmla="*/ 3340284 w 3892734"/>
              <a:gd name="connsiteY42" fmla="*/ 1155700 h 2286441"/>
              <a:gd name="connsiteX43" fmla="*/ 3219634 w 3892734"/>
              <a:gd name="connsiteY43" fmla="*/ 1181100 h 2286441"/>
              <a:gd name="connsiteX44" fmla="*/ 3135496 w 3892734"/>
              <a:gd name="connsiteY44" fmla="*/ 1299916 h 2286441"/>
              <a:gd name="connsiteX45" fmla="*/ 2991034 w 3892734"/>
              <a:gd name="connsiteY45" fmla="*/ 1601049 h 2286441"/>
              <a:gd name="connsiteX46" fmla="*/ 2846571 w 3892734"/>
              <a:gd name="connsiteY46" fmla="*/ 1861399 h 2286441"/>
              <a:gd name="connsiteX47" fmla="*/ 2667184 w 3892734"/>
              <a:gd name="connsiteY47" fmla="*/ 2145316 h 2286441"/>
              <a:gd name="connsiteX48" fmla="*/ 2587809 w 3892734"/>
              <a:gd name="connsiteY48" fmla="*/ 2206268 h 2286441"/>
              <a:gd name="connsiteX49" fmla="*/ 2484621 w 3892734"/>
              <a:gd name="connsiteY49" fmla="*/ 2281349 h 2286441"/>
              <a:gd name="connsiteX50" fmla="*/ 2248084 w 3892734"/>
              <a:gd name="connsiteY50" fmla="*/ 2286441 h 2286441"/>
              <a:gd name="connsiteX51" fmla="*/ 2036946 w 3892734"/>
              <a:gd name="connsiteY51" fmla="*/ 2106231 h 2286441"/>
              <a:gd name="connsiteX52" fmla="*/ 1908359 w 3892734"/>
              <a:gd name="connsiteY52" fmla="*/ 1872537 h 2286441"/>
              <a:gd name="connsiteX53" fmla="*/ 1832158 w 3892734"/>
              <a:gd name="connsiteY53" fmla="*/ 1747371 h 2286441"/>
              <a:gd name="connsiteX54" fmla="*/ 1719447 w 3892734"/>
              <a:gd name="connsiteY54" fmla="*/ 1606380 h 2286441"/>
              <a:gd name="connsiteX55" fmla="*/ 1578160 w 3892734"/>
              <a:gd name="connsiteY55" fmla="*/ 1426137 h 2286441"/>
              <a:gd name="connsiteX56" fmla="*/ 1381309 w 3892734"/>
              <a:gd name="connsiteY56" fmla="*/ 1344268 h 2286441"/>
              <a:gd name="connsiteX57" fmla="*/ 1101909 w 3892734"/>
              <a:gd name="connsiteY57" fmla="*/ 1573782 h 2286441"/>
              <a:gd name="connsiteX58" fmla="*/ 895535 w 3892734"/>
              <a:gd name="connsiteY58" fmla="*/ 1609913 h 2286441"/>
              <a:gd name="connsiteX59" fmla="*/ 776471 w 3892734"/>
              <a:gd name="connsiteY59" fmla="*/ 1591782 h 2286441"/>
              <a:gd name="connsiteX60" fmla="*/ 538346 w 3892734"/>
              <a:gd name="connsiteY60" fmla="*/ 1642309 h 2286441"/>
              <a:gd name="connsiteX61" fmla="*/ 397059 w 3892734"/>
              <a:gd name="connsiteY61" fmla="*/ 1620170 h 2286441"/>
              <a:gd name="connsiteX62" fmla="*/ 12884 w 3892734"/>
              <a:gd name="connsiteY62" fmla="*/ 1221921 h 2286441"/>
              <a:gd name="connsiteX63" fmla="*/ 184 w 3892734"/>
              <a:gd name="connsiteY63" fmla="*/ 0 h 2286441"/>
              <a:gd name="connsiteX0" fmla="*/ 184 w 3892734"/>
              <a:gd name="connsiteY0" fmla="*/ 0 h 2286441"/>
              <a:gd name="connsiteX1" fmla="*/ 266884 w 3892734"/>
              <a:gd name="connsiteY1" fmla="*/ 1162050 h 2286441"/>
              <a:gd name="connsiteX2" fmla="*/ 322447 w 3892734"/>
              <a:gd name="connsiteY2" fmla="*/ 1258421 h 2286441"/>
              <a:gd name="connsiteX3" fmla="*/ 376422 w 3892734"/>
              <a:gd name="connsiteY3" fmla="*/ 1353535 h 2286441"/>
              <a:gd name="connsiteX4" fmla="*/ 412934 w 3892734"/>
              <a:gd name="connsiteY4" fmla="*/ 1314450 h 2286441"/>
              <a:gd name="connsiteX5" fmla="*/ 514534 w 3892734"/>
              <a:gd name="connsiteY5" fmla="*/ 996950 h 2286441"/>
              <a:gd name="connsiteX6" fmla="*/ 584384 w 3892734"/>
              <a:gd name="connsiteY6" fmla="*/ 641350 h 2286441"/>
              <a:gd name="connsiteX7" fmla="*/ 641534 w 3892734"/>
              <a:gd name="connsiteY7" fmla="*/ 444500 h 2286441"/>
              <a:gd name="connsiteX8" fmla="*/ 692334 w 3892734"/>
              <a:gd name="connsiteY8" fmla="*/ 330200 h 2286441"/>
              <a:gd name="connsiteX9" fmla="*/ 724084 w 3892734"/>
              <a:gd name="connsiteY9" fmla="*/ 279400 h 2286441"/>
              <a:gd name="connsiteX10" fmla="*/ 806634 w 3892734"/>
              <a:gd name="connsiteY10" fmla="*/ 334581 h 2286441"/>
              <a:gd name="connsiteX11" fmla="*/ 941571 w 3892734"/>
              <a:gd name="connsiteY11" fmla="*/ 603691 h 2286441"/>
              <a:gd name="connsiteX12" fmla="*/ 992372 w 3892734"/>
              <a:gd name="connsiteY12" fmla="*/ 744240 h 2286441"/>
              <a:gd name="connsiteX13" fmla="*/ 1093972 w 3892734"/>
              <a:gd name="connsiteY13" fmla="*/ 842884 h 2286441"/>
              <a:gd name="connsiteX14" fmla="*/ 1198746 w 3892734"/>
              <a:gd name="connsiteY14" fmla="*/ 780371 h 2286441"/>
              <a:gd name="connsiteX15" fmla="*/ 1297171 w 3892734"/>
              <a:gd name="connsiteY15" fmla="*/ 635305 h 2286441"/>
              <a:gd name="connsiteX16" fmla="*/ 1400358 w 3892734"/>
              <a:gd name="connsiteY16" fmla="*/ 547695 h 2286441"/>
              <a:gd name="connsiteX17" fmla="*/ 1486084 w 3892734"/>
              <a:gd name="connsiteY17" fmla="*/ 564606 h 2286441"/>
              <a:gd name="connsiteX18" fmla="*/ 1565459 w 3892734"/>
              <a:gd name="connsiteY18" fmla="*/ 681148 h 2286441"/>
              <a:gd name="connsiteX19" fmla="*/ 1771834 w 3892734"/>
              <a:gd name="connsiteY19" fmla="*/ 1080350 h 2286441"/>
              <a:gd name="connsiteX20" fmla="*/ 1892483 w 3892734"/>
              <a:gd name="connsiteY20" fmla="*/ 1258014 h 2286441"/>
              <a:gd name="connsiteX21" fmla="*/ 2082985 w 3892734"/>
              <a:gd name="connsiteY21" fmla="*/ 1530247 h 2286441"/>
              <a:gd name="connsiteX22" fmla="*/ 2281422 w 3892734"/>
              <a:gd name="connsiteY22" fmla="*/ 1299781 h 2286441"/>
              <a:gd name="connsiteX23" fmla="*/ 2349684 w 3892734"/>
              <a:gd name="connsiteY23" fmla="*/ 1150336 h 2286441"/>
              <a:gd name="connsiteX24" fmla="*/ 2425884 w 3892734"/>
              <a:gd name="connsiteY24" fmla="*/ 925978 h 2286441"/>
              <a:gd name="connsiteX25" fmla="*/ 2519546 w 3892734"/>
              <a:gd name="connsiteY25" fmla="*/ 862207 h 2286441"/>
              <a:gd name="connsiteX26" fmla="*/ 2613208 w 3892734"/>
              <a:gd name="connsiteY26" fmla="*/ 858540 h 2286441"/>
              <a:gd name="connsiteX27" fmla="*/ 2721159 w 3892734"/>
              <a:gd name="connsiteY27" fmla="*/ 975250 h 2286441"/>
              <a:gd name="connsiteX28" fmla="*/ 2756084 w 3892734"/>
              <a:gd name="connsiteY28" fmla="*/ 838200 h 2286441"/>
              <a:gd name="connsiteX29" fmla="*/ 2851334 w 3892734"/>
              <a:gd name="connsiteY29" fmla="*/ 901700 h 2286441"/>
              <a:gd name="connsiteX30" fmla="*/ 2997384 w 3892734"/>
              <a:gd name="connsiteY30" fmla="*/ 920750 h 2286441"/>
              <a:gd name="connsiteX31" fmla="*/ 3175184 w 3892734"/>
              <a:gd name="connsiteY31" fmla="*/ 895350 h 2286441"/>
              <a:gd name="connsiteX32" fmla="*/ 3295834 w 3892734"/>
              <a:gd name="connsiteY32" fmla="*/ 774700 h 2286441"/>
              <a:gd name="connsiteX33" fmla="*/ 3391084 w 3892734"/>
              <a:gd name="connsiteY33" fmla="*/ 628650 h 2286441"/>
              <a:gd name="connsiteX34" fmla="*/ 3486334 w 3892734"/>
              <a:gd name="connsiteY34" fmla="*/ 495300 h 2286441"/>
              <a:gd name="connsiteX35" fmla="*/ 3594284 w 3892734"/>
              <a:gd name="connsiteY35" fmla="*/ 412750 h 2286441"/>
              <a:gd name="connsiteX36" fmla="*/ 3714934 w 3892734"/>
              <a:gd name="connsiteY36" fmla="*/ 406400 h 2286441"/>
              <a:gd name="connsiteX37" fmla="*/ 3892734 w 3892734"/>
              <a:gd name="connsiteY37" fmla="*/ 412750 h 2286441"/>
              <a:gd name="connsiteX38" fmla="*/ 3892734 w 3892734"/>
              <a:gd name="connsiteY38" fmla="*/ 755650 h 2286441"/>
              <a:gd name="connsiteX39" fmla="*/ 3708584 w 3892734"/>
              <a:gd name="connsiteY39" fmla="*/ 958850 h 2286441"/>
              <a:gd name="connsiteX40" fmla="*/ 3611747 w 3892734"/>
              <a:gd name="connsiteY40" fmla="*/ 1039839 h 2286441"/>
              <a:gd name="connsiteX41" fmla="*/ 3479984 w 3892734"/>
              <a:gd name="connsiteY41" fmla="*/ 1124086 h 2286441"/>
              <a:gd name="connsiteX42" fmla="*/ 3340284 w 3892734"/>
              <a:gd name="connsiteY42" fmla="*/ 1155700 h 2286441"/>
              <a:gd name="connsiteX43" fmla="*/ 3219634 w 3892734"/>
              <a:gd name="connsiteY43" fmla="*/ 1181100 h 2286441"/>
              <a:gd name="connsiteX44" fmla="*/ 3135496 w 3892734"/>
              <a:gd name="connsiteY44" fmla="*/ 1299916 h 2286441"/>
              <a:gd name="connsiteX45" fmla="*/ 2991034 w 3892734"/>
              <a:gd name="connsiteY45" fmla="*/ 1601049 h 2286441"/>
              <a:gd name="connsiteX46" fmla="*/ 2846571 w 3892734"/>
              <a:gd name="connsiteY46" fmla="*/ 1861399 h 2286441"/>
              <a:gd name="connsiteX47" fmla="*/ 2667184 w 3892734"/>
              <a:gd name="connsiteY47" fmla="*/ 2145316 h 2286441"/>
              <a:gd name="connsiteX48" fmla="*/ 2587809 w 3892734"/>
              <a:gd name="connsiteY48" fmla="*/ 2206268 h 2286441"/>
              <a:gd name="connsiteX49" fmla="*/ 2484621 w 3892734"/>
              <a:gd name="connsiteY49" fmla="*/ 2281349 h 2286441"/>
              <a:gd name="connsiteX50" fmla="*/ 2248084 w 3892734"/>
              <a:gd name="connsiteY50" fmla="*/ 2286441 h 2286441"/>
              <a:gd name="connsiteX51" fmla="*/ 2036946 w 3892734"/>
              <a:gd name="connsiteY51" fmla="*/ 2106231 h 2286441"/>
              <a:gd name="connsiteX52" fmla="*/ 1908359 w 3892734"/>
              <a:gd name="connsiteY52" fmla="*/ 1872537 h 2286441"/>
              <a:gd name="connsiteX53" fmla="*/ 1832158 w 3892734"/>
              <a:gd name="connsiteY53" fmla="*/ 1747371 h 2286441"/>
              <a:gd name="connsiteX54" fmla="*/ 1719447 w 3892734"/>
              <a:gd name="connsiteY54" fmla="*/ 1606380 h 2286441"/>
              <a:gd name="connsiteX55" fmla="*/ 1578160 w 3892734"/>
              <a:gd name="connsiteY55" fmla="*/ 1426137 h 2286441"/>
              <a:gd name="connsiteX56" fmla="*/ 1381309 w 3892734"/>
              <a:gd name="connsiteY56" fmla="*/ 1344268 h 2286441"/>
              <a:gd name="connsiteX57" fmla="*/ 1101909 w 3892734"/>
              <a:gd name="connsiteY57" fmla="*/ 1573782 h 2286441"/>
              <a:gd name="connsiteX58" fmla="*/ 895535 w 3892734"/>
              <a:gd name="connsiteY58" fmla="*/ 1609913 h 2286441"/>
              <a:gd name="connsiteX59" fmla="*/ 776471 w 3892734"/>
              <a:gd name="connsiteY59" fmla="*/ 1591782 h 2286441"/>
              <a:gd name="connsiteX60" fmla="*/ 538346 w 3892734"/>
              <a:gd name="connsiteY60" fmla="*/ 1642309 h 2286441"/>
              <a:gd name="connsiteX61" fmla="*/ 397059 w 3892734"/>
              <a:gd name="connsiteY61" fmla="*/ 1620170 h 2286441"/>
              <a:gd name="connsiteX62" fmla="*/ 12884 w 3892734"/>
              <a:gd name="connsiteY62" fmla="*/ 1221921 h 2286441"/>
              <a:gd name="connsiteX63" fmla="*/ 184 w 3892734"/>
              <a:gd name="connsiteY63" fmla="*/ 0 h 2286441"/>
              <a:gd name="connsiteX0" fmla="*/ 184 w 3892734"/>
              <a:gd name="connsiteY0" fmla="*/ 0 h 2286441"/>
              <a:gd name="connsiteX1" fmla="*/ 266884 w 3892734"/>
              <a:gd name="connsiteY1" fmla="*/ 1162050 h 2286441"/>
              <a:gd name="connsiteX2" fmla="*/ 322447 w 3892734"/>
              <a:gd name="connsiteY2" fmla="*/ 1258421 h 2286441"/>
              <a:gd name="connsiteX3" fmla="*/ 376422 w 3892734"/>
              <a:gd name="connsiteY3" fmla="*/ 1353535 h 2286441"/>
              <a:gd name="connsiteX4" fmla="*/ 412934 w 3892734"/>
              <a:gd name="connsiteY4" fmla="*/ 1314450 h 2286441"/>
              <a:gd name="connsiteX5" fmla="*/ 514534 w 3892734"/>
              <a:gd name="connsiteY5" fmla="*/ 996950 h 2286441"/>
              <a:gd name="connsiteX6" fmla="*/ 584384 w 3892734"/>
              <a:gd name="connsiteY6" fmla="*/ 641350 h 2286441"/>
              <a:gd name="connsiteX7" fmla="*/ 641534 w 3892734"/>
              <a:gd name="connsiteY7" fmla="*/ 444500 h 2286441"/>
              <a:gd name="connsiteX8" fmla="*/ 692334 w 3892734"/>
              <a:gd name="connsiteY8" fmla="*/ 330200 h 2286441"/>
              <a:gd name="connsiteX9" fmla="*/ 724084 w 3892734"/>
              <a:gd name="connsiteY9" fmla="*/ 279400 h 2286441"/>
              <a:gd name="connsiteX10" fmla="*/ 806634 w 3892734"/>
              <a:gd name="connsiteY10" fmla="*/ 334581 h 2286441"/>
              <a:gd name="connsiteX11" fmla="*/ 941571 w 3892734"/>
              <a:gd name="connsiteY11" fmla="*/ 603691 h 2286441"/>
              <a:gd name="connsiteX12" fmla="*/ 992372 w 3892734"/>
              <a:gd name="connsiteY12" fmla="*/ 744240 h 2286441"/>
              <a:gd name="connsiteX13" fmla="*/ 1093972 w 3892734"/>
              <a:gd name="connsiteY13" fmla="*/ 842884 h 2286441"/>
              <a:gd name="connsiteX14" fmla="*/ 1198746 w 3892734"/>
              <a:gd name="connsiteY14" fmla="*/ 780371 h 2286441"/>
              <a:gd name="connsiteX15" fmla="*/ 1297171 w 3892734"/>
              <a:gd name="connsiteY15" fmla="*/ 635305 h 2286441"/>
              <a:gd name="connsiteX16" fmla="*/ 1400358 w 3892734"/>
              <a:gd name="connsiteY16" fmla="*/ 547695 h 2286441"/>
              <a:gd name="connsiteX17" fmla="*/ 1486084 w 3892734"/>
              <a:gd name="connsiteY17" fmla="*/ 564606 h 2286441"/>
              <a:gd name="connsiteX18" fmla="*/ 1565459 w 3892734"/>
              <a:gd name="connsiteY18" fmla="*/ 681148 h 2286441"/>
              <a:gd name="connsiteX19" fmla="*/ 1771834 w 3892734"/>
              <a:gd name="connsiteY19" fmla="*/ 1080350 h 2286441"/>
              <a:gd name="connsiteX20" fmla="*/ 1892483 w 3892734"/>
              <a:gd name="connsiteY20" fmla="*/ 1258014 h 2286441"/>
              <a:gd name="connsiteX21" fmla="*/ 2082985 w 3892734"/>
              <a:gd name="connsiteY21" fmla="*/ 1530247 h 2286441"/>
              <a:gd name="connsiteX22" fmla="*/ 2281422 w 3892734"/>
              <a:gd name="connsiteY22" fmla="*/ 1299781 h 2286441"/>
              <a:gd name="connsiteX23" fmla="*/ 2349684 w 3892734"/>
              <a:gd name="connsiteY23" fmla="*/ 1150336 h 2286441"/>
              <a:gd name="connsiteX24" fmla="*/ 2425884 w 3892734"/>
              <a:gd name="connsiteY24" fmla="*/ 925978 h 2286441"/>
              <a:gd name="connsiteX25" fmla="*/ 2519546 w 3892734"/>
              <a:gd name="connsiteY25" fmla="*/ 862207 h 2286441"/>
              <a:gd name="connsiteX26" fmla="*/ 2613208 w 3892734"/>
              <a:gd name="connsiteY26" fmla="*/ 858540 h 2286441"/>
              <a:gd name="connsiteX27" fmla="*/ 2711634 w 3892734"/>
              <a:gd name="connsiteY27" fmla="*/ 907506 h 2286441"/>
              <a:gd name="connsiteX28" fmla="*/ 2756084 w 3892734"/>
              <a:gd name="connsiteY28" fmla="*/ 838200 h 2286441"/>
              <a:gd name="connsiteX29" fmla="*/ 2851334 w 3892734"/>
              <a:gd name="connsiteY29" fmla="*/ 901700 h 2286441"/>
              <a:gd name="connsiteX30" fmla="*/ 2997384 w 3892734"/>
              <a:gd name="connsiteY30" fmla="*/ 920750 h 2286441"/>
              <a:gd name="connsiteX31" fmla="*/ 3175184 w 3892734"/>
              <a:gd name="connsiteY31" fmla="*/ 895350 h 2286441"/>
              <a:gd name="connsiteX32" fmla="*/ 3295834 w 3892734"/>
              <a:gd name="connsiteY32" fmla="*/ 774700 h 2286441"/>
              <a:gd name="connsiteX33" fmla="*/ 3391084 w 3892734"/>
              <a:gd name="connsiteY33" fmla="*/ 628650 h 2286441"/>
              <a:gd name="connsiteX34" fmla="*/ 3486334 w 3892734"/>
              <a:gd name="connsiteY34" fmla="*/ 495300 h 2286441"/>
              <a:gd name="connsiteX35" fmla="*/ 3594284 w 3892734"/>
              <a:gd name="connsiteY35" fmla="*/ 412750 h 2286441"/>
              <a:gd name="connsiteX36" fmla="*/ 3714934 w 3892734"/>
              <a:gd name="connsiteY36" fmla="*/ 406400 h 2286441"/>
              <a:gd name="connsiteX37" fmla="*/ 3892734 w 3892734"/>
              <a:gd name="connsiteY37" fmla="*/ 412750 h 2286441"/>
              <a:gd name="connsiteX38" fmla="*/ 3892734 w 3892734"/>
              <a:gd name="connsiteY38" fmla="*/ 755650 h 2286441"/>
              <a:gd name="connsiteX39" fmla="*/ 3708584 w 3892734"/>
              <a:gd name="connsiteY39" fmla="*/ 958850 h 2286441"/>
              <a:gd name="connsiteX40" fmla="*/ 3611747 w 3892734"/>
              <a:gd name="connsiteY40" fmla="*/ 1039839 h 2286441"/>
              <a:gd name="connsiteX41" fmla="*/ 3479984 w 3892734"/>
              <a:gd name="connsiteY41" fmla="*/ 1124086 h 2286441"/>
              <a:gd name="connsiteX42" fmla="*/ 3340284 w 3892734"/>
              <a:gd name="connsiteY42" fmla="*/ 1155700 h 2286441"/>
              <a:gd name="connsiteX43" fmla="*/ 3219634 w 3892734"/>
              <a:gd name="connsiteY43" fmla="*/ 1181100 h 2286441"/>
              <a:gd name="connsiteX44" fmla="*/ 3135496 w 3892734"/>
              <a:gd name="connsiteY44" fmla="*/ 1299916 h 2286441"/>
              <a:gd name="connsiteX45" fmla="*/ 2991034 w 3892734"/>
              <a:gd name="connsiteY45" fmla="*/ 1601049 h 2286441"/>
              <a:gd name="connsiteX46" fmla="*/ 2846571 w 3892734"/>
              <a:gd name="connsiteY46" fmla="*/ 1861399 h 2286441"/>
              <a:gd name="connsiteX47" fmla="*/ 2667184 w 3892734"/>
              <a:gd name="connsiteY47" fmla="*/ 2145316 h 2286441"/>
              <a:gd name="connsiteX48" fmla="*/ 2587809 w 3892734"/>
              <a:gd name="connsiteY48" fmla="*/ 2206268 h 2286441"/>
              <a:gd name="connsiteX49" fmla="*/ 2484621 w 3892734"/>
              <a:gd name="connsiteY49" fmla="*/ 2281349 h 2286441"/>
              <a:gd name="connsiteX50" fmla="*/ 2248084 w 3892734"/>
              <a:gd name="connsiteY50" fmla="*/ 2286441 h 2286441"/>
              <a:gd name="connsiteX51" fmla="*/ 2036946 w 3892734"/>
              <a:gd name="connsiteY51" fmla="*/ 2106231 h 2286441"/>
              <a:gd name="connsiteX52" fmla="*/ 1908359 w 3892734"/>
              <a:gd name="connsiteY52" fmla="*/ 1872537 h 2286441"/>
              <a:gd name="connsiteX53" fmla="*/ 1832158 w 3892734"/>
              <a:gd name="connsiteY53" fmla="*/ 1747371 h 2286441"/>
              <a:gd name="connsiteX54" fmla="*/ 1719447 w 3892734"/>
              <a:gd name="connsiteY54" fmla="*/ 1606380 h 2286441"/>
              <a:gd name="connsiteX55" fmla="*/ 1578160 w 3892734"/>
              <a:gd name="connsiteY55" fmla="*/ 1426137 h 2286441"/>
              <a:gd name="connsiteX56" fmla="*/ 1381309 w 3892734"/>
              <a:gd name="connsiteY56" fmla="*/ 1344268 h 2286441"/>
              <a:gd name="connsiteX57" fmla="*/ 1101909 w 3892734"/>
              <a:gd name="connsiteY57" fmla="*/ 1573782 h 2286441"/>
              <a:gd name="connsiteX58" fmla="*/ 895535 w 3892734"/>
              <a:gd name="connsiteY58" fmla="*/ 1609913 h 2286441"/>
              <a:gd name="connsiteX59" fmla="*/ 776471 w 3892734"/>
              <a:gd name="connsiteY59" fmla="*/ 1591782 h 2286441"/>
              <a:gd name="connsiteX60" fmla="*/ 538346 w 3892734"/>
              <a:gd name="connsiteY60" fmla="*/ 1642309 h 2286441"/>
              <a:gd name="connsiteX61" fmla="*/ 397059 w 3892734"/>
              <a:gd name="connsiteY61" fmla="*/ 1620170 h 2286441"/>
              <a:gd name="connsiteX62" fmla="*/ 12884 w 3892734"/>
              <a:gd name="connsiteY62" fmla="*/ 1221921 h 2286441"/>
              <a:gd name="connsiteX63" fmla="*/ 184 w 3892734"/>
              <a:gd name="connsiteY63" fmla="*/ 0 h 2286441"/>
              <a:gd name="connsiteX0" fmla="*/ 184 w 3892734"/>
              <a:gd name="connsiteY0" fmla="*/ 0 h 2286441"/>
              <a:gd name="connsiteX1" fmla="*/ 266884 w 3892734"/>
              <a:gd name="connsiteY1" fmla="*/ 1162050 h 2286441"/>
              <a:gd name="connsiteX2" fmla="*/ 322447 w 3892734"/>
              <a:gd name="connsiteY2" fmla="*/ 1258421 h 2286441"/>
              <a:gd name="connsiteX3" fmla="*/ 376422 w 3892734"/>
              <a:gd name="connsiteY3" fmla="*/ 1353535 h 2286441"/>
              <a:gd name="connsiteX4" fmla="*/ 412934 w 3892734"/>
              <a:gd name="connsiteY4" fmla="*/ 1314450 h 2286441"/>
              <a:gd name="connsiteX5" fmla="*/ 514534 w 3892734"/>
              <a:gd name="connsiteY5" fmla="*/ 996950 h 2286441"/>
              <a:gd name="connsiteX6" fmla="*/ 584384 w 3892734"/>
              <a:gd name="connsiteY6" fmla="*/ 641350 h 2286441"/>
              <a:gd name="connsiteX7" fmla="*/ 641534 w 3892734"/>
              <a:gd name="connsiteY7" fmla="*/ 444500 h 2286441"/>
              <a:gd name="connsiteX8" fmla="*/ 692334 w 3892734"/>
              <a:gd name="connsiteY8" fmla="*/ 330200 h 2286441"/>
              <a:gd name="connsiteX9" fmla="*/ 724084 w 3892734"/>
              <a:gd name="connsiteY9" fmla="*/ 279400 h 2286441"/>
              <a:gd name="connsiteX10" fmla="*/ 806634 w 3892734"/>
              <a:gd name="connsiteY10" fmla="*/ 334581 h 2286441"/>
              <a:gd name="connsiteX11" fmla="*/ 941571 w 3892734"/>
              <a:gd name="connsiteY11" fmla="*/ 603691 h 2286441"/>
              <a:gd name="connsiteX12" fmla="*/ 992372 w 3892734"/>
              <a:gd name="connsiteY12" fmla="*/ 744240 h 2286441"/>
              <a:gd name="connsiteX13" fmla="*/ 1093972 w 3892734"/>
              <a:gd name="connsiteY13" fmla="*/ 842884 h 2286441"/>
              <a:gd name="connsiteX14" fmla="*/ 1198746 w 3892734"/>
              <a:gd name="connsiteY14" fmla="*/ 780371 h 2286441"/>
              <a:gd name="connsiteX15" fmla="*/ 1297171 w 3892734"/>
              <a:gd name="connsiteY15" fmla="*/ 635305 h 2286441"/>
              <a:gd name="connsiteX16" fmla="*/ 1400358 w 3892734"/>
              <a:gd name="connsiteY16" fmla="*/ 547695 h 2286441"/>
              <a:gd name="connsiteX17" fmla="*/ 1486084 w 3892734"/>
              <a:gd name="connsiteY17" fmla="*/ 564606 h 2286441"/>
              <a:gd name="connsiteX18" fmla="*/ 1565459 w 3892734"/>
              <a:gd name="connsiteY18" fmla="*/ 681148 h 2286441"/>
              <a:gd name="connsiteX19" fmla="*/ 1771834 w 3892734"/>
              <a:gd name="connsiteY19" fmla="*/ 1080350 h 2286441"/>
              <a:gd name="connsiteX20" fmla="*/ 1892483 w 3892734"/>
              <a:gd name="connsiteY20" fmla="*/ 1258014 h 2286441"/>
              <a:gd name="connsiteX21" fmla="*/ 2082985 w 3892734"/>
              <a:gd name="connsiteY21" fmla="*/ 1530247 h 2286441"/>
              <a:gd name="connsiteX22" fmla="*/ 2281422 w 3892734"/>
              <a:gd name="connsiteY22" fmla="*/ 1299781 h 2286441"/>
              <a:gd name="connsiteX23" fmla="*/ 2349684 w 3892734"/>
              <a:gd name="connsiteY23" fmla="*/ 1150336 h 2286441"/>
              <a:gd name="connsiteX24" fmla="*/ 2425884 w 3892734"/>
              <a:gd name="connsiteY24" fmla="*/ 925978 h 2286441"/>
              <a:gd name="connsiteX25" fmla="*/ 2519546 w 3892734"/>
              <a:gd name="connsiteY25" fmla="*/ 862207 h 2286441"/>
              <a:gd name="connsiteX26" fmla="*/ 2613208 w 3892734"/>
              <a:gd name="connsiteY26" fmla="*/ 858540 h 2286441"/>
              <a:gd name="connsiteX27" fmla="*/ 2711634 w 3892734"/>
              <a:gd name="connsiteY27" fmla="*/ 907506 h 2286441"/>
              <a:gd name="connsiteX28" fmla="*/ 2856097 w 3892734"/>
              <a:gd name="connsiteY28" fmla="*/ 1032400 h 2286441"/>
              <a:gd name="connsiteX29" fmla="*/ 2851334 w 3892734"/>
              <a:gd name="connsiteY29" fmla="*/ 901700 h 2286441"/>
              <a:gd name="connsiteX30" fmla="*/ 2997384 w 3892734"/>
              <a:gd name="connsiteY30" fmla="*/ 920750 h 2286441"/>
              <a:gd name="connsiteX31" fmla="*/ 3175184 w 3892734"/>
              <a:gd name="connsiteY31" fmla="*/ 895350 h 2286441"/>
              <a:gd name="connsiteX32" fmla="*/ 3295834 w 3892734"/>
              <a:gd name="connsiteY32" fmla="*/ 774700 h 2286441"/>
              <a:gd name="connsiteX33" fmla="*/ 3391084 w 3892734"/>
              <a:gd name="connsiteY33" fmla="*/ 628650 h 2286441"/>
              <a:gd name="connsiteX34" fmla="*/ 3486334 w 3892734"/>
              <a:gd name="connsiteY34" fmla="*/ 495300 h 2286441"/>
              <a:gd name="connsiteX35" fmla="*/ 3594284 w 3892734"/>
              <a:gd name="connsiteY35" fmla="*/ 412750 h 2286441"/>
              <a:gd name="connsiteX36" fmla="*/ 3714934 w 3892734"/>
              <a:gd name="connsiteY36" fmla="*/ 406400 h 2286441"/>
              <a:gd name="connsiteX37" fmla="*/ 3892734 w 3892734"/>
              <a:gd name="connsiteY37" fmla="*/ 412750 h 2286441"/>
              <a:gd name="connsiteX38" fmla="*/ 3892734 w 3892734"/>
              <a:gd name="connsiteY38" fmla="*/ 755650 h 2286441"/>
              <a:gd name="connsiteX39" fmla="*/ 3708584 w 3892734"/>
              <a:gd name="connsiteY39" fmla="*/ 958850 h 2286441"/>
              <a:gd name="connsiteX40" fmla="*/ 3611747 w 3892734"/>
              <a:gd name="connsiteY40" fmla="*/ 1039839 h 2286441"/>
              <a:gd name="connsiteX41" fmla="*/ 3479984 w 3892734"/>
              <a:gd name="connsiteY41" fmla="*/ 1124086 h 2286441"/>
              <a:gd name="connsiteX42" fmla="*/ 3340284 w 3892734"/>
              <a:gd name="connsiteY42" fmla="*/ 1155700 h 2286441"/>
              <a:gd name="connsiteX43" fmla="*/ 3219634 w 3892734"/>
              <a:gd name="connsiteY43" fmla="*/ 1181100 h 2286441"/>
              <a:gd name="connsiteX44" fmla="*/ 3135496 w 3892734"/>
              <a:gd name="connsiteY44" fmla="*/ 1299916 h 2286441"/>
              <a:gd name="connsiteX45" fmla="*/ 2991034 w 3892734"/>
              <a:gd name="connsiteY45" fmla="*/ 1601049 h 2286441"/>
              <a:gd name="connsiteX46" fmla="*/ 2846571 w 3892734"/>
              <a:gd name="connsiteY46" fmla="*/ 1861399 h 2286441"/>
              <a:gd name="connsiteX47" fmla="*/ 2667184 w 3892734"/>
              <a:gd name="connsiteY47" fmla="*/ 2145316 h 2286441"/>
              <a:gd name="connsiteX48" fmla="*/ 2587809 w 3892734"/>
              <a:gd name="connsiteY48" fmla="*/ 2206268 h 2286441"/>
              <a:gd name="connsiteX49" fmla="*/ 2484621 w 3892734"/>
              <a:gd name="connsiteY49" fmla="*/ 2281349 h 2286441"/>
              <a:gd name="connsiteX50" fmla="*/ 2248084 w 3892734"/>
              <a:gd name="connsiteY50" fmla="*/ 2286441 h 2286441"/>
              <a:gd name="connsiteX51" fmla="*/ 2036946 w 3892734"/>
              <a:gd name="connsiteY51" fmla="*/ 2106231 h 2286441"/>
              <a:gd name="connsiteX52" fmla="*/ 1908359 w 3892734"/>
              <a:gd name="connsiteY52" fmla="*/ 1872537 h 2286441"/>
              <a:gd name="connsiteX53" fmla="*/ 1832158 w 3892734"/>
              <a:gd name="connsiteY53" fmla="*/ 1747371 h 2286441"/>
              <a:gd name="connsiteX54" fmla="*/ 1719447 w 3892734"/>
              <a:gd name="connsiteY54" fmla="*/ 1606380 h 2286441"/>
              <a:gd name="connsiteX55" fmla="*/ 1578160 w 3892734"/>
              <a:gd name="connsiteY55" fmla="*/ 1426137 h 2286441"/>
              <a:gd name="connsiteX56" fmla="*/ 1381309 w 3892734"/>
              <a:gd name="connsiteY56" fmla="*/ 1344268 h 2286441"/>
              <a:gd name="connsiteX57" fmla="*/ 1101909 w 3892734"/>
              <a:gd name="connsiteY57" fmla="*/ 1573782 h 2286441"/>
              <a:gd name="connsiteX58" fmla="*/ 895535 w 3892734"/>
              <a:gd name="connsiteY58" fmla="*/ 1609913 h 2286441"/>
              <a:gd name="connsiteX59" fmla="*/ 776471 w 3892734"/>
              <a:gd name="connsiteY59" fmla="*/ 1591782 h 2286441"/>
              <a:gd name="connsiteX60" fmla="*/ 538346 w 3892734"/>
              <a:gd name="connsiteY60" fmla="*/ 1642309 h 2286441"/>
              <a:gd name="connsiteX61" fmla="*/ 397059 w 3892734"/>
              <a:gd name="connsiteY61" fmla="*/ 1620170 h 2286441"/>
              <a:gd name="connsiteX62" fmla="*/ 12884 w 3892734"/>
              <a:gd name="connsiteY62" fmla="*/ 1221921 h 2286441"/>
              <a:gd name="connsiteX63" fmla="*/ 184 w 3892734"/>
              <a:gd name="connsiteY63" fmla="*/ 0 h 2286441"/>
              <a:gd name="connsiteX0" fmla="*/ 184 w 3892734"/>
              <a:gd name="connsiteY0" fmla="*/ 0 h 2286441"/>
              <a:gd name="connsiteX1" fmla="*/ 266884 w 3892734"/>
              <a:gd name="connsiteY1" fmla="*/ 1162050 h 2286441"/>
              <a:gd name="connsiteX2" fmla="*/ 322447 w 3892734"/>
              <a:gd name="connsiteY2" fmla="*/ 1258421 h 2286441"/>
              <a:gd name="connsiteX3" fmla="*/ 376422 w 3892734"/>
              <a:gd name="connsiteY3" fmla="*/ 1353535 h 2286441"/>
              <a:gd name="connsiteX4" fmla="*/ 412934 w 3892734"/>
              <a:gd name="connsiteY4" fmla="*/ 1314450 h 2286441"/>
              <a:gd name="connsiteX5" fmla="*/ 514534 w 3892734"/>
              <a:gd name="connsiteY5" fmla="*/ 996950 h 2286441"/>
              <a:gd name="connsiteX6" fmla="*/ 584384 w 3892734"/>
              <a:gd name="connsiteY6" fmla="*/ 641350 h 2286441"/>
              <a:gd name="connsiteX7" fmla="*/ 641534 w 3892734"/>
              <a:gd name="connsiteY7" fmla="*/ 444500 h 2286441"/>
              <a:gd name="connsiteX8" fmla="*/ 692334 w 3892734"/>
              <a:gd name="connsiteY8" fmla="*/ 330200 h 2286441"/>
              <a:gd name="connsiteX9" fmla="*/ 724084 w 3892734"/>
              <a:gd name="connsiteY9" fmla="*/ 279400 h 2286441"/>
              <a:gd name="connsiteX10" fmla="*/ 806634 w 3892734"/>
              <a:gd name="connsiteY10" fmla="*/ 334581 h 2286441"/>
              <a:gd name="connsiteX11" fmla="*/ 941571 w 3892734"/>
              <a:gd name="connsiteY11" fmla="*/ 603691 h 2286441"/>
              <a:gd name="connsiteX12" fmla="*/ 992372 w 3892734"/>
              <a:gd name="connsiteY12" fmla="*/ 744240 h 2286441"/>
              <a:gd name="connsiteX13" fmla="*/ 1093972 w 3892734"/>
              <a:gd name="connsiteY13" fmla="*/ 842884 h 2286441"/>
              <a:gd name="connsiteX14" fmla="*/ 1198746 w 3892734"/>
              <a:gd name="connsiteY14" fmla="*/ 780371 h 2286441"/>
              <a:gd name="connsiteX15" fmla="*/ 1297171 w 3892734"/>
              <a:gd name="connsiteY15" fmla="*/ 635305 h 2286441"/>
              <a:gd name="connsiteX16" fmla="*/ 1400358 w 3892734"/>
              <a:gd name="connsiteY16" fmla="*/ 547695 h 2286441"/>
              <a:gd name="connsiteX17" fmla="*/ 1486084 w 3892734"/>
              <a:gd name="connsiteY17" fmla="*/ 564606 h 2286441"/>
              <a:gd name="connsiteX18" fmla="*/ 1565459 w 3892734"/>
              <a:gd name="connsiteY18" fmla="*/ 681148 h 2286441"/>
              <a:gd name="connsiteX19" fmla="*/ 1771834 w 3892734"/>
              <a:gd name="connsiteY19" fmla="*/ 1080350 h 2286441"/>
              <a:gd name="connsiteX20" fmla="*/ 1892483 w 3892734"/>
              <a:gd name="connsiteY20" fmla="*/ 1258014 h 2286441"/>
              <a:gd name="connsiteX21" fmla="*/ 2082985 w 3892734"/>
              <a:gd name="connsiteY21" fmla="*/ 1530247 h 2286441"/>
              <a:gd name="connsiteX22" fmla="*/ 2281422 w 3892734"/>
              <a:gd name="connsiteY22" fmla="*/ 1299781 h 2286441"/>
              <a:gd name="connsiteX23" fmla="*/ 2349684 w 3892734"/>
              <a:gd name="connsiteY23" fmla="*/ 1150336 h 2286441"/>
              <a:gd name="connsiteX24" fmla="*/ 2425884 w 3892734"/>
              <a:gd name="connsiteY24" fmla="*/ 925978 h 2286441"/>
              <a:gd name="connsiteX25" fmla="*/ 2519546 w 3892734"/>
              <a:gd name="connsiteY25" fmla="*/ 862207 h 2286441"/>
              <a:gd name="connsiteX26" fmla="*/ 2613208 w 3892734"/>
              <a:gd name="connsiteY26" fmla="*/ 858540 h 2286441"/>
              <a:gd name="connsiteX27" fmla="*/ 2711634 w 3892734"/>
              <a:gd name="connsiteY27" fmla="*/ 907506 h 2286441"/>
              <a:gd name="connsiteX28" fmla="*/ 2822759 w 3892734"/>
              <a:gd name="connsiteY28" fmla="*/ 955622 h 2286441"/>
              <a:gd name="connsiteX29" fmla="*/ 2851334 w 3892734"/>
              <a:gd name="connsiteY29" fmla="*/ 901700 h 2286441"/>
              <a:gd name="connsiteX30" fmla="*/ 2997384 w 3892734"/>
              <a:gd name="connsiteY30" fmla="*/ 920750 h 2286441"/>
              <a:gd name="connsiteX31" fmla="*/ 3175184 w 3892734"/>
              <a:gd name="connsiteY31" fmla="*/ 895350 h 2286441"/>
              <a:gd name="connsiteX32" fmla="*/ 3295834 w 3892734"/>
              <a:gd name="connsiteY32" fmla="*/ 774700 h 2286441"/>
              <a:gd name="connsiteX33" fmla="*/ 3391084 w 3892734"/>
              <a:gd name="connsiteY33" fmla="*/ 628650 h 2286441"/>
              <a:gd name="connsiteX34" fmla="*/ 3486334 w 3892734"/>
              <a:gd name="connsiteY34" fmla="*/ 495300 h 2286441"/>
              <a:gd name="connsiteX35" fmla="*/ 3594284 w 3892734"/>
              <a:gd name="connsiteY35" fmla="*/ 412750 h 2286441"/>
              <a:gd name="connsiteX36" fmla="*/ 3714934 w 3892734"/>
              <a:gd name="connsiteY36" fmla="*/ 406400 h 2286441"/>
              <a:gd name="connsiteX37" fmla="*/ 3892734 w 3892734"/>
              <a:gd name="connsiteY37" fmla="*/ 412750 h 2286441"/>
              <a:gd name="connsiteX38" fmla="*/ 3892734 w 3892734"/>
              <a:gd name="connsiteY38" fmla="*/ 755650 h 2286441"/>
              <a:gd name="connsiteX39" fmla="*/ 3708584 w 3892734"/>
              <a:gd name="connsiteY39" fmla="*/ 958850 h 2286441"/>
              <a:gd name="connsiteX40" fmla="*/ 3611747 w 3892734"/>
              <a:gd name="connsiteY40" fmla="*/ 1039839 h 2286441"/>
              <a:gd name="connsiteX41" fmla="*/ 3479984 w 3892734"/>
              <a:gd name="connsiteY41" fmla="*/ 1124086 h 2286441"/>
              <a:gd name="connsiteX42" fmla="*/ 3340284 w 3892734"/>
              <a:gd name="connsiteY42" fmla="*/ 1155700 h 2286441"/>
              <a:gd name="connsiteX43" fmla="*/ 3219634 w 3892734"/>
              <a:gd name="connsiteY43" fmla="*/ 1181100 h 2286441"/>
              <a:gd name="connsiteX44" fmla="*/ 3135496 w 3892734"/>
              <a:gd name="connsiteY44" fmla="*/ 1299916 h 2286441"/>
              <a:gd name="connsiteX45" fmla="*/ 2991034 w 3892734"/>
              <a:gd name="connsiteY45" fmla="*/ 1601049 h 2286441"/>
              <a:gd name="connsiteX46" fmla="*/ 2846571 w 3892734"/>
              <a:gd name="connsiteY46" fmla="*/ 1861399 h 2286441"/>
              <a:gd name="connsiteX47" fmla="*/ 2667184 w 3892734"/>
              <a:gd name="connsiteY47" fmla="*/ 2145316 h 2286441"/>
              <a:gd name="connsiteX48" fmla="*/ 2587809 w 3892734"/>
              <a:gd name="connsiteY48" fmla="*/ 2206268 h 2286441"/>
              <a:gd name="connsiteX49" fmla="*/ 2484621 w 3892734"/>
              <a:gd name="connsiteY49" fmla="*/ 2281349 h 2286441"/>
              <a:gd name="connsiteX50" fmla="*/ 2248084 w 3892734"/>
              <a:gd name="connsiteY50" fmla="*/ 2286441 h 2286441"/>
              <a:gd name="connsiteX51" fmla="*/ 2036946 w 3892734"/>
              <a:gd name="connsiteY51" fmla="*/ 2106231 h 2286441"/>
              <a:gd name="connsiteX52" fmla="*/ 1908359 w 3892734"/>
              <a:gd name="connsiteY52" fmla="*/ 1872537 h 2286441"/>
              <a:gd name="connsiteX53" fmla="*/ 1832158 w 3892734"/>
              <a:gd name="connsiteY53" fmla="*/ 1747371 h 2286441"/>
              <a:gd name="connsiteX54" fmla="*/ 1719447 w 3892734"/>
              <a:gd name="connsiteY54" fmla="*/ 1606380 h 2286441"/>
              <a:gd name="connsiteX55" fmla="*/ 1578160 w 3892734"/>
              <a:gd name="connsiteY55" fmla="*/ 1426137 h 2286441"/>
              <a:gd name="connsiteX56" fmla="*/ 1381309 w 3892734"/>
              <a:gd name="connsiteY56" fmla="*/ 1344268 h 2286441"/>
              <a:gd name="connsiteX57" fmla="*/ 1101909 w 3892734"/>
              <a:gd name="connsiteY57" fmla="*/ 1573782 h 2286441"/>
              <a:gd name="connsiteX58" fmla="*/ 895535 w 3892734"/>
              <a:gd name="connsiteY58" fmla="*/ 1609913 h 2286441"/>
              <a:gd name="connsiteX59" fmla="*/ 776471 w 3892734"/>
              <a:gd name="connsiteY59" fmla="*/ 1591782 h 2286441"/>
              <a:gd name="connsiteX60" fmla="*/ 538346 w 3892734"/>
              <a:gd name="connsiteY60" fmla="*/ 1642309 h 2286441"/>
              <a:gd name="connsiteX61" fmla="*/ 397059 w 3892734"/>
              <a:gd name="connsiteY61" fmla="*/ 1620170 h 2286441"/>
              <a:gd name="connsiteX62" fmla="*/ 12884 w 3892734"/>
              <a:gd name="connsiteY62" fmla="*/ 1221921 h 2286441"/>
              <a:gd name="connsiteX63" fmla="*/ 184 w 3892734"/>
              <a:gd name="connsiteY63" fmla="*/ 0 h 2286441"/>
              <a:gd name="connsiteX0" fmla="*/ 184 w 3892734"/>
              <a:gd name="connsiteY0" fmla="*/ 0 h 2286441"/>
              <a:gd name="connsiteX1" fmla="*/ 266884 w 3892734"/>
              <a:gd name="connsiteY1" fmla="*/ 1162050 h 2286441"/>
              <a:gd name="connsiteX2" fmla="*/ 322447 w 3892734"/>
              <a:gd name="connsiteY2" fmla="*/ 1258421 h 2286441"/>
              <a:gd name="connsiteX3" fmla="*/ 376422 w 3892734"/>
              <a:gd name="connsiteY3" fmla="*/ 1353535 h 2286441"/>
              <a:gd name="connsiteX4" fmla="*/ 412934 w 3892734"/>
              <a:gd name="connsiteY4" fmla="*/ 1314450 h 2286441"/>
              <a:gd name="connsiteX5" fmla="*/ 514534 w 3892734"/>
              <a:gd name="connsiteY5" fmla="*/ 996950 h 2286441"/>
              <a:gd name="connsiteX6" fmla="*/ 584384 w 3892734"/>
              <a:gd name="connsiteY6" fmla="*/ 641350 h 2286441"/>
              <a:gd name="connsiteX7" fmla="*/ 641534 w 3892734"/>
              <a:gd name="connsiteY7" fmla="*/ 444500 h 2286441"/>
              <a:gd name="connsiteX8" fmla="*/ 692334 w 3892734"/>
              <a:gd name="connsiteY8" fmla="*/ 330200 h 2286441"/>
              <a:gd name="connsiteX9" fmla="*/ 724084 w 3892734"/>
              <a:gd name="connsiteY9" fmla="*/ 279400 h 2286441"/>
              <a:gd name="connsiteX10" fmla="*/ 806634 w 3892734"/>
              <a:gd name="connsiteY10" fmla="*/ 334581 h 2286441"/>
              <a:gd name="connsiteX11" fmla="*/ 941571 w 3892734"/>
              <a:gd name="connsiteY11" fmla="*/ 603691 h 2286441"/>
              <a:gd name="connsiteX12" fmla="*/ 992372 w 3892734"/>
              <a:gd name="connsiteY12" fmla="*/ 744240 h 2286441"/>
              <a:gd name="connsiteX13" fmla="*/ 1093972 w 3892734"/>
              <a:gd name="connsiteY13" fmla="*/ 842884 h 2286441"/>
              <a:gd name="connsiteX14" fmla="*/ 1198746 w 3892734"/>
              <a:gd name="connsiteY14" fmla="*/ 780371 h 2286441"/>
              <a:gd name="connsiteX15" fmla="*/ 1297171 w 3892734"/>
              <a:gd name="connsiteY15" fmla="*/ 635305 h 2286441"/>
              <a:gd name="connsiteX16" fmla="*/ 1400358 w 3892734"/>
              <a:gd name="connsiteY16" fmla="*/ 547695 h 2286441"/>
              <a:gd name="connsiteX17" fmla="*/ 1486084 w 3892734"/>
              <a:gd name="connsiteY17" fmla="*/ 564606 h 2286441"/>
              <a:gd name="connsiteX18" fmla="*/ 1565459 w 3892734"/>
              <a:gd name="connsiteY18" fmla="*/ 681148 h 2286441"/>
              <a:gd name="connsiteX19" fmla="*/ 1771834 w 3892734"/>
              <a:gd name="connsiteY19" fmla="*/ 1080350 h 2286441"/>
              <a:gd name="connsiteX20" fmla="*/ 1892483 w 3892734"/>
              <a:gd name="connsiteY20" fmla="*/ 1258014 h 2286441"/>
              <a:gd name="connsiteX21" fmla="*/ 2082985 w 3892734"/>
              <a:gd name="connsiteY21" fmla="*/ 1530247 h 2286441"/>
              <a:gd name="connsiteX22" fmla="*/ 2281422 w 3892734"/>
              <a:gd name="connsiteY22" fmla="*/ 1299781 h 2286441"/>
              <a:gd name="connsiteX23" fmla="*/ 2349684 w 3892734"/>
              <a:gd name="connsiteY23" fmla="*/ 1150336 h 2286441"/>
              <a:gd name="connsiteX24" fmla="*/ 2425884 w 3892734"/>
              <a:gd name="connsiteY24" fmla="*/ 925978 h 2286441"/>
              <a:gd name="connsiteX25" fmla="*/ 2519546 w 3892734"/>
              <a:gd name="connsiteY25" fmla="*/ 862207 h 2286441"/>
              <a:gd name="connsiteX26" fmla="*/ 2613208 w 3892734"/>
              <a:gd name="connsiteY26" fmla="*/ 858540 h 2286441"/>
              <a:gd name="connsiteX27" fmla="*/ 2711634 w 3892734"/>
              <a:gd name="connsiteY27" fmla="*/ 907506 h 2286441"/>
              <a:gd name="connsiteX28" fmla="*/ 2822759 w 3892734"/>
              <a:gd name="connsiteY28" fmla="*/ 955622 h 2286441"/>
              <a:gd name="connsiteX29" fmla="*/ 3046596 w 3892734"/>
              <a:gd name="connsiteY29" fmla="*/ 960412 h 2286441"/>
              <a:gd name="connsiteX30" fmla="*/ 2997384 w 3892734"/>
              <a:gd name="connsiteY30" fmla="*/ 920750 h 2286441"/>
              <a:gd name="connsiteX31" fmla="*/ 3175184 w 3892734"/>
              <a:gd name="connsiteY31" fmla="*/ 895350 h 2286441"/>
              <a:gd name="connsiteX32" fmla="*/ 3295834 w 3892734"/>
              <a:gd name="connsiteY32" fmla="*/ 774700 h 2286441"/>
              <a:gd name="connsiteX33" fmla="*/ 3391084 w 3892734"/>
              <a:gd name="connsiteY33" fmla="*/ 628650 h 2286441"/>
              <a:gd name="connsiteX34" fmla="*/ 3486334 w 3892734"/>
              <a:gd name="connsiteY34" fmla="*/ 495300 h 2286441"/>
              <a:gd name="connsiteX35" fmla="*/ 3594284 w 3892734"/>
              <a:gd name="connsiteY35" fmla="*/ 412750 h 2286441"/>
              <a:gd name="connsiteX36" fmla="*/ 3714934 w 3892734"/>
              <a:gd name="connsiteY36" fmla="*/ 406400 h 2286441"/>
              <a:gd name="connsiteX37" fmla="*/ 3892734 w 3892734"/>
              <a:gd name="connsiteY37" fmla="*/ 412750 h 2286441"/>
              <a:gd name="connsiteX38" fmla="*/ 3892734 w 3892734"/>
              <a:gd name="connsiteY38" fmla="*/ 755650 h 2286441"/>
              <a:gd name="connsiteX39" fmla="*/ 3708584 w 3892734"/>
              <a:gd name="connsiteY39" fmla="*/ 958850 h 2286441"/>
              <a:gd name="connsiteX40" fmla="*/ 3611747 w 3892734"/>
              <a:gd name="connsiteY40" fmla="*/ 1039839 h 2286441"/>
              <a:gd name="connsiteX41" fmla="*/ 3479984 w 3892734"/>
              <a:gd name="connsiteY41" fmla="*/ 1124086 h 2286441"/>
              <a:gd name="connsiteX42" fmla="*/ 3340284 w 3892734"/>
              <a:gd name="connsiteY42" fmla="*/ 1155700 h 2286441"/>
              <a:gd name="connsiteX43" fmla="*/ 3219634 w 3892734"/>
              <a:gd name="connsiteY43" fmla="*/ 1181100 h 2286441"/>
              <a:gd name="connsiteX44" fmla="*/ 3135496 w 3892734"/>
              <a:gd name="connsiteY44" fmla="*/ 1299916 h 2286441"/>
              <a:gd name="connsiteX45" fmla="*/ 2991034 w 3892734"/>
              <a:gd name="connsiteY45" fmla="*/ 1601049 h 2286441"/>
              <a:gd name="connsiteX46" fmla="*/ 2846571 w 3892734"/>
              <a:gd name="connsiteY46" fmla="*/ 1861399 h 2286441"/>
              <a:gd name="connsiteX47" fmla="*/ 2667184 w 3892734"/>
              <a:gd name="connsiteY47" fmla="*/ 2145316 h 2286441"/>
              <a:gd name="connsiteX48" fmla="*/ 2587809 w 3892734"/>
              <a:gd name="connsiteY48" fmla="*/ 2206268 h 2286441"/>
              <a:gd name="connsiteX49" fmla="*/ 2484621 w 3892734"/>
              <a:gd name="connsiteY49" fmla="*/ 2281349 h 2286441"/>
              <a:gd name="connsiteX50" fmla="*/ 2248084 w 3892734"/>
              <a:gd name="connsiteY50" fmla="*/ 2286441 h 2286441"/>
              <a:gd name="connsiteX51" fmla="*/ 2036946 w 3892734"/>
              <a:gd name="connsiteY51" fmla="*/ 2106231 h 2286441"/>
              <a:gd name="connsiteX52" fmla="*/ 1908359 w 3892734"/>
              <a:gd name="connsiteY52" fmla="*/ 1872537 h 2286441"/>
              <a:gd name="connsiteX53" fmla="*/ 1832158 w 3892734"/>
              <a:gd name="connsiteY53" fmla="*/ 1747371 h 2286441"/>
              <a:gd name="connsiteX54" fmla="*/ 1719447 w 3892734"/>
              <a:gd name="connsiteY54" fmla="*/ 1606380 h 2286441"/>
              <a:gd name="connsiteX55" fmla="*/ 1578160 w 3892734"/>
              <a:gd name="connsiteY55" fmla="*/ 1426137 h 2286441"/>
              <a:gd name="connsiteX56" fmla="*/ 1381309 w 3892734"/>
              <a:gd name="connsiteY56" fmla="*/ 1344268 h 2286441"/>
              <a:gd name="connsiteX57" fmla="*/ 1101909 w 3892734"/>
              <a:gd name="connsiteY57" fmla="*/ 1573782 h 2286441"/>
              <a:gd name="connsiteX58" fmla="*/ 895535 w 3892734"/>
              <a:gd name="connsiteY58" fmla="*/ 1609913 h 2286441"/>
              <a:gd name="connsiteX59" fmla="*/ 776471 w 3892734"/>
              <a:gd name="connsiteY59" fmla="*/ 1591782 h 2286441"/>
              <a:gd name="connsiteX60" fmla="*/ 538346 w 3892734"/>
              <a:gd name="connsiteY60" fmla="*/ 1642309 h 2286441"/>
              <a:gd name="connsiteX61" fmla="*/ 397059 w 3892734"/>
              <a:gd name="connsiteY61" fmla="*/ 1620170 h 2286441"/>
              <a:gd name="connsiteX62" fmla="*/ 12884 w 3892734"/>
              <a:gd name="connsiteY62" fmla="*/ 1221921 h 2286441"/>
              <a:gd name="connsiteX63" fmla="*/ 184 w 3892734"/>
              <a:gd name="connsiteY63" fmla="*/ 0 h 2286441"/>
              <a:gd name="connsiteX0" fmla="*/ 184 w 3892734"/>
              <a:gd name="connsiteY0" fmla="*/ 0 h 2286441"/>
              <a:gd name="connsiteX1" fmla="*/ 266884 w 3892734"/>
              <a:gd name="connsiteY1" fmla="*/ 1162050 h 2286441"/>
              <a:gd name="connsiteX2" fmla="*/ 322447 w 3892734"/>
              <a:gd name="connsiteY2" fmla="*/ 1258421 h 2286441"/>
              <a:gd name="connsiteX3" fmla="*/ 376422 w 3892734"/>
              <a:gd name="connsiteY3" fmla="*/ 1353535 h 2286441"/>
              <a:gd name="connsiteX4" fmla="*/ 412934 w 3892734"/>
              <a:gd name="connsiteY4" fmla="*/ 1314450 h 2286441"/>
              <a:gd name="connsiteX5" fmla="*/ 514534 w 3892734"/>
              <a:gd name="connsiteY5" fmla="*/ 996950 h 2286441"/>
              <a:gd name="connsiteX6" fmla="*/ 584384 w 3892734"/>
              <a:gd name="connsiteY6" fmla="*/ 641350 h 2286441"/>
              <a:gd name="connsiteX7" fmla="*/ 641534 w 3892734"/>
              <a:gd name="connsiteY7" fmla="*/ 444500 h 2286441"/>
              <a:gd name="connsiteX8" fmla="*/ 692334 w 3892734"/>
              <a:gd name="connsiteY8" fmla="*/ 330200 h 2286441"/>
              <a:gd name="connsiteX9" fmla="*/ 724084 w 3892734"/>
              <a:gd name="connsiteY9" fmla="*/ 279400 h 2286441"/>
              <a:gd name="connsiteX10" fmla="*/ 806634 w 3892734"/>
              <a:gd name="connsiteY10" fmla="*/ 334581 h 2286441"/>
              <a:gd name="connsiteX11" fmla="*/ 941571 w 3892734"/>
              <a:gd name="connsiteY11" fmla="*/ 603691 h 2286441"/>
              <a:gd name="connsiteX12" fmla="*/ 992372 w 3892734"/>
              <a:gd name="connsiteY12" fmla="*/ 744240 h 2286441"/>
              <a:gd name="connsiteX13" fmla="*/ 1093972 w 3892734"/>
              <a:gd name="connsiteY13" fmla="*/ 842884 h 2286441"/>
              <a:gd name="connsiteX14" fmla="*/ 1198746 w 3892734"/>
              <a:gd name="connsiteY14" fmla="*/ 780371 h 2286441"/>
              <a:gd name="connsiteX15" fmla="*/ 1297171 w 3892734"/>
              <a:gd name="connsiteY15" fmla="*/ 635305 h 2286441"/>
              <a:gd name="connsiteX16" fmla="*/ 1400358 w 3892734"/>
              <a:gd name="connsiteY16" fmla="*/ 547695 h 2286441"/>
              <a:gd name="connsiteX17" fmla="*/ 1486084 w 3892734"/>
              <a:gd name="connsiteY17" fmla="*/ 564606 h 2286441"/>
              <a:gd name="connsiteX18" fmla="*/ 1565459 w 3892734"/>
              <a:gd name="connsiteY18" fmla="*/ 681148 h 2286441"/>
              <a:gd name="connsiteX19" fmla="*/ 1771834 w 3892734"/>
              <a:gd name="connsiteY19" fmla="*/ 1080350 h 2286441"/>
              <a:gd name="connsiteX20" fmla="*/ 1892483 w 3892734"/>
              <a:gd name="connsiteY20" fmla="*/ 1258014 h 2286441"/>
              <a:gd name="connsiteX21" fmla="*/ 2082985 w 3892734"/>
              <a:gd name="connsiteY21" fmla="*/ 1530247 h 2286441"/>
              <a:gd name="connsiteX22" fmla="*/ 2281422 w 3892734"/>
              <a:gd name="connsiteY22" fmla="*/ 1299781 h 2286441"/>
              <a:gd name="connsiteX23" fmla="*/ 2349684 w 3892734"/>
              <a:gd name="connsiteY23" fmla="*/ 1150336 h 2286441"/>
              <a:gd name="connsiteX24" fmla="*/ 2425884 w 3892734"/>
              <a:gd name="connsiteY24" fmla="*/ 925978 h 2286441"/>
              <a:gd name="connsiteX25" fmla="*/ 2519546 w 3892734"/>
              <a:gd name="connsiteY25" fmla="*/ 862207 h 2286441"/>
              <a:gd name="connsiteX26" fmla="*/ 2613208 w 3892734"/>
              <a:gd name="connsiteY26" fmla="*/ 858540 h 2286441"/>
              <a:gd name="connsiteX27" fmla="*/ 2711634 w 3892734"/>
              <a:gd name="connsiteY27" fmla="*/ 907506 h 2286441"/>
              <a:gd name="connsiteX28" fmla="*/ 2822759 w 3892734"/>
              <a:gd name="connsiteY28" fmla="*/ 955622 h 2286441"/>
              <a:gd name="connsiteX29" fmla="*/ 3041833 w 3892734"/>
              <a:gd name="connsiteY29" fmla="*/ 1059770 h 2286441"/>
              <a:gd name="connsiteX30" fmla="*/ 2997384 w 3892734"/>
              <a:gd name="connsiteY30" fmla="*/ 920750 h 2286441"/>
              <a:gd name="connsiteX31" fmla="*/ 3175184 w 3892734"/>
              <a:gd name="connsiteY31" fmla="*/ 895350 h 2286441"/>
              <a:gd name="connsiteX32" fmla="*/ 3295834 w 3892734"/>
              <a:gd name="connsiteY32" fmla="*/ 774700 h 2286441"/>
              <a:gd name="connsiteX33" fmla="*/ 3391084 w 3892734"/>
              <a:gd name="connsiteY33" fmla="*/ 628650 h 2286441"/>
              <a:gd name="connsiteX34" fmla="*/ 3486334 w 3892734"/>
              <a:gd name="connsiteY34" fmla="*/ 495300 h 2286441"/>
              <a:gd name="connsiteX35" fmla="*/ 3594284 w 3892734"/>
              <a:gd name="connsiteY35" fmla="*/ 412750 h 2286441"/>
              <a:gd name="connsiteX36" fmla="*/ 3714934 w 3892734"/>
              <a:gd name="connsiteY36" fmla="*/ 406400 h 2286441"/>
              <a:gd name="connsiteX37" fmla="*/ 3892734 w 3892734"/>
              <a:gd name="connsiteY37" fmla="*/ 412750 h 2286441"/>
              <a:gd name="connsiteX38" fmla="*/ 3892734 w 3892734"/>
              <a:gd name="connsiteY38" fmla="*/ 755650 h 2286441"/>
              <a:gd name="connsiteX39" fmla="*/ 3708584 w 3892734"/>
              <a:gd name="connsiteY39" fmla="*/ 958850 h 2286441"/>
              <a:gd name="connsiteX40" fmla="*/ 3611747 w 3892734"/>
              <a:gd name="connsiteY40" fmla="*/ 1039839 h 2286441"/>
              <a:gd name="connsiteX41" fmla="*/ 3479984 w 3892734"/>
              <a:gd name="connsiteY41" fmla="*/ 1124086 h 2286441"/>
              <a:gd name="connsiteX42" fmla="*/ 3340284 w 3892734"/>
              <a:gd name="connsiteY42" fmla="*/ 1155700 h 2286441"/>
              <a:gd name="connsiteX43" fmla="*/ 3219634 w 3892734"/>
              <a:gd name="connsiteY43" fmla="*/ 1181100 h 2286441"/>
              <a:gd name="connsiteX44" fmla="*/ 3135496 w 3892734"/>
              <a:gd name="connsiteY44" fmla="*/ 1299916 h 2286441"/>
              <a:gd name="connsiteX45" fmla="*/ 2991034 w 3892734"/>
              <a:gd name="connsiteY45" fmla="*/ 1601049 h 2286441"/>
              <a:gd name="connsiteX46" fmla="*/ 2846571 w 3892734"/>
              <a:gd name="connsiteY46" fmla="*/ 1861399 h 2286441"/>
              <a:gd name="connsiteX47" fmla="*/ 2667184 w 3892734"/>
              <a:gd name="connsiteY47" fmla="*/ 2145316 h 2286441"/>
              <a:gd name="connsiteX48" fmla="*/ 2587809 w 3892734"/>
              <a:gd name="connsiteY48" fmla="*/ 2206268 h 2286441"/>
              <a:gd name="connsiteX49" fmla="*/ 2484621 w 3892734"/>
              <a:gd name="connsiteY49" fmla="*/ 2281349 h 2286441"/>
              <a:gd name="connsiteX50" fmla="*/ 2248084 w 3892734"/>
              <a:gd name="connsiteY50" fmla="*/ 2286441 h 2286441"/>
              <a:gd name="connsiteX51" fmla="*/ 2036946 w 3892734"/>
              <a:gd name="connsiteY51" fmla="*/ 2106231 h 2286441"/>
              <a:gd name="connsiteX52" fmla="*/ 1908359 w 3892734"/>
              <a:gd name="connsiteY52" fmla="*/ 1872537 h 2286441"/>
              <a:gd name="connsiteX53" fmla="*/ 1832158 w 3892734"/>
              <a:gd name="connsiteY53" fmla="*/ 1747371 h 2286441"/>
              <a:gd name="connsiteX54" fmla="*/ 1719447 w 3892734"/>
              <a:gd name="connsiteY54" fmla="*/ 1606380 h 2286441"/>
              <a:gd name="connsiteX55" fmla="*/ 1578160 w 3892734"/>
              <a:gd name="connsiteY55" fmla="*/ 1426137 h 2286441"/>
              <a:gd name="connsiteX56" fmla="*/ 1381309 w 3892734"/>
              <a:gd name="connsiteY56" fmla="*/ 1344268 h 2286441"/>
              <a:gd name="connsiteX57" fmla="*/ 1101909 w 3892734"/>
              <a:gd name="connsiteY57" fmla="*/ 1573782 h 2286441"/>
              <a:gd name="connsiteX58" fmla="*/ 895535 w 3892734"/>
              <a:gd name="connsiteY58" fmla="*/ 1609913 h 2286441"/>
              <a:gd name="connsiteX59" fmla="*/ 776471 w 3892734"/>
              <a:gd name="connsiteY59" fmla="*/ 1591782 h 2286441"/>
              <a:gd name="connsiteX60" fmla="*/ 538346 w 3892734"/>
              <a:gd name="connsiteY60" fmla="*/ 1642309 h 2286441"/>
              <a:gd name="connsiteX61" fmla="*/ 397059 w 3892734"/>
              <a:gd name="connsiteY61" fmla="*/ 1620170 h 2286441"/>
              <a:gd name="connsiteX62" fmla="*/ 12884 w 3892734"/>
              <a:gd name="connsiteY62" fmla="*/ 1221921 h 2286441"/>
              <a:gd name="connsiteX63" fmla="*/ 184 w 3892734"/>
              <a:gd name="connsiteY63" fmla="*/ 0 h 2286441"/>
              <a:gd name="connsiteX0" fmla="*/ 184 w 3892734"/>
              <a:gd name="connsiteY0" fmla="*/ 0 h 2286441"/>
              <a:gd name="connsiteX1" fmla="*/ 266884 w 3892734"/>
              <a:gd name="connsiteY1" fmla="*/ 1162050 h 2286441"/>
              <a:gd name="connsiteX2" fmla="*/ 322447 w 3892734"/>
              <a:gd name="connsiteY2" fmla="*/ 1258421 h 2286441"/>
              <a:gd name="connsiteX3" fmla="*/ 376422 w 3892734"/>
              <a:gd name="connsiteY3" fmla="*/ 1353535 h 2286441"/>
              <a:gd name="connsiteX4" fmla="*/ 412934 w 3892734"/>
              <a:gd name="connsiteY4" fmla="*/ 1314450 h 2286441"/>
              <a:gd name="connsiteX5" fmla="*/ 514534 w 3892734"/>
              <a:gd name="connsiteY5" fmla="*/ 996950 h 2286441"/>
              <a:gd name="connsiteX6" fmla="*/ 584384 w 3892734"/>
              <a:gd name="connsiteY6" fmla="*/ 641350 h 2286441"/>
              <a:gd name="connsiteX7" fmla="*/ 641534 w 3892734"/>
              <a:gd name="connsiteY7" fmla="*/ 444500 h 2286441"/>
              <a:gd name="connsiteX8" fmla="*/ 692334 w 3892734"/>
              <a:gd name="connsiteY8" fmla="*/ 330200 h 2286441"/>
              <a:gd name="connsiteX9" fmla="*/ 724084 w 3892734"/>
              <a:gd name="connsiteY9" fmla="*/ 279400 h 2286441"/>
              <a:gd name="connsiteX10" fmla="*/ 806634 w 3892734"/>
              <a:gd name="connsiteY10" fmla="*/ 334581 h 2286441"/>
              <a:gd name="connsiteX11" fmla="*/ 941571 w 3892734"/>
              <a:gd name="connsiteY11" fmla="*/ 603691 h 2286441"/>
              <a:gd name="connsiteX12" fmla="*/ 992372 w 3892734"/>
              <a:gd name="connsiteY12" fmla="*/ 744240 h 2286441"/>
              <a:gd name="connsiteX13" fmla="*/ 1093972 w 3892734"/>
              <a:gd name="connsiteY13" fmla="*/ 842884 h 2286441"/>
              <a:gd name="connsiteX14" fmla="*/ 1198746 w 3892734"/>
              <a:gd name="connsiteY14" fmla="*/ 780371 h 2286441"/>
              <a:gd name="connsiteX15" fmla="*/ 1297171 w 3892734"/>
              <a:gd name="connsiteY15" fmla="*/ 635305 h 2286441"/>
              <a:gd name="connsiteX16" fmla="*/ 1400358 w 3892734"/>
              <a:gd name="connsiteY16" fmla="*/ 547695 h 2286441"/>
              <a:gd name="connsiteX17" fmla="*/ 1486084 w 3892734"/>
              <a:gd name="connsiteY17" fmla="*/ 564606 h 2286441"/>
              <a:gd name="connsiteX18" fmla="*/ 1565459 w 3892734"/>
              <a:gd name="connsiteY18" fmla="*/ 681148 h 2286441"/>
              <a:gd name="connsiteX19" fmla="*/ 1771834 w 3892734"/>
              <a:gd name="connsiteY19" fmla="*/ 1080350 h 2286441"/>
              <a:gd name="connsiteX20" fmla="*/ 1892483 w 3892734"/>
              <a:gd name="connsiteY20" fmla="*/ 1258014 h 2286441"/>
              <a:gd name="connsiteX21" fmla="*/ 2082985 w 3892734"/>
              <a:gd name="connsiteY21" fmla="*/ 1530247 h 2286441"/>
              <a:gd name="connsiteX22" fmla="*/ 2281422 w 3892734"/>
              <a:gd name="connsiteY22" fmla="*/ 1299781 h 2286441"/>
              <a:gd name="connsiteX23" fmla="*/ 2349684 w 3892734"/>
              <a:gd name="connsiteY23" fmla="*/ 1150336 h 2286441"/>
              <a:gd name="connsiteX24" fmla="*/ 2425884 w 3892734"/>
              <a:gd name="connsiteY24" fmla="*/ 925978 h 2286441"/>
              <a:gd name="connsiteX25" fmla="*/ 2519546 w 3892734"/>
              <a:gd name="connsiteY25" fmla="*/ 862207 h 2286441"/>
              <a:gd name="connsiteX26" fmla="*/ 2613208 w 3892734"/>
              <a:gd name="connsiteY26" fmla="*/ 858540 h 2286441"/>
              <a:gd name="connsiteX27" fmla="*/ 2711634 w 3892734"/>
              <a:gd name="connsiteY27" fmla="*/ 907506 h 2286441"/>
              <a:gd name="connsiteX28" fmla="*/ 2822759 w 3892734"/>
              <a:gd name="connsiteY28" fmla="*/ 955622 h 2286441"/>
              <a:gd name="connsiteX29" fmla="*/ 2951346 w 3892734"/>
              <a:gd name="connsiteY29" fmla="*/ 960412 h 2286441"/>
              <a:gd name="connsiteX30" fmla="*/ 2997384 w 3892734"/>
              <a:gd name="connsiteY30" fmla="*/ 920750 h 2286441"/>
              <a:gd name="connsiteX31" fmla="*/ 3175184 w 3892734"/>
              <a:gd name="connsiteY31" fmla="*/ 895350 h 2286441"/>
              <a:gd name="connsiteX32" fmla="*/ 3295834 w 3892734"/>
              <a:gd name="connsiteY32" fmla="*/ 774700 h 2286441"/>
              <a:gd name="connsiteX33" fmla="*/ 3391084 w 3892734"/>
              <a:gd name="connsiteY33" fmla="*/ 628650 h 2286441"/>
              <a:gd name="connsiteX34" fmla="*/ 3486334 w 3892734"/>
              <a:gd name="connsiteY34" fmla="*/ 495300 h 2286441"/>
              <a:gd name="connsiteX35" fmla="*/ 3594284 w 3892734"/>
              <a:gd name="connsiteY35" fmla="*/ 412750 h 2286441"/>
              <a:gd name="connsiteX36" fmla="*/ 3714934 w 3892734"/>
              <a:gd name="connsiteY36" fmla="*/ 406400 h 2286441"/>
              <a:gd name="connsiteX37" fmla="*/ 3892734 w 3892734"/>
              <a:gd name="connsiteY37" fmla="*/ 412750 h 2286441"/>
              <a:gd name="connsiteX38" fmla="*/ 3892734 w 3892734"/>
              <a:gd name="connsiteY38" fmla="*/ 755650 h 2286441"/>
              <a:gd name="connsiteX39" fmla="*/ 3708584 w 3892734"/>
              <a:gd name="connsiteY39" fmla="*/ 958850 h 2286441"/>
              <a:gd name="connsiteX40" fmla="*/ 3611747 w 3892734"/>
              <a:gd name="connsiteY40" fmla="*/ 1039839 h 2286441"/>
              <a:gd name="connsiteX41" fmla="*/ 3479984 w 3892734"/>
              <a:gd name="connsiteY41" fmla="*/ 1124086 h 2286441"/>
              <a:gd name="connsiteX42" fmla="*/ 3340284 w 3892734"/>
              <a:gd name="connsiteY42" fmla="*/ 1155700 h 2286441"/>
              <a:gd name="connsiteX43" fmla="*/ 3219634 w 3892734"/>
              <a:gd name="connsiteY43" fmla="*/ 1181100 h 2286441"/>
              <a:gd name="connsiteX44" fmla="*/ 3135496 w 3892734"/>
              <a:gd name="connsiteY44" fmla="*/ 1299916 h 2286441"/>
              <a:gd name="connsiteX45" fmla="*/ 2991034 w 3892734"/>
              <a:gd name="connsiteY45" fmla="*/ 1601049 h 2286441"/>
              <a:gd name="connsiteX46" fmla="*/ 2846571 w 3892734"/>
              <a:gd name="connsiteY46" fmla="*/ 1861399 h 2286441"/>
              <a:gd name="connsiteX47" fmla="*/ 2667184 w 3892734"/>
              <a:gd name="connsiteY47" fmla="*/ 2145316 h 2286441"/>
              <a:gd name="connsiteX48" fmla="*/ 2587809 w 3892734"/>
              <a:gd name="connsiteY48" fmla="*/ 2206268 h 2286441"/>
              <a:gd name="connsiteX49" fmla="*/ 2484621 w 3892734"/>
              <a:gd name="connsiteY49" fmla="*/ 2281349 h 2286441"/>
              <a:gd name="connsiteX50" fmla="*/ 2248084 w 3892734"/>
              <a:gd name="connsiteY50" fmla="*/ 2286441 h 2286441"/>
              <a:gd name="connsiteX51" fmla="*/ 2036946 w 3892734"/>
              <a:gd name="connsiteY51" fmla="*/ 2106231 h 2286441"/>
              <a:gd name="connsiteX52" fmla="*/ 1908359 w 3892734"/>
              <a:gd name="connsiteY52" fmla="*/ 1872537 h 2286441"/>
              <a:gd name="connsiteX53" fmla="*/ 1832158 w 3892734"/>
              <a:gd name="connsiteY53" fmla="*/ 1747371 h 2286441"/>
              <a:gd name="connsiteX54" fmla="*/ 1719447 w 3892734"/>
              <a:gd name="connsiteY54" fmla="*/ 1606380 h 2286441"/>
              <a:gd name="connsiteX55" fmla="*/ 1578160 w 3892734"/>
              <a:gd name="connsiteY55" fmla="*/ 1426137 h 2286441"/>
              <a:gd name="connsiteX56" fmla="*/ 1381309 w 3892734"/>
              <a:gd name="connsiteY56" fmla="*/ 1344268 h 2286441"/>
              <a:gd name="connsiteX57" fmla="*/ 1101909 w 3892734"/>
              <a:gd name="connsiteY57" fmla="*/ 1573782 h 2286441"/>
              <a:gd name="connsiteX58" fmla="*/ 895535 w 3892734"/>
              <a:gd name="connsiteY58" fmla="*/ 1609913 h 2286441"/>
              <a:gd name="connsiteX59" fmla="*/ 776471 w 3892734"/>
              <a:gd name="connsiteY59" fmla="*/ 1591782 h 2286441"/>
              <a:gd name="connsiteX60" fmla="*/ 538346 w 3892734"/>
              <a:gd name="connsiteY60" fmla="*/ 1642309 h 2286441"/>
              <a:gd name="connsiteX61" fmla="*/ 397059 w 3892734"/>
              <a:gd name="connsiteY61" fmla="*/ 1620170 h 2286441"/>
              <a:gd name="connsiteX62" fmla="*/ 12884 w 3892734"/>
              <a:gd name="connsiteY62" fmla="*/ 1221921 h 2286441"/>
              <a:gd name="connsiteX63" fmla="*/ 184 w 3892734"/>
              <a:gd name="connsiteY63" fmla="*/ 0 h 2286441"/>
              <a:gd name="connsiteX0" fmla="*/ 184 w 3892734"/>
              <a:gd name="connsiteY0" fmla="*/ 0 h 2286441"/>
              <a:gd name="connsiteX1" fmla="*/ 266884 w 3892734"/>
              <a:gd name="connsiteY1" fmla="*/ 1162050 h 2286441"/>
              <a:gd name="connsiteX2" fmla="*/ 322447 w 3892734"/>
              <a:gd name="connsiteY2" fmla="*/ 1258421 h 2286441"/>
              <a:gd name="connsiteX3" fmla="*/ 376422 w 3892734"/>
              <a:gd name="connsiteY3" fmla="*/ 1353535 h 2286441"/>
              <a:gd name="connsiteX4" fmla="*/ 412934 w 3892734"/>
              <a:gd name="connsiteY4" fmla="*/ 1314450 h 2286441"/>
              <a:gd name="connsiteX5" fmla="*/ 514534 w 3892734"/>
              <a:gd name="connsiteY5" fmla="*/ 996950 h 2286441"/>
              <a:gd name="connsiteX6" fmla="*/ 584384 w 3892734"/>
              <a:gd name="connsiteY6" fmla="*/ 641350 h 2286441"/>
              <a:gd name="connsiteX7" fmla="*/ 641534 w 3892734"/>
              <a:gd name="connsiteY7" fmla="*/ 444500 h 2286441"/>
              <a:gd name="connsiteX8" fmla="*/ 692334 w 3892734"/>
              <a:gd name="connsiteY8" fmla="*/ 330200 h 2286441"/>
              <a:gd name="connsiteX9" fmla="*/ 724084 w 3892734"/>
              <a:gd name="connsiteY9" fmla="*/ 279400 h 2286441"/>
              <a:gd name="connsiteX10" fmla="*/ 806634 w 3892734"/>
              <a:gd name="connsiteY10" fmla="*/ 334581 h 2286441"/>
              <a:gd name="connsiteX11" fmla="*/ 941571 w 3892734"/>
              <a:gd name="connsiteY11" fmla="*/ 603691 h 2286441"/>
              <a:gd name="connsiteX12" fmla="*/ 992372 w 3892734"/>
              <a:gd name="connsiteY12" fmla="*/ 744240 h 2286441"/>
              <a:gd name="connsiteX13" fmla="*/ 1093972 w 3892734"/>
              <a:gd name="connsiteY13" fmla="*/ 842884 h 2286441"/>
              <a:gd name="connsiteX14" fmla="*/ 1198746 w 3892734"/>
              <a:gd name="connsiteY14" fmla="*/ 780371 h 2286441"/>
              <a:gd name="connsiteX15" fmla="*/ 1297171 w 3892734"/>
              <a:gd name="connsiteY15" fmla="*/ 635305 h 2286441"/>
              <a:gd name="connsiteX16" fmla="*/ 1400358 w 3892734"/>
              <a:gd name="connsiteY16" fmla="*/ 547695 h 2286441"/>
              <a:gd name="connsiteX17" fmla="*/ 1486084 w 3892734"/>
              <a:gd name="connsiteY17" fmla="*/ 564606 h 2286441"/>
              <a:gd name="connsiteX18" fmla="*/ 1565459 w 3892734"/>
              <a:gd name="connsiteY18" fmla="*/ 681148 h 2286441"/>
              <a:gd name="connsiteX19" fmla="*/ 1771834 w 3892734"/>
              <a:gd name="connsiteY19" fmla="*/ 1080350 h 2286441"/>
              <a:gd name="connsiteX20" fmla="*/ 1892483 w 3892734"/>
              <a:gd name="connsiteY20" fmla="*/ 1258014 h 2286441"/>
              <a:gd name="connsiteX21" fmla="*/ 2082985 w 3892734"/>
              <a:gd name="connsiteY21" fmla="*/ 1530247 h 2286441"/>
              <a:gd name="connsiteX22" fmla="*/ 2281422 w 3892734"/>
              <a:gd name="connsiteY22" fmla="*/ 1299781 h 2286441"/>
              <a:gd name="connsiteX23" fmla="*/ 2349684 w 3892734"/>
              <a:gd name="connsiteY23" fmla="*/ 1150336 h 2286441"/>
              <a:gd name="connsiteX24" fmla="*/ 2425884 w 3892734"/>
              <a:gd name="connsiteY24" fmla="*/ 925978 h 2286441"/>
              <a:gd name="connsiteX25" fmla="*/ 2519546 w 3892734"/>
              <a:gd name="connsiteY25" fmla="*/ 862207 h 2286441"/>
              <a:gd name="connsiteX26" fmla="*/ 2603683 w 3892734"/>
              <a:gd name="connsiteY26" fmla="*/ 840475 h 2286441"/>
              <a:gd name="connsiteX27" fmla="*/ 2711634 w 3892734"/>
              <a:gd name="connsiteY27" fmla="*/ 907506 h 2286441"/>
              <a:gd name="connsiteX28" fmla="*/ 2822759 w 3892734"/>
              <a:gd name="connsiteY28" fmla="*/ 955622 h 2286441"/>
              <a:gd name="connsiteX29" fmla="*/ 2951346 w 3892734"/>
              <a:gd name="connsiteY29" fmla="*/ 960412 h 2286441"/>
              <a:gd name="connsiteX30" fmla="*/ 2997384 w 3892734"/>
              <a:gd name="connsiteY30" fmla="*/ 920750 h 2286441"/>
              <a:gd name="connsiteX31" fmla="*/ 3175184 w 3892734"/>
              <a:gd name="connsiteY31" fmla="*/ 895350 h 2286441"/>
              <a:gd name="connsiteX32" fmla="*/ 3295834 w 3892734"/>
              <a:gd name="connsiteY32" fmla="*/ 774700 h 2286441"/>
              <a:gd name="connsiteX33" fmla="*/ 3391084 w 3892734"/>
              <a:gd name="connsiteY33" fmla="*/ 628650 h 2286441"/>
              <a:gd name="connsiteX34" fmla="*/ 3486334 w 3892734"/>
              <a:gd name="connsiteY34" fmla="*/ 495300 h 2286441"/>
              <a:gd name="connsiteX35" fmla="*/ 3594284 w 3892734"/>
              <a:gd name="connsiteY35" fmla="*/ 412750 h 2286441"/>
              <a:gd name="connsiteX36" fmla="*/ 3714934 w 3892734"/>
              <a:gd name="connsiteY36" fmla="*/ 406400 h 2286441"/>
              <a:gd name="connsiteX37" fmla="*/ 3892734 w 3892734"/>
              <a:gd name="connsiteY37" fmla="*/ 412750 h 2286441"/>
              <a:gd name="connsiteX38" fmla="*/ 3892734 w 3892734"/>
              <a:gd name="connsiteY38" fmla="*/ 755650 h 2286441"/>
              <a:gd name="connsiteX39" fmla="*/ 3708584 w 3892734"/>
              <a:gd name="connsiteY39" fmla="*/ 958850 h 2286441"/>
              <a:gd name="connsiteX40" fmla="*/ 3611747 w 3892734"/>
              <a:gd name="connsiteY40" fmla="*/ 1039839 h 2286441"/>
              <a:gd name="connsiteX41" fmla="*/ 3479984 w 3892734"/>
              <a:gd name="connsiteY41" fmla="*/ 1124086 h 2286441"/>
              <a:gd name="connsiteX42" fmla="*/ 3340284 w 3892734"/>
              <a:gd name="connsiteY42" fmla="*/ 1155700 h 2286441"/>
              <a:gd name="connsiteX43" fmla="*/ 3219634 w 3892734"/>
              <a:gd name="connsiteY43" fmla="*/ 1181100 h 2286441"/>
              <a:gd name="connsiteX44" fmla="*/ 3135496 w 3892734"/>
              <a:gd name="connsiteY44" fmla="*/ 1299916 h 2286441"/>
              <a:gd name="connsiteX45" fmla="*/ 2991034 w 3892734"/>
              <a:gd name="connsiteY45" fmla="*/ 1601049 h 2286441"/>
              <a:gd name="connsiteX46" fmla="*/ 2846571 w 3892734"/>
              <a:gd name="connsiteY46" fmla="*/ 1861399 h 2286441"/>
              <a:gd name="connsiteX47" fmla="*/ 2667184 w 3892734"/>
              <a:gd name="connsiteY47" fmla="*/ 2145316 h 2286441"/>
              <a:gd name="connsiteX48" fmla="*/ 2587809 w 3892734"/>
              <a:gd name="connsiteY48" fmla="*/ 2206268 h 2286441"/>
              <a:gd name="connsiteX49" fmla="*/ 2484621 w 3892734"/>
              <a:gd name="connsiteY49" fmla="*/ 2281349 h 2286441"/>
              <a:gd name="connsiteX50" fmla="*/ 2248084 w 3892734"/>
              <a:gd name="connsiteY50" fmla="*/ 2286441 h 2286441"/>
              <a:gd name="connsiteX51" fmla="*/ 2036946 w 3892734"/>
              <a:gd name="connsiteY51" fmla="*/ 2106231 h 2286441"/>
              <a:gd name="connsiteX52" fmla="*/ 1908359 w 3892734"/>
              <a:gd name="connsiteY52" fmla="*/ 1872537 h 2286441"/>
              <a:gd name="connsiteX53" fmla="*/ 1832158 w 3892734"/>
              <a:gd name="connsiteY53" fmla="*/ 1747371 h 2286441"/>
              <a:gd name="connsiteX54" fmla="*/ 1719447 w 3892734"/>
              <a:gd name="connsiteY54" fmla="*/ 1606380 h 2286441"/>
              <a:gd name="connsiteX55" fmla="*/ 1578160 w 3892734"/>
              <a:gd name="connsiteY55" fmla="*/ 1426137 h 2286441"/>
              <a:gd name="connsiteX56" fmla="*/ 1381309 w 3892734"/>
              <a:gd name="connsiteY56" fmla="*/ 1344268 h 2286441"/>
              <a:gd name="connsiteX57" fmla="*/ 1101909 w 3892734"/>
              <a:gd name="connsiteY57" fmla="*/ 1573782 h 2286441"/>
              <a:gd name="connsiteX58" fmla="*/ 895535 w 3892734"/>
              <a:gd name="connsiteY58" fmla="*/ 1609913 h 2286441"/>
              <a:gd name="connsiteX59" fmla="*/ 776471 w 3892734"/>
              <a:gd name="connsiteY59" fmla="*/ 1591782 h 2286441"/>
              <a:gd name="connsiteX60" fmla="*/ 538346 w 3892734"/>
              <a:gd name="connsiteY60" fmla="*/ 1642309 h 2286441"/>
              <a:gd name="connsiteX61" fmla="*/ 397059 w 3892734"/>
              <a:gd name="connsiteY61" fmla="*/ 1620170 h 2286441"/>
              <a:gd name="connsiteX62" fmla="*/ 12884 w 3892734"/>
              <a:gd name="connsiteY62" fmla="*/ 1221921 h 2286441"/>
              <a:gd name="connsiteX63" fmla="*/ 184 w 3892734"/>
              <a:gd name="connsiteY63" fmla="*/ 0 h 2286441"/>
              <a:gd name="connsiteX0" fmla="*/ 184 w 3892734"/>
              <a:gd name="connsiteY0" fmla="*/ 0 h 2286441"/>
              <a:gd name="connsiteX1" fmla="*/ 266884 w 3892734"/>
              <a:gd name="connsiteY1" fmla="*/ 1162050 h 2286441"/>
              <a:gd name="connsiteX2" fmla="*/ 322447 w 3892734"/>
              <a:gd name="connsiteY2" fmla="*/ 1258421 h 2286441"/>
              <a:gd name="connsiteX3" fmla="*/ 376422 w 3892734"/>
              <a:gd name="connsiteY3" fmla="*/ 1353535 h 2286441"/>
              <a:gd name="connsiteX4" fmla="*/ 412934 w 3892734"/>
              <a:gd name="connsiteY4" fmla="*/ 1314450 h 2286441"/>
              <a:gd name="connsiteX5" fmla="*/ 514534 w 3892734"/>
              <a:gd name="connsiteY5" fmla="*/ 996950 h 2286441"/>
              <a:gd name="connsiteX6" fmla="*/ 584384 w 3892734"/>
              <a:gd name="connsiteY6" fmla="*/ 641350 h 2286441"/>
              <a:gd name="connsiteX7" fmla="*/ 641534 w 3892734"/>
              <a:gd name="connsiteY7" fmla="*/ 444500 h 2286441"/>
              <a:gd name="connsiteX8" fmla="*/ 692334 w 3892734"/>
              <a:gd name="connsiteY8" fmla="*/ 330200 h 2286441"/>
              <a:gd name="connsiteX9" fmla="*/ 724084 w 3892734"/>
              <a:gd name="connsiteY9" fmla="*/ 279400 h 2286441"/>
              <a:gd name="connsiteX10" fmla="*/ 806634 w 3892734"/>
              <a:gd name="connsiteY10" fmla="*/ 334581 h 2286441"/>
              <a:gd name="connsiteX11" fmla="*/ 941571 w 3892734"/>
              <a:gd name="connsiteY11" fmla="*/ 603691 h 2286441"/>
              <a:gd name="connsiteX12" fmla="*/ 992372 w 3892734"/>
              <a:gd name="connsiteY12" fmla="*/ 744240 h 2286441"/>
              <a:gd name="connsiteX13" fmla="*/ 1093972 w 3892734"/>
              <a:gd name="connsiteY13" fmla="*/ 842884 h 2286441"/>
              <a:gd name="connsiteX14" fmla="*/ 1198746 w 3892734"/>
              <a:gd name="connsiteY14" fmla="*/ 780371 h 2286441"/>
              <a:gd name="connsiteX15" fmla="*/ 1297171 w 3892734"/>
              <a:gd name="connsiteY15" fmla="*/ 635305 h 2286441"/>
              <a:gd name="connsiteX16" fmla="*/ 1400358 w 3892734"/>
              <a:gd name="connsiteY16" fmla="*/ 547695 h 2286441"/>
              <a:gd name="connsiteX17" fmla="*/ 1486084 w 3892734"/>
              <a:gd name="connsiteY17" fmla="*/ 564606 h 2286441"/>
              <a:gd name="connsiteX18" fmla="*/ 1565459 w 3892734"/>
              <a:gd name="connsiteY18" fmla="*/ 681148 h 2286441"/>
              <a:gd name="connsiteX19" fmla="*/ 1771834 w 3892734"/>
              <a:gd name="connsiteY19" fmla="*/ 1080350 h 2286441"/>
              <a:gd name="connsiteX20" fmla="*/ 1892483 w 3892734"/>
              <a:gd name="connsiteY20" fmla="*/ 1258014 h 2286441"/>
              <a:gd name="connsiteX21" fmla="*/ 2082985 w 3892734"/>
              <a:gd name="connsiteY21" fmla="*/ 1530247 h 2286441"/>
              <a:gd name="connsiteX22" fmla="*/ 2281422 w 3892734"/>
              <a:gd name="connsiteY22" fmla="*/ 1299781 h 2286441"/>
              <a:gd name="connsiteX23" fmla="*/ 2349684 w 3892734"/>
              <a:gd name="connsiteY23" fmla="*/ 1150336 h 2286441"/>
              <a:gd name="connsiteX24" fmla="*/ 2425884 w 3892734"/>
              <a:gd name="connsiteY24" fmla="*/ 925978 h 2286441"/>
              <a:gd name="connsiteX25" fmla="*/ 2519546 w 3892734"/>
              <a:gd name="connsiteY25" fmla="*/ 862207 h 2286441"/>
              <a:gd name="connsiteX26" fmla="*/ 2603683 w 3892734"/>
              <a:gd name="connsiteY26" fmla="*/ 840475 h 2286441"/>
              <a:gd name="connsiteX27" fmla="*/ 2711634 w 3892734"/>
              <a:gd name="connsiteY27" fmla="*/ 907506 h 2286441"/>
              <a:gd name="connsiteX28" fmla="*/ 2822759 w 3892734"/>
              <a:gd name="connsiteY28" fmla="*/ 955622 h 2286441"/>
              <a:gd name="connsiteX29" fmla="*/ 2951346 w 3892734"/>
              <a:gd name="connsiteY29" fmla="*/ 960412 h 2286441"/>
              <a:gd name="connsiteX30" fmla="*/ 3097396 w 3892734"/>
              <a:gd name="connsiteY30" fmla="*/ 920750 h 2286441"/>
              <a:gd name="connsiteX31" fmla="*/ 3175184 w 3892734"/>
              <a:gd name="connsiteY31" fmla="*/ 895350 h 2286441"/>
              <a:gd name="connsiteX32" fmla="*/ 3295834 w 3892734"/>
              <a:gd name="connsiteY32" fmla="*/ 774700 h 2286441"/>
              <a:gd name="connsiteX33" fmla="*/ 3391084 w 3892734"/>
              <a:gd name="connsiteY33" fmla="*/ 628650 h 2286441"/>
              <a:gd name="connsiteX34" fmla="*/ 3486334 w 3892734"/>
              <a:gd name="connsiteY34" fmla="*/ 495300 h 2286441"/>
              <a:gd name="connsiteX35" fmla="*/ 3594284 w 3892734"/>
              <a:gd name="connsiteY35" fmla="*/ 412750 h 2286441"/>
              <a:gd name="connsiteX36" fmla="*/ 3714934 w 3892734"/>
              <a:gd name="connsiteY36" fmla="*/ 406400 h 2286441"/>
              <a:gd name="connsiteX37" fmla="*/ 3892734 w 3892734"/>
              <a:gd name="connsiteY37" fmla="*/ 412750 h 2286441"/>
              <a:gd name="connsiteX38" fmla="*/ 3892734 w 3892734"/>
              <a:gd name="connsiteY38" fmla="*/ 755650 h 2286441"/>
              <a:gd name="connsiteX39" fmla="*/ 3708584 w 3892734"/>
              <a:gd name="connsiteY39" fmla="*/ 958850 h 2286441"/>
              <a:gd name="connsiteX40" fmla="*/ 3611747 w 3892734"/>
              <a:gd name="connsiteY40" fmla="*/ 1039839 h 2286441"/>
              <a:gd name="connsiteX41" fmla="*/ 3479984 w 3892734"/>
              <a:gd name="connsiteY41" fmla="*/ 1124086 h 2286441"/>
              <a:gd name="connsiteX42" fmla="*/ 3340284 w 3892734"/>
              <a:gd name="connsiteY42" fmla="*/ 1155700 h 2286441"/>
              <a:gd name="connsiteX43" fmla="*/ 3219634 w 3892734"/>
              <a:gd name="connsiteY43" fmla="*/ 1181100 h 2286441"/>
              <a:gd name="connsiteX44" fmla="*/ 3135496 w 3892734"/>
              <a:gd name="connsiteY44" fmla="*/ 1299916 h 2286441"/>
              <a:gd name="connsiteX45" fmla="*/ 2991034 w 3892734"/>
              <a:gd name="connsiteY45" fmla="*/ 1601049 h 2286441"/>
              <a:gd name="connsiteX46" fmla="*/ 2846571 w 3892734"/>
              <a:gd name="connsiteY46" fmla="*/ 1861399 h 2286441"/>
              <a:gd name="connsiteX47" fmla="*/ 2667184 w 3892734"/>
              <a:gd name="connsiteY47" fmla="*/ 2145316 h 2286441"/>
              <a:gd name="connsiteX48" fmla="*/ 2587809 w 3892734"/>
              <a:gd name="connsiteY48" fmla="*/ 2206268 h 2286441"/>
              <a:gd name="connsiteX49" fmla="*/ 2484621 w 3892734"/>
              <a:gd name="connsiteY49" fmla="*/ 2281349 h 2286441"/>
              <a:gd name="connsiteX50" fmla="*/ 2248084 w 3892734"/>
              <a:gd name="connsiteY50" fmla="*/ 2286441 h 2286441"/>
              <a:gd name="connsiteX51" fmla="*/ 2036946 w 3892734"/>
              <a:gd name="connsiteY51" fmla="*/ 2106231 h 2286441"/>
              <a:gd name="connsiteX52" fmla="*/ 1908359 w 3892734"/>
              <a:gd name="connsiteY52" fmla="*/ 1872537 h 2286441"/>
              <a:gd name="connsiteX53" fmla="*/ 1832158 w 3892734"/>
              <a:gd name="connsiteY53" fmla="*/ 1747371 h 2286441"/>
              <a:gd name="connsiteX54" fmla="*/ 1719447 w 3892734"/>
              <a:gd name="connsiteY54" fmla="*/ 1606380 h 2286441"/>
              <a:gd name="connsiteX55" fmla="*/ 1578160 w 3892734"/>
              <a:gd name="connsiteY55" fmla="*/ 1426137 h 2286441"/>
              <a:gd name="connsiteX56" fmla="*/ 1381309 w 3892734"/>
              <a:gd name="connsiteY56" fmla="*/ 1344268 h 2286441"/>
              <a:gd name="connsiteX57" fmla="*/ 1101909 w 3892734"/>
              <a:gd name="connsiteY57" fmla="*/ 1573782 h 2286441"/>
              <a:gd name="connsiteX58" fmla="*/ 895535 w 3892734"/>
              <a:gd name="connsiteY58" fmla="*/ 1609913 h 2286441"/>
              <a:gd name="connsiteX59" fmla="*/ 776471 w 3892734"/>
              <a:gd name="connsiteY59" fmla="*/ 1591782 h 2286441"/>
              <a:gd name="connsiteX60" fmla="*/ 538346 w 3892734"/>
              <a:gd name="connsiteY60" fmla="*/ 1642309 h 2286441"/>
              <a:gd name="connsiteX61" fmla="*/ 397059 w 3892734"/>
              <a:gd name="connsiteY61" fmla="*/ 1620170 h 2286441"/>
              <a:gd name="connsiteX62" fmla="*/ 12884 w 3892734"/>
              <a:gd name="connsiteY62" fmla="*/ 1221921 h 2286441"/>
              <a:gd name="connsiteX63" fmla="*/ 184 w 3892734"/>
              <a:gd name="connsiteY63" fmla="*/ 0 h 2286441"/>
              <a:gd name="connsiteX0" fmla="*/ 184 w 3892734"/>
              <a:gd name="connsiteY0" fmla="*/ 0 h 2286441"/>
              <a:gd name="connsiteX1" fmla="*/ 266884 w 3892734"/>
              <a:gd name="connsiteY1" fmla="*/ 1162050 h 2286441"/>
              <a:gd name="connsiteX2" fmla="*/ 322447 w 3892734"/>
              <a:gd name="connsiteY2" fmla="*/ 1258421 h 2286441"/>
              <a:gd name="connsiteX3" fmla="*/ 376422 w 3892734"/>
              <a:gd name="connsiteY3" fmla="*/ 1353535 h 2286441"/>
              <a:gd name="connsiteX4" fmla="*/ 412934 w 3892734"/>
              <a:gd name="connsiteY4" fmla="*/ 1314450 h 2286441"/>
              <a:gd name="connsiteX5" fmla="*/ 514534 w 3892734"/>
              <a:gd name="connsiteY5" fmla="*/ 996950 h 2286441"/>
              <a:gd name="connsiteX6" fmla="*/ 584384 w 3892734"/>
              <a:gd name="connsiteY6" fmla="*/ 641350 h 2286441"/>
              <a:gd name="connsiteX7" fmla="*/ 641534 w 3892734"/>
              <a:gd name="connsiteY7" fmla="*/ 444500 h 2286441"/>
              <a:gd name="connsiteX8" fmla="*/ 692334 w 3892734"/>
              <a:gd name="connsiteY8" fmla="*/ 330200 h 2286441"/>
              <a:gd name="connsiteX9" fmla="*/ 724084 w 3892734"/>
              <a:gd name="connsiteY9" fmla="*/ 279400 h 2286441"/>
              <a:gd name="connsiteX10" fmla="*/ 806634 w 3892734"/>
              <a:gd name="connsiteY10" fmla="*/ 334581 h 2286441"/>
              <a:gd name="connsiteX11" fmla="*/ 941571 w 3892734"/>
              <a:gd name="connsiteY11" fmla="*/ 603691 h 2286441"/>
              <a:gd name="connsiteX12" fmla="*/ 992372 w 3892734"/>
              <a:gd name="connsiteY12" fmla="*/ 744240 h 2286441"/>
              <a:gd name="connsiteX13" fmla="*/ 1093972 w 3892734"/>
              <a:gd name="connsiteY13" fmla="*/ 842884 h 2286441"/>
              <a:gd name="connsiteX14" fmla="*/ 1198746 w 3892734"/>
              <a:gd name="connsiteY14" fmla="*/ 780371 h 2286441"/>
              <a:gd name="connsiteX15" fmla="*/ 1297171 w 3892734"/>
              <a:gd name="connsiteY15" fmla="*/ 635305 h 2286441"/>
              <a:gd name="connsiteX16" fmla="*/ 1400358 w 3892734"/>
              <a:gd name="connsiteY16" fmla="*/ 547695 h 2286441"/>
              <a:gd name="connsiteX17" fmla="*/ 1486084 w 3892734"/>
              <a:gd name="connsiteY17" fmla="*/ 564606 h 2286441"/>
              <a:gd name="connsiteX18" fmla="*/ 1565459 w 3892734"/>
              <a:gd name="connsiteY18" fmla="*/ 681148 h 2286441"/>
              <a:gd name="connsiteX19" fmla="*/ 1771834 w 3892734"/>
              <a:gd name="connsiteY19" fmla="*/ 1080350 h 2286441"/>
              <a:gd name="connsiteX20" fmla="*/ 1892483 w 3892734"/>
              <a:gd name="connsiteY20" fmla="*/ 1258014 h 2286441"/>
              <a:gd name="connsiteX21" fmla="*/ 2082985 w 3892734"/>
              <a:gd name="connsiteY21" fmla="*/ 1530247 h 2286441"/>
              <a:gd name="connsiteX22" fmla="*/ 2281422 w 3892734"/>
              <a:gd name="connsiteY22" fmla="*/ 1299781 h 2286441"/>
              <a:gd name="connsiteX23" fmla="*/ 2349684 w 3892734"/>
              <a:gd name="connsiteY23" fmla="*/ 1150336 h 2286441"/>
              <a:gd name="connsiteX24" fmla="*/ 2425884 w 3892734"/>
              <a:gd name="connsiteY24" fmla="*/ 925978 h 2286441"/>
              <a:gd name="connsiteX25" fmla="*/ 2519546 w 3892734"/>
              <a:gd name="connsiteY25" fmla="*/ 862207 h 2286441"/>
              <a:gd name="connsiteX26" fmla="*/ 2603683 w 3892734"/>
              <a:gd name="connsiteY26" fmla="*/ 840475 h 2286441"/>
              <a:gd name="connsiteX27" fmla="*/ 2711634 w 3892734"/>
              <a:gd name="connsiteY27" fmla="*/ 907506 h 2286441"/>
              <a:gd name="connsiteX28" fmla="*/ 2822759 w 3892734"/>
              <a:gd name="connsiteY28" fmla="*/ 955622 h 2286441"/>
              <a:gd name="connsiteX29" fmla="*/ 2922771 w 3892734"/>
              <a:gd name="connsiteY29" fmla="*/ 946864 h 2286441"/>
              <a:gd name="connsiteX30" fmla="*/ 3097396 w 3892734"/>
              <a:gd name="connsiteY30" fmla="*/ 920750 h 2286441"/>
              <a:gd name="connsiteX31" fmla="*/ 3175184 w 3892734"/>
              <a:gd name="connsiteY31" fmla="*/ 895350 h 2286441"/>
              <a:gd name="connsiteX32" fmla="*/ 3295834 w 3892734"/>
              <a:gd name="connsiteY32" fmla="*/ 774700 h 2286441"/>
              <a:gd name="connsiteX33" fmla="*/ 3391084 w 3892734"/>
              <a:gd name="connsiteY33" fmla="*/ 628650 h 2286441"/>
              <a:gd name="connsiteX34" fmla="*/ 3486334 w 3892734"/>
              <a:gd name="connsiteY34" fmla="*/ 495300 h 2286441"/>
              <a:gd name="connsiteX35" fmla="*/ 3594284 w 3892734"/>
              <a:gd name="connsiteY35" fmla="*/ 412750 h 2286441"/>
              <a:gd name="connsiteX36" fmla="*/ 3714934 w 3892734"/>
              <a:gd name="connsiteY36" fmla="*/ 406400 h 2286441"/>
              <a:gd name="connsiteX37" fmla="*/ 3892734 w 3892734"/>
              <a:gd name="connsiteY37" fmla="*/ 412750 h 2286441"/>
              <a:gd name="connsiteX38" fmla="*/ 3892734 w 3892734"/>
              <a:gd name="connsiteY38" fmla="*/ 755650 h 2286441"/>
              <a:gd name="connsiteX39" fmla="*/ 3708584 w 3892734"/>
              <a:gd name="connsiteY39" fmla="*/ 958850 h 2286441"/>
              <a:gd name="connsiteX40" fmla="*/ 3611747 w 3892734"/>
              <a:gd name="connsiteY40" fmla="*/ 1039839 h 2286441"/>
              <a:gd name="connsiteX41" fmla="*/ 3479984 w 3892734"/>
              <a:gd name="connsiteY41" fmla="*/ 1124086 h 2286441"/>
              <a:gd name="connsiteX42" fmla="*/ 3340284 w 3892734"/>
              <a:gd name="connsiteY42" fmla="*/ 1155700 h 2286441"/>
              <a:gd name="connsiteX43" fmla="*/ 3219634 w 3892734"/>
              <a:gd name="connsiteY43" fmla="*/ 1181100 h 2286441"/>
              <a:gd name="connsiteX44" fmla="*/ 3135496 w 3892734"/>
              <a:gd name="connsiteY44" fmla="*/ 1299916 h 2286441"/>
              <a:gd name="connsiteX45" fmla="*/ 2991034 w 3892734"/>
              <a:gd name="connsiteY45" fmla="*/ 1601049 h 2286441"/>
              <a:gd name="connsiteX46" fmla="*/ 2846571 w 3892734"/>
              <a:gd name="connsiteY46" fmla="*/ 1861399 h 2286441"/>
              <a:gd name="connsiteX47" fmla="*/ 2667184 w 3892734"/>
              <a:gd name="connsiteY47" fmla="*/ 2145316 h 2286441"/>
              <a:gd name="connsiteX48" fmla="*/ 2587809 w 3892734"/>
              <a:gd name="connsiteY48" fmla="*/ 2206268 h 2286441"/>
              <a:gd name="connsiteX49" fmla="*/ 2484621 w 3892734"/>
              <a:gd name="connsiteY49" fmla="*/ 2281349 h 2286441"/>
              <a:gd name="connsiteX50" fmla="*/ 2248084 w 3892734"/>
              <a:gd name="connsiteY50" fmla="*/ 2286441 h 2286441"/>
              <a:gd name="connsiteX51" fmla="*/ 2036946 w 3892734"/>
              <a:gd name="connsiteY51" fmla="*/ 2106231 h 2286441"/>
              <a:gd name="connsiteX52" fmla="*/ 1908359 w 3892734"/>
              <a:gd name="connsiteY52" fmla="*/ 1872537 h 2286441"/>
              <a:gd name="connsiteX53" fmla="*/ 1832158 w 3892734"/>
              <a:gd name="connsiteY53" fmla="*/ 1747371 h 2286441"/>
              <a:gd name="connsiteX54" fmla="*/ 1719447 w 3892734"/>
              <a:gd name="connsiteY54" fmla="*/ 1606380 h 2286441"/>
              <a:gd name="connsiteX55" fmla="*/ 1578160 w 3892734"/>
              <a:gd name="connsiteY55" fmla="*/ 1426137 h 2286441"/>
              <a:gd name="connsiteX56" fmla="*/ 1381309 w 3892734"/>
              <a:gd name="connsiteY56" fmla="*/ 1344268 h 2286441"/>
              <a:gd name="connsiteX57" fmla="*/ 1101909 w 3892734"/>
              <a:gd name="connsiteY57" fmla="*/ 1573782 h 2286441"/>
              <a:gd name="connsiteX58" fmla="*/ 895535 w 3892734"/>
              <a:gd name="connsiteY58" fmla="*/ 1609913 h 2286441"/>
              <a:gd name="connsiteX59" fmla="*/ 776471 w 3892734"/>
              <a:gd name="connsiteY59" fmla="*/ 1591782 h 2286441"/>
              <a:gd name="connsiteX60" fmla="*/ 538346 w 3892734"/>
              <a:gd name="connsiteY60" fmla="*/ 1642309 h 2286441"/>
              <a:gd name="connsiteX61" fmla="*/ 397059 w 3892734"/>
              <a:gd name="connsiteY61" fmla="*/ 1620170 h 2286441"/>
              <a:gd name="connsiteX62" fmla="*/ 12884 w 3892734"/>
              <a:gd name="connsiteY62" fmla="*/ 1221921 h 2286441"/>
              <a:gd name="connsiteX63" fmla="*/ 184 w 3892734"/>
              <a:gd name="connsiteY63" fmla="*/ 0 h 2286441"/>
              <a:gd name="connsiteX0" fmla="*/ 184 w 3892734"/>
              <a:gd name="connsiteY0" fmla="*/ 0 h 2286441"/>
              <a:gd name="connsiteX1" fmla="*/ 266884 w 3892734"/>
              <a:gd name="connsiteY1" fmla="*/ 1162050 h 2286441"/>
              <a:gd name="connsiteX2" fmla="*/ 322447 w 3892734"/>
              <a:gd name="connsiteY2" fmla="*/ 1258421 h 2286441"/>
              <a:gd name="connsiteX3" fmla="*/ 376422 w 3892734"/>
              <a:gd name="connsiteY3" fmla="*/ 1353535 h 2286441"/>
              <a:gd name="connsiteX4" fmla="*/ 412934 w 3892734"/>
              <a:gd name="connsiteY4" fmla="*/ 1314450 h 2286441"/>
              <a:gd name="connsiteX5" fmla="*/ 514534 w 3892734"/>
              <a:gd name="connsiteY5" fmla="*/ 996950 h 2286441"/>
              <a:gd name="connsiteX6" fmla="*/ 584384 w 3892734"/>
              <a:gd name="connsiteY6" fmla="*/ 641350 h 2286441"/>
              <a:gd name="connsiteX7" fmla="*/ 641534 w 3892734"/>
              <a:gd name="connsiteY7" fmla="*/ 444500 h 2286441"/>
              <a:gd name="connsiteX8" fmla="*/ 692334 w 3892734"/>
              <a:gd name="connsiteY8" fmla="*/ 330200 h 2286441"/>
              <a:gd name="connsiteX9" fmla="*/ 724084 w 3892734"/>
              <a:gd name="connsiteY9" fmla="*/ 279400 h 2286441"/>
              <a:gd name="connsiteX10" fmla="*/ 806634 w 3892734"/>
              <a:gd name="connsiteY10" fmla="*/ 334581 h 2286441"/>
              <a:gd name="connsiteX11" fmla="*/ 941571 w 3892734"/>
              <a:gd name="connsiteY11" fmla="*/ 603691 h 2286441"/>
              <a:gd name="connsiteX12" fmla="*/ 992372 w 3892734"/>
              <a:gd name="connsiteY12" fmla="*/ 744240 h 2286441"/>
              <a:gd name="connsiteX13" fmla="*/ 1093972 w 3892734"/>
              <a:gd name="connsiteY13" fmla="*/ 842884 h 2286441"/>
              <a:gd name="connsiteX14" fmla="*/ 1198746 w 3892734"/>
              <a:gd name="connsiteY14" fmla="*/ 780371 h 2286441"/>
              <a:gd name="connsiteX15" fmla="*/ 1297171 w 3892734"/>
              <a:gd name="connsiteY15" fmla="*/ 635305 h 2286441"/>
              <a:gd name="connsiteX16" fmla="*/ 1400358 w 3892734"/>
              <a:gd name="connsiteY16" fmla="*/ 547695 h 2286441"/>
              <a:gd name="connsiteX17" fmla="*/ 1486084 w 3892734"/>
              <a:gd name="connsiteY17" fmla="*/ 564606 h 2286441"/>
              <a:gd name="connsiteX18" fmla="*/ 1565459 w 3892734"/>
              <a:gd name="connsiteY18" fmla="*/ 681148 h 2286441"/>
              <a:gd name="connsiteX19" fmla="*/ 1771834 w 3892734"/>
              <a:gd name="connsiteY19" fmla="*/ 1080350 h 2286441"/>
              <a:gd name="connsiteX20" fmla="*/ 1892483 w 3892734"/>
              <a:gd name="connsiteY20" fmla="*/ 1258014 h 2286441"/>
              <a:gd name="connsiteX21" fmla="*/ 2082985 w 3892734"/>
              <a:gd name="connsiteY21" fmla="*/ 1530247 h 2286441"/>
              <a:gd name="connsiteX22" fmla="*/ 2281422 w 3892734"/>
              <a:gd name="connsiteY22" fmla="*/ 1299781 h 2286441"/>
              <a:gd name="connsiteX23" fmla="*/ 2349684 w 3892734"/>
              <a:gd name="connsiteY23" fmla="*/ 1150336 h 2286441"/>
              <a:gd name="connsiteX24" fmla="*/ 2425884 w 3892734"/>
              <a:gd name="connsiteY24" fmla="*/ 925978 h 2286441"/>
              <a:gd name="connsiteX25" fmla="*/ 2519546 w 3892734"/>
              <a:gd name="connsiteY25" fmla="*/ 862207 h 2286441"/>
              <a:gd name="connsiteX26" fmla="*/ 2603683 w 3892734"/>
              <a:gd name="connsiteY26" fmla="*/ 840475 h 2286441"/>
              <a:gd name="connsiteX27" fmla="*/ 2711634 w 3892734"/>
              <a:gd name="connsiteY27" fmla="*/ 907506 h 2286441"/>
              <a:gd name="connsiteX28" fmla="*/ 2822759 w 3892734"/>
              <a:gd name="connsiteY28" fmla="*/ 955622 h 2286441"/>
              <a:gd name="connsiteX29" fmla="*/ 2922771 w 3892734"/>
              <a:gd name="connsiteY29" fmla="*/ 946864 h 2286441"/>
              <a:gd name="connsiteX30" fmla="*/ 3097396 w 3892734"/>
              <a:gd name="connsiteY30" fmla="*/ 920750 h 2286441"/>
              <a:gd name="connsiteX31" fmla="*/ 3241859 w 3892734"/>
              <a:gd name="connsiteY31" fmla="*/ 881801 h 2286441"/>
              <a:gd name="connsiteX32" fmla="*/ 3295834 w 3892734"/>
              <a:gd name="connsiteY32" fmla="*/ 774700 h 2286441"/>
              <a:gd name="connsiteX33" fmla="*/ 3391084 w 3892734"/>
              <a:gd name="connsiteY33" fmla="*/ 628650 h 2286441"/>
              <a:gd name="connsiteX34" fmla="*/ 3486334 w 3892734"/>
              <a:gd name="connsiteY34" fmla="*/ 495300 h 2286441"/>
              <a:gd name="connsiteX35" fmla="*/ 3594284 w 3892734"/>
              <a:gd name="connsiteY35" fmla="*/ 412750 h 2286441"/>
              <a:gd name="connsiteX36" fmla="*/ 3714934 w 3892734"/>
              <a:gd name="connsiteY36" fmla="*/ 406400 h 2286441"/>
              <a:gd name="connsiteX37" fmla="*/ 3892734 w 3892734"/>
              <a:gd name="connsiteY37" fmla="*/ 412750 h 2286441"/>
              <a:gd name="connsiteX38" fmla="*/ 3892734 w 3892734"/>
              <a:gd name="connsiteY38" fmla="*/ 755650 h 2286441"/>
              <a:gd name="connsiteX39" fmla="*/ 3708584 w 3892734"/>
              <a:gd name="connsiteY39" fmla="*/ 958850 h 2286441"/>
              <a:gd name="connsiteX40" fmla="*/ 3611747 w 3892734"/>
              <a:gd name="connsiteY40" fmla="*/ 1039839 h 2286441"/>
              <a:gd name="connsiteX41" fmla="*/ 3479984 w 3892734"/>
              <a:gd name="connsiteY41" fmla="*/ 1124086 h 2286441"/>
              <a:gd name="connsiteX42" fmla="*/ 3340284 w 3892734"/>
              <a:gd name="connsiteY42" fmla="*/ 1155700 h 2286441"/>
              <a:gd name="connsiteX43" fmla="*/ 3219634 w 3892734"/>
              <a:gd name="connsiteY43" fmla="*/ 1181100 h 2286441"/>
              <a:gd name="connsiteX44" fmla="*/ 3135496 w 3892734"/>
              <a:gd name="connsiteY44" fmla="*/ 1299916 h 2286441"/>
              <a:gd name="connsiteX45" fmla="*/ 2991034 w 3892734"/>
              <a:gd name="connsiteY45" fmla="*/ 1601049 h 2286441"/>
              <a:gd name="connsiteX46" fmla="*/ 2846571 w 3892734"/>
              <a:gd name="connsiteY46" fmla="*/ 1861399 h 2286441"/>
              <a:gd name="connsiteX47" fmla="*/ 2667184 w 3892734"/>
              <a:gd name="connsiteY47" fmla="*/ 2145316 h 2286441"/>
              <a:gd name="connsiteX48" fmla="*/ 2587809 w 3892734"/>
              <a:gd name="connsiteY48" fmla="*/ 2206268 h 2286441"/>
              <a:gd name="connsiteX49" fmla="*/ 2484621 w 3892734"/>
              <a:gd name="connsiteY49" fmla="*/ 2281349 h 2286441"/>
              <a:gd name="connsiteX50" fmla="*/ 2248084 w 3892734"/>
              <a:gd name="connsiteY50" fmla="*/ 2286441 h 2286441"/>
              <a:gd name="connsiteX51" fmla="*/ 2036946 w 3892734"/>
              <a:gd name="connsiteY51" fmla="*/ 2106231 h 2286441"/>
              <a:gd name="connsiteX52" fmla="*/ 1908359 w 3892734"/>
              <a:gd name="connsiteY52" fmla="*/ 1872537 h 2286441"/>
              <a:gd name="connsiteX53" fmla="*/ 1832158 w 3892734"/>
              <a:gd name="connsiteY53" fmla="*/ 1747371 h 2286441"/>
              <a:gd name="connsiteX54" fmla="*/ 1719447 w 3892734"/>
              <a:gd name="connsiteY54" fmla="*/ 1606380 h 2286441"/>
              <a:gd name="connsiteX55" fmla="*/ 1578160 w 3892734"/>
              <a:gd name="connsiteY55" fmla="*/ 1426137 h 2286441"/>
              <a:gd name="connsiteX56" fmla="*/ 1381309 w 3892734"/>
              <a:gd name="connsiteY56" fmla="*/ 1344268 h 2286441"/>
              <a:gd name="connsiteX57" fmla="*/ 1101909 w 3892734"/>
              <a:gd name="connsiteY57" fmla="*/ 1573782 h 2286441"/>
              <a:gd name="connsiteX58" fmla="*/ 895535 w 3892734"/>
              <a:gd name="connsiteY58" fmla="*/ 1609913 h 2286441"/>
              <a:gd name="connsiteX59" fmla="*/ 776471 w 3892734"/>
              <a:gd name="connsiteY59" fmla="*/ 1591782 h 2286441"/>
              <a:gd name="connsiteX60" fmla="*/ 538346 w 3892734"/>
              <a:gd name="connsiteY60" fmla="*/ 1642309 h 2286441"/>
              <a:gd name="connsiteX61" fmla="*/ 397059 w 3892734"/>
              <a:gd name="connsiteY61" fmla="*/ 1620170 h 2286441"/>
              <a:gd name="connsiteX62" fmla="*/ 12884 w 3892734"/>
              <a:gd name="connsiteY62" fmla="*/ 1221921 h 2286441"/>
              <a:gd name="connsiteX63" fmla="*/ 184 w 3892734"/>
              <a:gd name="connsiteY63" fmla="*/ 0 h 2286441"/>
              <a:gd name="connsiteX0" fmla="*/ 184 w 3892734"/>
              <a:gd name="connsiteY0" fmla="*/ 0 h 2286441"/>
              <a:gd name="connsiteX1" fmla="*/ 266884 w 3892734"/>
              <a:gd name="connsiteY1" fmla="*/ 1162050 h 2286441"/>
              <a:gd name="connsiteX2" fmla="*/ 322447 w 3892734"/>
              <a:gd name="connsiteY2" fmla="*/ 1258421 h 2286441"/>
              <a:gd name="connsiteX3" fmla="*/ 376422 w 3892734"/>
              <a:gd name="connsiteY3" fmla="*/ 1353535 h 2286441"/>
              <a:gd name="connsiteX4" fmla="*/ 412934 w 3892734"/>
              <a:gd name="connsiteY4" fmla="*/ 1314450 h 2286441"/>
              <a:gd name="connsiteX5" fmla="*/ 514534 w 3892734"/>
              <a:gd name="connsiteY5" fmla="*/ 996950 h 2286441"/>
              <a:gd name="connsiteX6" fmla="*/ 584384 w 3892734"/>
              <a:gd name="connsiteY6" fmla="*/ 641350 h 2286441"/>
              <a:gd name="connsiteX7" fmla="*/ 641534 w 3892734"/>
              <a:gd name="connsiteY7" fmla="*/ 444500 h 2286441"/>
              <a:gd name="connsiteX8" fmla="*/ 692334 w 3892734"/>
              <a:gd name="connsiteY8" fmla="*/ 330200 h 2286441"/>
              <a:gd name="connsiteX9" fmla="*/ 724084 w 3892734"/>
              <a:gd name="connsiteY9" fmla="*/ 279400 h 2286441"/>
              <a:gd name="connsiteX10" fmla="*/ 806634 w 3892734"/>
              <a:gd name="connsiteY10" fmla="*/ 334581 h 2286441"/>
              <a:gd name="connsiteX11" fmla="*/ 941571 w 3892734"/>
              <a:gd name="connsiteY11" fmla="*/ 603691 h 2286441"/>
              <a:gd name="connsiteX12" fmla="*/ 992372 w 3892734"/>
              <a:gd name="connsiteY12" fmla="*/ 744240 h 2286441"/>
              <a:gd name="connsiteX13" fmla="*/ 1093972 w 3892734"/>
              <a:gd name="connsiteY13" fmla="*/ 842884 h 2286441"/>
              <a:gd name="connsiteX14" fmla="*/ 1198746 w 3892734"/>
              <a:gd name="connsiteY14" fmla="*/ 780371 h 2286441"/>
              <a:gd name="connsiteX15" fmla="*/ 1297171 w 3892734"/>
              <a:gd name="connsiteY15" fmla="*/ 635305 h 2286441"/>
              <a:gd name="connsiteX16" fmla="*/ 1400358 w 3892734"/>
              <a:gd name="connsiteY16" fmla="*/ 547695 h 2286441"/>
              <a:gd name="connsiteX17" fmla="*/ 1486084 w 3892734"/>
              <a:gd name="connsiteY17" fmla="*/ 564606 h 2286441"/>
              <a:gd name="connsiteX18" fmla="*/ 1565459 w 3892734"/>
              <a:gd name="connsiteY18" fmla="*/ 681148 h 2286441"/>
              <a:gd name="connsiteX19" fmla="*/ 1771834 w 3892734"/>
              <a:gd name="connsiteY19" fmla="*/ 1080350 h 2286441"/>
              <a:gd name="connsiteX20" fmla="*/ 1892483 w 3892734"/>
              <a:gd name="connsiteY20" fmla="*/ 1258014 h 2286441"/>
              <a:gd name="connsiteX21" fmla="*/ 2082985 w 3892734"/>
              <a:gd name="connsiteY21" fmla="*/ 1530247 h 2286441"/>
              <a:gd name="connsiteX22" fmla="*/ 2281422 w 3892734"/>
              <a:gd name="connsiteY22" fmla="*/ 1299781 h 2286441"/>
              <a:gd name="connsiteX23" fmla="*/ 2349684 w 3892734"/>
              <a:gd name="connsiteY23" fmla="*/ 1150336 h 2286441"/>
              <a:gd name="connsiteX24" fmla="*/ 2425884 w 3892734"/>
              <a:gd name="connsiteY24" fmla="*/ 925978 h 2286441"/>
              <a:gd name="connsiteX25" fmla="*/ 2519546 w 3892734"/>
              <a:gd name="connsiteY25" fmla="*/ 862207 h 2286441"/>
              <a:gd name="connsiteX26" fmla="*/ 2603683 w 3892734"/>
              <a:gd name="connsiteY26" fmla="*/ 840475 h 2286441"/>
              <a:gd name="connsiteX27" fmla="*/ 2711634 w 3892734"/>
              <a:gd name="connsiteY27" fmla="*/ 907506 h 2286441"/>
              <a:gd name="connsiteX28" fmla="*/ 2822759 w 3892734"/>
              <a:gd name="connsiteY28" fmla="*/ 955622 h 2286441"/>
              <a:gd name="connsiteX29" fmla="*/ 2922771 w 3892734"/>
              <a:gd name="connsiteY29" fmla="*/ 946864 h 2286441"/>
              <a:gd name="connsiteX30" fmla="*/ 3097396 w 3892734"/>
              <a:gd name="connsiteY30" fmla="*/ 920750 h 2286441"/>
              <a:gd name="connsiteX31" fmla="*/ 3241859 w 3892734"/>
              <a:gd name="connsiteY31" fmla="*/ 881801 h 2286441"/>
              <a:gd name="connsiteX32" fmla="*/ 3424422 w 3892734"/>
              <a:gd name="connsiteY32" fmla="*/ 770183 h 2286441"/>
              <a:gd name="connsiteX33" fmla="*/ 3391084 w 3892734"/>
              <a:gd name="connsiteY33" fmla="*/ 628650 h 2286441"/>
              <a:gd name="connsiteX34" fmla="*/ 3486334 w 3892734"/>
              <a:gd name="connsiteY34" fmla="*/ 495300 h 2286441"/>
              <a:gd name="connsiteX35" fmla="*/ 3594284 w 3892734"/>
              <a:gd name="connsiteY35" fmla="*/ 412750 h 2286441"/>
              <a:gd name="connsiteX36" fmla="*/ 3714934 w 3892734"/>
              <a:gd name="connsiteY36" fmla="*/ 406400 h 2286441"/>
              <a:gd name="connsiteX37" fmla="*/ 3892734 w 3892734"/>
              <a:gd name="connsiteY37" fmla="*/ 412750 h 2286441"/>
              <a:gd name="connsiteX38" fmla="*/ 3892734 w 3892734"/>
              <a:gd name="connsiteY38" fmla="*/ 755650 h 2286441"/>
              <a:gd name="connsiteX39" fmla="*/ 3708584 w 3892734"/>
              <a:gd name="connsiteY39" fmla="*/ 958850 h 2286441"/>
              <a:gd name="connsiteX40" fmla="*/ 3611747 w 3892734"/>
              <a:gd name="connsiteY40" fmla="*/ 1039839 h 2286441"/>
              <a:gd name="connsiteX41" fmla="*/ 3479984 w 3892734"/>
              <a:gd name="connsiteY41" fmla="*/ 1124086 h 2286441"/>
              <a:gd name="connsiteX42" fmla="*/ 3340284 w 3892734"/>
              <a:gd name="connsiteY42" fmla="*/ 1155700 h 2286441"/>
              <a:gd name="connsiteX43" fmla="*/ 3219634 w 3892734"/>
              <a:gd name="connsiteY43" fmla="*/ 1181100 h 2286441"/>
              <a:gd name="connsiteX44" fmla="*/ 3135496 w 3892734"/>
              <a:gd name="connsiteY44" fmla="*/ 1299916 h 2286441"/>
              <a:gd name="connsiteX45" fmla="*/ 2991034 w 3892734"/>
              <a:gd name="connsiteY45" fmla="*/ 1601049 h 2286441"/>
              <a:gd name="connsiteX46" fmla="*/ 2846571 w 3892734"/>
              <a:gd name="connsiteY46" fmla="*/ 1861399 h 2286441"/>
              <a:gd name="connsiteX47" fmla="*/ 2667184 w 3892734"/>
              <a:gd name="connsiteY47" fmla="*/ 2145316 h 2286441"/>
              <a:gd name="connsiteX48" fmla="*/ 2587809 w 3892734"/>
              <a:gd name="connsiteY48" fmla="*/ 2206268 h 2286441"/>
              <a:gd name="connsiteX49" fmla="*/ 2484621 w 3892734"/>
              <a:gd name="connsiteY49" fmla="*/ 2281349 h 2286441"/>
              <a:gd name="connsiteX50" fmla="*/ 2248084 w 3892734"/>
              <a:gd name="connsiteY50" fmla="*/ 2286441 h 2286441"/>
              <a:gd name="connsiteX51" fmla="*/ 2036946 w 3892734"/>
              <a:gd name="connsiteY51" fmla="*/ 2106231 h 2286441"/>
              <a:gd name="connsiteX52" fmla="*/ 1908359 w 3892734"/>
              <a:gd name="connsiteY52" fmla="*/ 1872537 h 2286441"/>
              <a:gd name="connsiteX53" fmla="*/ 1832158 w 3892734"/>
              <a:gd name="connsiteY53" fmla="*/ 1747371 h 2286441"/>
              <a:gd name="connsiteX54" fmla="*/ 1719447 w 3892734"/>
              <a:gd name="connsiteY54" fmla="*/ 1606380 h 2286441"/>
              <a:gd name="connsiteX55" fmla="*/ 1578160 w 3892734"/>
              <a:gd name="connsiteY55" fmla="*/ 1426137 h 2286441"/>
              <a:gd name="connsiteX56" fmla="*/ 1381309 w 3892734"/>
              <a:gd name="connsiteY56" fmla="*/ 1344268 h 2286441"/>
              <a:gd name="connsiteX57" fmla="*/ 1101909 w 3892734"/>
              <a:gd name="connsiteY57" fmla="*/ 1573782 h 2286441"/>
              <a:gd name="connsiteX58" fmla="*/ 895535 w 3892734"/>
              <a:gd name="connsiteY58" fmla="*/ 1609913 h 2286441"/>
              <a:gd name="connsiteX59" fmla="*/ 776471 w 3892734"/>
              <a:gd name="connsiteY59" fmla="*/ 1591782 h 2286441"/>
              <a:gd name="connsiteX60" fmla="*/ 538346 w 3892734"/>
              <a:gd name="connsiteY60" fmla="*/ 1642309 h 2286441"/>
              <a:gd name="connsiteX61" fmla="*/ 397059 w 3892734"/>
              <a:gd name="connsiteY61" fmla="*/ 1620170 h 2286441"/>
              <a:gd name="connsiteX62" fmla="*/ 12884 w 3892734"/>
              <a:gd name="connsiteY62" fmla="*/ 1221921 h 2286441"/>
              <a:gd name="connsiteX63" fmla="*/ 184 w 3892734"/>
              <a:gd name="connsiteY63" fmla="*/ 0 h 2286441"/>
              <a:gd name="connsiteX0" fmla="*/ 184 w 3892734"/>
              <a:gd name="connsiteY0" fmla="*/ 0 h 2286441"/>
              <a:gd name="connsiteX1" fmla="*/ 266884 w 3892734"/>
              <a:gd name="connsiteY1" fmla="*/ 1162050 h 2286441"/>
              <a:gd name="connsiteX2" fmla="*/ 322447 w 3892734"/>
              <a:gd name="connsiteY2" fmla="*/ 1258421 h 2286441"/>
              <a:gd name="connsiteX3" fmla="*/ 376422 w 3892734"/>
              <a:gd name="connsiteY3" fmla="*/ 1353535 h 2286441"/>
              <a:gd name="connsiteX4" fmla="*/ 412934 w 3892734"/>
              <a:gd name="connsiteY4" fmla="*/ 1314450 h 2286441"/>
              <a:gd name="connsiteX5" fmla="*/ 514534 w 3892734"/>
              <a:gd name="connsiteY5" fmla="*/ 996950 h 2286441"/>
              <a:gd name="connsiteX6" fmla="*/ 584384 w 3892734"/>
              <a:gd name="connsiteY6" fmla="*/ 641350 h 2286441"/>
              <a:gd name="connsiteX7" fmla="*/ 641534 w 3892734"/>
              <a:gd name="connsiteY7" fmla="*/ 444500 h 2286441"/>
              <a:gd name="connsiteX8" fmla="*/ 692334 w 3892734"/>
              <a:gd name="connsiteY8" fmla="*/ 330200 h 2286441"/>
              <a:gd name="connsiteX9" fmla="*/ 724084 w 3892734"/>
              <a:gd name="connsiteY9" fmla="*/ 279400 h 2286441"/>
              <a:gd name="connsiteX10" fmla="*/ 806634 w 3892734"/>
              <a:gd name="connsiteY10" fmla="*/ 334581 h 2286441"/>
              <a:gd name="connsiteX11" fmla="*/ 941571 w 3892734"/>
              <a:gd name="connsiteY11" fmla="*/ 603691 h 2286441"/>
              <a:gd name="connsiteX12" fmla="*/ 992372 w 3892734"/>
              <a:gd name="connsiteY12" fmla="*/ 744240 h 2286441"/>
              <a:gd name="connsiteX13" fmla="*/ 1093972 w 3892734"/>
              <a:gd name="connsiteY13" fmla="*/ 842884 h 2286441"/>
              <a:gd name="connsiteX14" fmla="*/ 1198746 w 3892734"/>
              <a:gd name="connsiteY14" fmla="*/ 780371 h 2286441"/>
              <a:gd name="connsiteX15" fmla="*/ 1297171 w 3892734"/>
              <a:gd name="connsiteY15" fmla="*/ 635305 h 2286441"/>
              <a:gd name="connsiteX16" fmla="*/ 1400358 w 3892734"/>
              <a:gd name="connsiteY16" fmla="*/ 547695 h 2286441"/>
              <a:gd name="connsiteX17" fmla="*/ 1486084 w 3892734"/>
              <a:gd name="connsiteY17" fmla="*/ 564606 h 2286441"/>
              <a:gd name="connsiteX18" fmla="*/ 1565459 w 3892734"/>
              <a:gd name="connsiteY18" fmla="*/ 681148 h 2286441"/>
              <a:gd name="connsiteX19" fmla="*/ 1771834 w 3892734"/>
              <a:gd name="connsiteY19" fmla="*/ 1080350 h 2286441"/>
              <a:gd name="connsiteX20" fmla="*/ 1892483 w 3892734"/>
              <a:gd name="connsiteY20" fmla="*/ 1258014 h 2286441"/>
              <a:gd name="connsiteX21" fmla="*/ 2082985 w 3892734"/>
              <a:gd name="connsiteY21" fmla="*/ 1530247 h 2286441"/>
              <a:gd name="connsiteX22" fmla="*/ 2281422 w 3892734"/>
              <a:gd name="connsiteY22" fmla="*/ 1299781 h 2286441"/>
              <a:gd name="connsiteX23" fmla="*/ 2349684 w 3892734"/>
              <a:gd name="connsiteY23" fmla="*/ 1150336 h 2286441"/>
              <a:gd name="connsiteX24" fmla="*/ 2425884 w 3892734"/>
              <a:gd name="connsiteY24" fmla="*/ 925978 h 2286441"/>
              <a:gd name="connsiteX25" fmla="*/ 2519546 w 3892734"/>
              <a:gd name="connsiteY25" fmla="*/ 862207 h 2286441"/>
              <a:gd name="connsiteX26" fmla="*/ 2603683 w 3892734"/>
              <a:gd name="connsiteY26" fmla="*/ 840475 h 2286441"/>
              <a:gd name="connsiteX27" fmla="*/ 2711634 w 3892734"/>
              <a:gd name="connsiteY27" fmla="*/ 907506 h 2286441"/>
              <a:gd name="connsiteX28" fmla="*/ 2822759 w 3892734"/>
              <a:gd name="connsiteY28" fmla="*/ 955622 h 2286441"/>
              <a:gd name="connsiteX29" fmla="*/ 2922771 w 3892734"/>
              <a:gd name="connsiteY29" fmla="*/ 946864 h 2286441"/>
              <a:gd name="connsiteX30" fmla="*/ 3097396 w 3892734"/>
              <a:gd name="connsiteY30" fmla="*/ 920750 h 2286441"/>
              <a:gd name="connsiteX31" fmla="*/ 3241859 w 3892734"/>
              <a:gd name="connsiteY31" fmla="*/ 881801 h 2286441"/>
              <a:gd name="connsiteX32" fmla="*/ 3372035 w 3892734"/>
              <a:gd name="connsiteY32" fmla="*/ 761150 h 2286441"/>
              <a:gd name="connsiteX33" fmla="*/ 3391084 w 3892734"/>
              <a:gd name="connsiteY33" fmla="*/ 628650 h 2286441"/>
              <a:gd name="connsiteX34" fmla="*/ 3486334 w 3892734"/>
              <a:gd name="connsiteY34" fmla="*/ 495300 h 2286441"/>
              <a:gd name="connsiteX35" fmla="*/ 3594284 w 3892734"/>
              <a:gd name="connsiteY35" fmla="*/ 412750 h 2286441"/>
              <a:gd name="connsiteX36" fmla="*/ 3714934 w 3892734"/>
              <a:gd name="connsiteY36" fmla="*/ 406400 h 2286441"/>
              <a:gd name="connsiteX37" fmla="*/ 3892734 w 3892734"/>
              <a:gd name="connsiteY37" fmla="*/ 412750 h 2286441"/>
              <a:gd name="connsiteX38" fmla="*/ 3892734 w 3892734"/>
              <a:gd name="connsiteY38" fmla="*/ 755650 h 2286441"/>
              <a:gd name="connsiteX39" fmla="*/ 3708584 w 3892734"/>
              <a:gd name="connsiteY39" fmla="*/ 958850 h 2286441"/>
              <a:gd name="connsiteX40" fmla="*/ 3611747 w 3892734"/>
              <a:gd name="connsiteY40" fmla="*/ 1039839 h 2286441"/>
              <a:gd name="connsiteX41" fmla="*/ 3479984 w 3892734"/>
              <a:gd name="connsiteY41" fmla="*/ 1124086 h 2286441"/>
              <a:gd name="connsiteX42" fmla="*/ 3340284 w 3892734"/>
              <a:gd name="connsiteY42" fmla="*/ 1155700 h 2286441"/>
              <a:gd name="connsiteX43" fmla="*/ 3219634 w 3892734"/>
              <a:gd name="connsiteY43" fmla="*/ 1181100 h 2286441"/>
              <a:gd name="connsiteX44" fmla="*/ 3135496 w 3892734"/>
              <a:gd name="connsiteY44" fmla="*/ 1299916 h 2286441"/>
              <a:gd name="connsiteX45" fmla="*/ 2991034 w 3892734"/>
              <a:gd name="connsiteY45" fmla="*/ 1601049 h 2286441"/>
              <a:gd name="connsiteX46" fmla="*/ 2846571 w 3892734"/>
              <a:gd name="connsiteY46" fmla="*/ 1861399 h 2286441"/>
              <a:gd name="connsiteX47" fmla="*/ 2667184 w 3892734"/>
              <a:gd name="connsiteY47" fmla="*/ 2145316 h 2286441"/>
              <a:gd name="connsiteX48" fmla="*/ 2587809 w 3892734"/>
              <a:gd name="connsiteY48" fmla="*/ 2206268 h 2286441"/>
              <a:gd name="connsiteX49" fmla="*/ 2484621 w 3892734"/>
              <a:gd name="connsiteY49" fmla="*/ 2281349 h 2286441"/>
              <a:gd name="connsiteX50" fmla="*/ 2248084 w 3892734"/>
              <a:gd name="connsiteY50" fmla="*/ 2286441 h 2286441"/>
              <a:gd name="connsiteX51" fmla="*/ 2036946 w 3892734"/>
              <a:gd name="connsiteY51" fmla="*/ 2106231 h 2286441"/>
              <a:gd name="connsiteX52" fmla="*/ 1908359 w 3892734"/>
              <a:gd name="connsiteY52" fmla="*/ 1872537 h 2286441"/>
              <a:gd name="connsiteX53" fmla="*/ 1832158 w 3892734"/>
              <a:gd name="connsiteY53" fmla="*/ 1747371 h 2286441"/>
              <a:gd name="connsiteX54" fmla="*/ 1719447 w 3892734"/>
              <a:gd name="connsiteY54" fmla="*/ 1606380 h 2286441"/>
              <a:gd name="connsiteX55" fmla="*/ 1578160 w 3892734"/>
              <a:gd name="connsiteY55" fmla="*/ 1426137 h 2286441"/>
              <a:gd name="connsiteX56" fmla="*/ 1381309 w 3892734"/>
              <a:gd name="connsiteY56" fmla="*/ 1344268 h 2286441"/>
              <a:gd name="connsiteX57" fmla="*/ 1101909 w 3892734"/>
              <a:gd name="connsiteY57" fmla="*/ 1573782 h 2286441"/>
              <a:gd name="connsiteX58" fmla="*/ 895535 w 3892734"/>
              <a:gd name="connsiteY58" fmla="*/ 1609913 h 2286441"/>
              <a:gd name="connsiteX59" fmla="*/ 776471 w 3892734"/>
              <a:gd name="connsiteY59" fmla="*/ 1591782 h 2286441"/>
              <a:gd name="connsiteX60" fmla="*/ 538346 w 3892734"/>
              <a:gd name="connsiteY60" fmla="*/ 1642309 h 2286441"/>
              <a:gd name="connsiteX61" fmla="*/ 397059 w 3892734"/>
              <a:gd name="connsiteY61" fmla="*/ 1620170 h 2286441"/>
              <a:gd name="connsiteX62" fmla="*/ 12884 w 3892734"/>
              <a:gd name="connsiteY62" fmla="*/ 1221921 h 2286441"/>
              <a:gd name="connsiteX63" fmla="*/ 184 w 3892734"/>
              <a:gd name="connsiteY63" fmla="*/ 0 h 2286441"/>
              <a:gd name="connsiteX0" fmla="*/ 184 w 3892734"/>
              <a:gd name="connsiteY0" fmla="*/ 0 h 2286441"/>
              <a:gd name="connsiteX1" fmla="*/ 266884 w 3892734"/>
              <a:gd name="connsiteY1" fmla="*/ 1162050 h 2286441"/>
              <a:gd name="connsiteX2" fmla="*/ 322447 w 3892734"/>
              <a:gd name="connsiteY2" fmla="*/ 1258421 h 2286441"/>
              <a:gd name="connsiteX3" fmla="*/ 376422 w 3892734"/>
              <a:gd name="connsiteY3" fmla="*/ 1353535 h 2286441"/>
              <a:gd name="connsiteX4" fmla="*/ 412934 w 3892734"/>
              <a:gd name="connsiteY4" fmla="*/ 1314450 h 2286441"/>
              <a:gd name="connsiteX5" fmla="*/ 514534 w 3892734"/>
              <a:gd name="connsiteY5" fmla="*/ 996950 h 2286441"/>
              <a:gd name="connsiteX6" fmla="*/ 584384 w 3892734"/>
              <a:gd name="connsiteY6" fmla="*/ 641350 h 2286441"/>
              <a:gd name="connsiteX7" fmla="*/ 641534 w 3892734"/>
              <a:gd name="connsiteY7" fmla="*/ 444500 h 2286441"/>
              <a:gd name="connsiteX8" fmla="*/ 692334 w 3892734"/>
              <a:gd name="connsiteY8" fmla="*/ 330200 h 2286441"/>
              <a:gd name="connsiteX9" fmla="*/ 724084 w 3892734"/>
              <a:gd name="connsiteY9" fmla="*/ 279400 h 2286441"/>
              <a:gd name="connsiteX10" fmla="*/ 806634 w 3892734"/>
              <a:gd name="connsiteY10" fmla="*/ 334581 h 2286441"/>
              <a:gd name="connsiteX11" fmla="*/ 941571 w 3892734"/>
              <a:gd name="connsiteY11" fmla="*/ 603691 h 2286441"/>
              <a:gd name="connsiteX12" fmla="*/ 992372 w 3892734"/>
              <a:gd name="connsiteY12" fmla="*/ 744240 h 2286441"/>
              <a:gd name="connsiteX13" fmla="*/ 1093972 w 3892734"/>
              <a:gd name="connsiteY13" fmla="*/ 842884 h 2286441"/>
              <a:gd name="connsiteX14" fmla="*/ 1198746 w 3892734"/>
              <a:gd name="connsiteY14" fmla="*/ 780371 h 2286441"/>
              <a:gd name="connsiteX15" fmla="*/ 1297171 w 3892734"/>
              <a:gd name="connsiteY15" fmla="*/ 635305 h 2286441"/>
              <a:gd name="connsiteX16" fmla="*/ 1400358 w 3892734"/>
              <a:gd name="connsiteY16" fmla="*/ 547695 h 2286441"/>
              <a:gd name="connsiteX17" fmla="*/ 1486084 w 3892734"/>
              <a:gd name="connsiteY17" fmla="*/ 564606 h 2286441"/>
              <a:gd name="connsiteX18" fmla="*/ 1565459 w 3892734"/>
              <a:gd name="connsiteY18" fmla="*/ 681148 h 2286441"/>
              <a:gd name="connsiteX19" fmla="*/ 1771834 w 3892734"/>
              <a:gd name="connsiteY19" fmla="*/ 1080350 h 2286441"/>
              <a:gd name="connsiteX20" fmla="*/ 1892483 w 3892734"/>
              <a:gd name="connsiteY20" fmla="*/ 1258014 h 2286441"/>
              <a:gd name="connsiteX21" fmla="*/ 2082985 w 3892734"/>
              <a:gd name="connsiteY21" fmla="*/ 1530247 h 2286441"/>
              <a:gd name="connsiteX22" fmla="*/ 2281422 w 3892734"/>
              <a:gd name="connsiteY22" fmla="*/ 1299781 h 2286441"/>
              <a:gd name="connsiteX23" fmla="*/ 2349684 w 3892734"/>
              <a:gd name="connsiteY23" fmla="*/ 1150336 h 2286441"/>
              <a:gd name="connsiteX24" fmla="*/ 2425884 w 3892734"/>
              <a:gd name="connsiteY24" fmla="*/ 925978 h 2286441"/>
              <a:gd name="connsiteX25" fmla="*/ 2519546 w 3892734"/>
              <a:gd name="connsiteY25" fmla="*/ 862207 h 2286441"/>
              <a:gd name="connsiteX26" fmla="*/ 2603683 w 3892734"/>
              <a:gd name="connsiteY26" fmla="*/ 840475 h 2286441"/>
              <a:gd name="connsiteX27" fmla="*/ 2711634 w 3892734"/>
              <a:gd name="connsiteY27" fmla="*/ 907506 h 2286441"/>
              <a:gd name="connsiteX28" fmla="*/ 2822759 w 3892734"/>
              <a:gd name="connsiteY28" fmla="*/ 955622 h 2286441"/>
              <a:gd name="connsiteX29" fmla="*/ 2922771 w 3892734"/>
              <a:gd name="connsiteY29" fmla="*/ 946864 h 2286441"/>
              <a:gd name="connsiteX30" fmla="*/ 3097396 w 3892734"/>
              <a:gd name="connsiteY30" fmla="*/ 920750 h 2286441"/>
              <a:gd name="connsiteX31" fmla="*/ 3241859 w 3892734"/>
              <a:gd name="connsiteY31" fmla="*/ 881801 h 2286441"/>
              <a:gd name="connsiteX32" fmla="*/ 3372035 w 3892734"/>
              <a:gd name="connsiteY32" fmla="*/ 761150 h 2286441"/>
              <a:gd name="connsiteX33" fmla="*/ 3476809 w 3892734"/>
              <a:gd name="connsiteY33" fmla="*/ 628650 h 2286441"/>
              <a:gd name="connsiteX34" fmla="*/ 3486334 w 3892734"/>
              <a:gd name="connsiteY34" fmla="*/ 495300 h 2286441"/>
              <a:gd name="connsiteX35" fmla="*/ 3594284 w 3892734"/>
              <a:gd name="connsiteY35" fmla="*/ 412750 h 2286441"/>
              <a:gd name="connsiteX36" fmla="*/ 3714934 w 3892734"/>
              <a:gd name="connsiteY36" fmla="*/ 406400 h 2286441"/>
              <a:gd name="connsiteX37" fmla="*/ 3892734 w 3892734"/>
              <a:gd name="connsiteY37" fmla="*/ 412750 h 2286441"/>
              <a:gd name="connsiteX38" fmla="*/ 3892734 w 3892734"/>
              <a:gd name="connsiteY38" fmla="*/ 755650 h 2286441"/>
              <a:gd name="connsiteX39" fmla="*/ 3708584 w 3892734"/>
              <a:gd name="connsiteY39" fmla="*/ 958850 h 2286441"/>
              <a:gd name="connsiteX40" fmla="*/ 3611747 w 3892734"/>
              <a:gd name="connsiteY40" fmla="*/ 1039839 h 2286441"/>
              <a:gd name="connsiteX41" fmla="*/ 3479984 w 3892734"/>
              <a:gd name="connsiteY41" fmla="*/ 1124086 h 2286441"/>
              <a:gd name="connsiteX42" fmla="*/ 3340284 w 3892734"/>
              <a:gd name="connsiteY42" fmla="*/ 1155700 h 2286441"/>
              <a:gd name="connsiteX43" fmla="*/ 3219634 w 3892734"/>
              <a:gd name="connsiteY43" fmla="*/ 1181100 h 2286441"/>
              <a:gd name="connsiteX44" fmla="*/ 3135496 w 3892734"/>
              <a:gd name="connsiteY44" fmla="*/ 1299916 h 2286441"/>
              <a:gd name="connsiteX45" fmla="*/ 2991034 w 3892734"/>
              <a:gd name="connsiteY45" fmla="*/ 1601049 h 2286441"/>
              <a:gd name="connsiteX46" fmla="*/ 2846571 w 3892734"/>
              <a:gd name="connsiteY46" fmla="*/ 1861399 h 2286441"/>
              <a:gd name="connsiteX47" fmla="*/ 2667184 w 3892734"/>
              <a:gd name="connsiteY47" fmla="*/ 2145316 h 2286441"/>
              <a:gd name="connsiteX48" fmla="*/ 2587809 w 3892734"/>
              <a:gd name="connsiteY48" fmla="*/ 2206268 h 2286441"/>
              <a:gd name="connsiteX49" fmla="*/ 2484621 w 3892734"/>
              <a:gd name="connsiteY49" fmla="*/ 2281349 h 2286441"/>
              <a:gd name="connsiteX50" fmla="*/ 2248084 w 3892734"/>
              <a:gd name="connsiteY50" fmla="*/ 2286441 h 2286441"/>
              <a:gd name="connsiteX51" fmla="*/ 2036946 w 3892734"/>
              <a:gd name="connsiteY51" fmla="*/ 2106231 h 2286441"/>
              <a:gd name="connsiteX52" fmla="*/ 1908359 w 3892734"/>
              <a:gd name="connsiteY52" fmla="*/ 1872537 h 2286441"/>
              <a:gd name="connsiteX53" fmla="*/ 1832158 w 3892734"/>
              <a:gd name="connsiteY53" fmla="*/ 1747371 h 2286441"/>
              <a:gd name="connsiteX54" fmla="*/ 1719447 w 3892734"/>
              <a:gd name="connsiteY54" fmla="*/ 1606380 h 2286441"/>
              <a:gd name="connsiteX55" fmla="*/ 1578160 w 3892734"/>
              <a:gd name="connsiteY55" fmla="*/ 1426137 h 2286441"/>
              <a:gd name="connsiteX56" fmla="*/ 1381309 w 3892734"/>
              <a:gd name="connsiteY56" fmla="*/ 1344268 h 2286441"/>
              <a:gd name="connsiteX57" fmla="*/ 1101909 w 3892734"/>
              <a:gd name="connsiteY57" fmla="*/ 1573782 h 2286441"/>
              <a:gd name="connsiteX58" fmla="*/ 895535 w 3892734"/>
              <a:gd name="connsiteY58" fmla="*/ 1609913 h 2286441"/>
              <a:gd name="connsiteX59" fmla="*/ 776471 w 3892734"/>
              <a:gd name="connsiteY59" fmla="*/ 1591782 h 2286441"/>
              <a:gd name="connsiteX60" fmla="*/ 538346 w 3892734"/>
              <a:gd name="connsiteY60" fmla="*/ 1642309 h 2286441"/>
              <a:gd name="connsiteX61" fmla="*/ 397059 w 3892734"/>
              <a:gd name="connsiteY61" fmla="*/ 1620170 h 2286441"/>
              <a:gd name="connsiteX62" fmla="*/ 12884 w 3892734"/>
              <a:gd name="connsiteY62" fmla="*/ 1221921 h 2286441"/>
              <a:gd name="connsiteX63" fmla="*/ 184 w 3892734"/>
              <a:gd name="connsiteY63" fmla="*/ 0 h 2286441"/>
              <a:gd name="connsiteX0" fmla="*/ 184 w 3892734"/>
              <a:gd name="connsiteY0" fmla="*/ 0 h 2286441"/>
              <a:gd name="connsiteX1" fmla="*/ 266884 w 3892734"/>
              <a:gd name="connsiteY1" fmla="*/ 1162050 h 2286441"/>
              <a:gd name="connsiteX2" fmla="*/ 322447 w 3892734"/>
              <a:gd name="connsiteY2" fmla="*/ 1258421 h 2286441"/>
              <a:gd name="connsiteX3" fmla="*/ 376422 w 3892734"/>
              <a:gd name="connsiteY3" fmla="*/ 1353535 h 2286441"/>
              <a:gd name="connsiteX4" fmla="*/ 412934 w 3892734"/>
              <a:gd name="connsiteY4" fmla="*/ 1314450 h 2286441"/>
              <a:gd name="connsiteX5" fmla="*/ 514534 w 3892734"/>
              <a:gd name="connsiteY5" fmla="*/ 996950 h 2286441"/>
              <a:gd name="connsiteX6" fmla="*/ 584384 w 3892734"/>
              <a:gd name="connsiteY6" fmla="*/ 641350 h 2286441"/>
              <a:gd name="connsiteX7" fmla="*/ 641534 w 3892734"/>
              <a:gd name="connsiteY7" fmla="*/ 444500 h 2286441"/>
              <a:gd name="connsiteX8" fmla="*/ 692334 w 3892734"/>
              <a:gd name="connsiteY8" fmla="*/ 330200 h 2286441"/>
              <a:gd name="connsiteX9" fmla="*/ 724084 w 3892734"/>
              <a:gd name="connsiteY9" fmla="*/ 279400 h 2286441"/>
              <a:gd name="connsiteX10" fmla="*/ 806634 w 3892734"/>
              <a:gd name="connsiteY10" fmla="*/ 334581 h 2286441"/>
              <a:gd name="connsiteX11" fmla="*/ 941571 w 3892734"/>
              <a:gd name="connsiteY11" fmla="*/ 603691 h 2286441"/>
              <a:gd name="connsiteX12" fmla="*/ 992372 w 3892734"/>
              <a:gd name="connsiteY12" fmla="*/ 744240 h 2286441"/>
              <a:gd name="connsiteX13" fmla="*/ 1093972 w 3892734"/>
              <a:gd name="connsiteY13" fmla="*/ 842884 h 2286441"/>
              <a:gd name="connsiteX14" fmla="*/ 1198746 w 3892734"/>
              <a:gd name="connsiteY14" fmla="*/ 780371 h 2286441"/>
              <a:gd name="connsiteX15" fmla="*/ 1297171 w 3892734"/>
              <a:gd name="connsiteY15" fmla="*/ 635305 h 2286441"/>
              <a:gd name="connsiteX16" fmla="*/ 1400358 w 3892734"/>
              <a:gd name="connsiteY16" fmla="*/ 547695 h 2286441"/>
              <a:gd name="connsiteX17" fmla="*/ 1486084 w 3892734"/>
              <a:gd name="connsiteY17" fmla="*/ 564606 h 2286441"/>
              <a:gd name="connsiteX18" fmla="*/ 1565459 w 3892734"/>
              <a:gd name="connsiteY18" fmla="*/ 681148 h 2286441"/>
              <a:gd name="connsiteX19" fmla="*/ 1771834 w 3892734"/>
              <a:gd name="connsiteY19" fmla="*/ 1080350 h 2286441"/>
              <a:gd name="connsiteX20" fmla="*/ 1892483 w 3892734"/>
              <a:gd name="connsiteY20" fmla="*/ 1258014 h 2286441"/>
              <a:gd name="connsiteX21" fmla="*/ 2082985 w 3892734"/>
              <a:gd name="connsiteY21" fmla="*/ 1530247 h 2286441"/>
              <a:gd name="connsiteX22" fmla="*/ 2281422 w 3892734"/>
              <a:gd name="connsiteY22" fmla="*/ 1299781 h 2286441"/>
              <a:gd name="connsiteX23" fmla="*/ 2349684 w 3892734"/>
              <a:gd name="connsiteY23" fmla="*/ 1150336 h 2286441"/>
              <a:gd name="connsiteX24" fmla="*/ 2425884 w 3892734"/>
              <a:gd name="connsiteY24" fmla="*/ 925978 h 2286441"/>
              <a:gd name="connsiteX25" fmla="*/ 2519546 w 3892734"/>
              <a:gd name="connsiteY25" fmla="*/ 862207 h 2286441"/>
              <a:gd name="connsiteX26" fmla="*/ 2603683 w 3892734"/>
              <a:gd name="connsiteY26" fmla="*/ 840475 h 2286441"/>
              <a:gd name="connsiteX27" fmla="*/ 2711634 w 3892734"/>
              <a:gd name="connsiteY27" fmla="*/ 907506 h 2286441"/>
              <a:gd name="connsiteX28" fmla="*/ 2822759 w 3892734"/>
              <a:gd name="connsiteY28" fmla="*/ 955622 h 2286441"/>
              <a:gd name="connsiteX29" fmla="*/ 2922771 w 3892734"/>
              <a:gd name="connsiteY29" fmla="*/ 946864 h 2286441"/>
              <a:gd name="connsiteX30" fmla="*/ 3097396 w 3892734"/>
              <a:gd name="connsiteY30" fmla="*/ 920750 h 2286441"/>
              <a:gd name="connsiteX31" fmla="*/ 3241859 w 3892734"/>
              <a:gd name="connsiteY31" fmla="*/ 881801 h 2286441"/>
              <a:gd name="connsiteX32" fmla="*/ 3372035 w 3892734"/>
              <a:gd name="connsiteY32" fmla="*/ 761150 h 2286441"/>
              <a:gd name="connsiteX33" fmla="*/ 3562534 w 3892734"/>
              <a:gd name="connsiteY33" fmla="*/ 642198 h 2286441"/>
              <a:gd name="connsiteX34" fmla="*/ 3486334 w 3892734"/>
              <a:gd name="connsiteY34" fmla="*/ 495300 h 2286441"/>
              <a:gd name="connsiteX35" fmla="*/ 3594284 w 3892734"/>
              <a:gd name="connsiteY35" fmla="*/ 412750 h 2286441"/>
              <a:gd name="connsiteX36" fmla="*/ 3714934 w 3892734"/>
              <a:gd name="connsiteY36" fmla="*/ 406400 h 2286441"/>
              <a:gd name="connsiteX37" fmla="*/ 3892734 w 3892734"/>
              <a:gd name="connsiteY37" fmla="*/ 412750 h 2286441"/>
              <a:gd name="connsiteX38" fmla="*/ 3892734 w 3892734"/>
              <a:gd name="connsiteY38" fmla="*/ 755650 h 2286441"/>
              <a:gd name="connsiteX39" fmla="*/ 3708584 w 3892734"/>
              <a:gd name="connsiteY39" fmla="*/ 958850 h 2286441"/>
              <a:gd name="connsiteX40" fmla="*/ 3611747 w 3892734"/>
              <a:gd name="connsiteY40" fmla="*/ 1039839 h 2286441"/>
              <a:gd name="connsiteX41" fmla="*/ 3479984 w 3892734"/>
              <a:gd name="connsiteY41" fmla="*/ 1124086 h 2286441"/>
              <a:gd name="connsiteX42" fmla="*/ 3340284 w 3892734"/>
              <a:gd name="connsiteY42" fmla="*/ 1155700 h 2286441"/>
              <a:gd name="connsiteX43" fmla="*/ 3219634 w 3892734"/>
              <a:gd name="connsiteY43" fmla="*/ 1181100 h 2286441"/>
              <a:gd name="connsiteX44" fmla="*/ 3135496 w 3892734"/>
              <a:gd name="connsiteY44" fmla="*/ 1299916 h 2286441"/>
              <a:gd name="connsiteX45" fmla="*/ 2991034 w 3892734"/>
              <a:gd name="connsiteY45" fmla="*/ 1601049 h 2286441"/>
              <a:gd name="connsiteX46" fmla="*/ 2846571 w 3892734"/>
              <a:gd name="connsiteY46" fmla="*/ 1861399 h 2286441"/>
              <a:gd name="connsiteX47" fmla="*/ 2667184 w 3892734"/>
              <a:gd name="connsiteY47" fmla="*/ 2145316 h 2286441"/>
              <a:gd name="connsiteX48" fmla="*/ 2587809 w 3892734"/>
              <a:gd name="connsiteY48" fmla="*/ 2206268 h 2286441"/>
              <a:gd name="connsiteX49" fmla="*/ 2484621 w 3892734"/>
              <a:gd name="connsiteY49" fmla="*/ 2281349 h 2286441"/>
              <a:gd name="connsiteX50" fmla="*/ 2248084 w 3892734"/>
              <a:gd name="connsiteY50" fmla="*/ 2286441 h 2286441"/>
              <a:gd name="connsiteX51" fmla="*/ 2036946 w 3892734"/>
              <a:gd name="connsiteY51" fmla="*/ 2106231 h 2286441"/>
              <a:gd name="connsiteX52" fmla="*/ 1908359 w 3892734"/>
              <a:gd name="connsiteY52" fmla="*/ 1872537 h 2286441"/>
              <a:gd name="connsiteX53" fmla="*/ 1832158 w 3892734"/>
              <a:gd name="connsiteY53" fmla="*/ 1747371 h 2286441"/>
              <a:gd name="connsiteX54" fmla="*/ 1719447 w 3892734"/>
              <a:gd name="connsiteY54" fmla="*/ 1606380 h 2286441"/>
              <a:gd name="connsiteX55" fmla="*/ 1578160 w 3892734"/>
              <a:gd name="connsiteY55" fmla="*/ 1426137 h 2286441"/>
              <a:gd name="connsiteX56" fmla="*/ 1381309 w 3892734"/>
              <a:gd name="connsiteY56" fmla="*/ 1344268 h 2286441"/>
              <a:gd name="connsiteX57" fmla="*/ 1101909 w 3892734"/>
              <a:gd name="connsiteY57" fmla="*/ 1573782 h 2286441"/>
              <a:gd name="connsiteX58" fmla="*/ 895535 w 3892734"/>
              <a:gd name="connsiteY58" fmla="*/ 1609913 h 2286441"/>
              <a:gd name="connsiteX59" fmla="*/ 776471 w 3892734"/>
              <a:gd name="connsiteY59" fmla="*/ 1591782 h 2286441"/>
              <a:gd name="connsiteX60" fmla="*/ 538346 w 3892734"/>
              <a:gd name="connsiteY60" fmla="*/ 1642309 h 2286441"/>
              <a:gd name="connsiteX61" fmla="*/ 397059 w 3892734"/>
              <a:gd name="connsiteY61" fmla="*/ 1620170 h 2286441"/>
              <a:gd name="connsiteX62" fmla="*/ 12884 w 3892734"/>
              <a:gd name="connsiteY62" fmla="*/ 1221921 h 2286441"/>
              <a:gd name="connsiteX63" fmla="*/ 184 w 3892734"/>
              <a:gd name="connsiteY63" fmla="*/ 0 h 2286441"/>
              <a:gd name="connsiteX0" fmla="*/ 184 w 3892734"/>
              <a:gd name="connsiteY0" fmla="*/ 0 h 2286441"/>
              <a:gd name="connsiteX1" fmla="*/ 266884 w 3892734"/>
              <a:gd name="connsiteY1" fmla="*/ 1162050 h 2286441"/>
              <a:gd name="connsiteX2" fmla="*/ 322447 w 3892734"/>
              <a:gd name="connsiteY2" fmla="*/ 1258421 h 2286441"/>
              <a:gd name="connsiteX3" fmla="*/ 376422 w 3892734"/>
              <a:gd name="connsiteY3" fmla="*/ 1353535 h 2286441"/>
              <a:gd name="connsiteX4" fmla="*/ 412934 w 3892734"/>
              <a:gd name="connsiteY4" fmla="*/ 1314450 h 2286441"/>
              <a:gd name="connsiteX5" fmla="*/ 514534 w 3892734"/>
              <a:gd name="connsiteY5" fmla="*/ 996950 h 2286441"/>
              <a:gd name="connsiteX6" fmla="*/ 584384 w 3892734"/>
              <a:gd name="connsiteY6" fmla="*/ 641350 h 2286441"/>
              <a:gd name="connsiteX7" fmla="*/ 641534 w 3892734"/>
              <a:gd name="connsiteY7" fmla="*/ 444500 h 2286441"/>
              <a:gd name="connsiteX8" fmla="*/ 692334 w 3892734"/>
              <a:gd name="connsiteY8" fmla="*/ 330200 h 2286441"/>
              <a:gd name="connsiteX9" fmla="*/ 724084 w 3892734"/>
              <a:gd name="connsiteY9" fmla="*/ 279400 h 2286441"/>
              <a:gd name="connsiteX10" fmla="*/ 806634 w 3892734"/>
              <a:gd name="connsiteY10" fmla="*/ 334581 h 2286441"/>
              <a:gd name="connsiteX11" fmla="*/ 941571 w 3892734"/>
              <a:gd name="connsiteY11" fmla="*/ 603691 h 2286441"/>
              <a:gd name="connsiteX12" fmla="*/ 992372 w 3892734"/>
              <a:gd name="connsiteY12" fmla="*/ 744240 h 2286441"/>
              <a:gd name="connsiteX13" fmla="*/ 1093972 w 3892734"/>
              <a:gd name="connsiteY13" fmla="*/ 842884 h 2286441"/>
              <a:gd name="connsiteX14" fmla="*/ 1198746 w 3892734"/>
              <a:gd name="connsiteY14" fmla="*/ 780371 h 2286441"/>
              <a:gd name="connsiteX15" fmla="*/ 1297171 w 3892734"/>
              <a:gd name="connsiteY15" fmla="*/ 635305 h 2286441"/>
              <a:gd name="connsiteX16" fmla="*/ 1400358 w 3892734"/>
              <a:gd name="connsiteY16" fmla="*/ 547695 h 2286441"/>
              <a:gd name="connsiteX17" fmla="*/ 1486084 w 3892734"/>
              <a:gd name="connsiteY17" fmla="*/ 564606 h 2286441"/>
              <a:gd name="connsiteX18" fmla="*/ 1565459 w 3892734"/>
              <a:gd name="connsiteY18" fmla="*/ 681148 h 2286441"/>
              <a:gd name="connsiteX19" fmla="*/ 1771834 w 3892734"/>
              <a:gd name="connsiteY19" fmla="*/ 1080350 h 2286441"/>
              <a:gd name="connsiteX20" fmla="*/ 1892483 w 3892734"/>
              <a:gd name="connsiteY20" fmla="*/ 1258014 h 2286441"/>
              <a:gd name="connsiteX21" fmla="*/ 2082985 w 3892734"/>
              <a:gd name="connsiteY21" fmla="*/ 1530247 h 2286441"/>
              <a:gd name="connsiteX22" fmla="*/ 2281422 w 3892734"/>
              <a:gd name="connsiteY22" fmla="*/ 1299781 h 2286441"/>
              <a:gd name="connsiteX23" fmla="*/ 2349684 w 3892734"/>
              <a:gd name="connsiteY23" fmla="*/ 1150336 h 2286441"/>
              <a:gd name="connsiteX24" fmla="*/ 2425884 w 3892734"/>
              <a:gd name="connsiteY24" fmla="*/ 925978 h 2286441"/>
              <a:gd name="connsiteX25" fmla="*/ 2519546 w 3892734"/>
              <a:gd name="connsiteY25" fmla="*/ 862207 h 2286441"/>
              <a:gd name="connsiteX26" fmla="*/ 2603683 w 3892734"/>
              <a:gd name="connsiteY26" fmla="*/ 840475 h 2286441"/>
              <a:gd name="connsiteX27" fmla="*/ 2711634 w 3892734"/>
              <a:gd name="connsiteY27" fmla="*/ 907506 h 2286441"/>
              <a:gd name="connsiteX28" fmla="*/ 2822759 w 3892734"/>
              <a:gd name="connsiteY28" fmla="*/ 955622 h 2286441"/>
              <a:gd name="connsiteX29" fmla="*/ 2922771 w 3892734"/>
              <a:gd name="connsiteY29" fmla="*/ 946864 h 2286441"/>
              <a:gd name="connsiteX30" fmla="*/ 3097396 w 3892734"/>
              <a:gd name="connsiteY30" fmla="*/ 920750 h 2286441"/>
              <a:gd name="connsiteX31" fmla="*/ 3241859 w 3892734"/>
              <a:gd name="connsiteY31" fmla="*/ 881801 h 2286441"/>
              <a:gd name="connsiteX32" fmla="*/ 3372035 w 3892734"/>
              <a:gd name="connsiteY32" fmla="*/ 761150 h 2286441"/>
              <a:gd name="connsiteX33" fmla="*/ 3519671 w 3892734"/>
              <a:gd name="connsiteY33" fmla="*/ 615101 h 2286441"/>
              <a:gd name="connsiteX34" fmla="*/ 3486334 w 3892734"/>
              <a:gd name="connsiteY34" fmla="*/ 495300 h 2286441"/>
              <a:gd name="connsiteX35" fmla="*/ 3594284 w 3892734"/>
              <a:gd name="connsiteY35" fmla="*/ 412750 h 2286441"/>
              <a:gd name="connsiteX36" fmla="*/ 3714934 w 3892734"/>
              <a:gd name="connsiteY36" fmla="*/ 406400 h 2286441"/>
              <a:gd name="connsiteX37" fmla="*/ 3892734 w 3892734"/>
              <a:gd name="connsiteY37" fmla="*/ 412750 h 2286441"/>
              <a:gd name="connsiteX38" fmla="*/ 3892734 w 3892734"/>
              <a:gd name="connsiteY38" fmla="*/ 755650 h 2286441"/>
              <a:gd name="connsiteX39" fmla="*/ 3708584 w 3892734"/>
              <a:gd name="connsiteY39" fmla="*/ 958850 h 2286441"/>
              <a:gd name="connsiteX40" fmla="*/ 3611747 w 3892734"/>
              <a:gd name="connsiteY40" fmla="*/ 1039839 h 2286441"/>
              <a:gd name="connsiteX41" fmla="*/ 3479984 w 3892734"/>
              <a:gd name="connsiteY41" fmla="*/ 1124086 h 2286441"/>
              <a:gd name="connsiteX42" fmla="*/ 3340284 w 3892734"/>
              <a:gd name="connsiteY42" fmla="*/ 1155700 h 2286441"/>
              <a:gd name="connsiteX43" fmla="*/ 3219634 w 3892734"/>
              <a:gd name="connsiteY43" fmla="*/ 1181100 h 2286441"/>
              <a:gd name="connsiteX44" fmla="*/ 3135496 w 3892734"/>
              <a:gd name="connsiteY44" fmla="*/ 1299916 h 2286441"/>
              <a:gd name="connsiteX45" fmla="*/ 2991034 w 3892734"/>
              <a:gd name="connsiteY45" fmla="*/ 1601049 h 2286441"/>
              <a:gd name="connsiteX46" fmla="*/ 2846571 w 3892734"/>
              <a:gd name="connsiteY46" fmla="*/ 1861399 h 2286441"/>
              <a:gd name="connsiteX47" fmla="*/ 2667184 w 3892734"/>
              <a:gd name="connsiteY47" fmla="*/ 2145316 h 2286441"/>
              <a:gd name="connsiteX48" fmla="*/ 2587809 w 3892734"/>
              <a:gd name="connsiteY48" fmla="*/ 2206268 h 2286441"/>
              <a:gd name="connsiteX49" fmla="*/ 2484621 w 3892734"/>
              <a:gd name="connsiteY49" fmla="*/ 2281349 h 2286441"/>
              <a:gd name="connsiteX50" fmla="*/ 2248084 w 3892734"/>
              <a:gd name="connsiteY50" fmla="*/ 2286441 h 2286441"/>
              <a:gd name="connsiteX51" fmla="*/ 2036946 w 3892734"/>
              <a:gd name="connsiteY51" fmla="*/ 2106231 h 2286441"/>
              <a:gd name="connsiteX52" fmla="*/ 1908359 w 3892734"/>
              <a:gd name="connsiteY52" fmla="*/ 1872537 h 2286441"/>
              <a:gd name="connsiteX53" fmla="*/ 1832158 w 3892734"/>
              <a:gd name="connsiteY53" fmla="*/ 1747371 h 2286441"/>
              <a:gd name="connsiteX54" fmla="*/ 1719447 w 3892734"/>
              <a:gd name="connsiteY54" fmla="*/ 1606380 h 2286441"/>
              <a:gd name="connsiteX55" fmla="*/ 1578160 w 3892734"/>
              <a:gd name="connsiteY55" fmla="*/ 1426137 h 2286441"/>
              <a:gd name="connsiteX56" fmla="*/ 1381309 w 3892734"/>
              <a:gd name="connsiteY56" fmla="*/ 1344268 h 2286441"/>
              <a:gd name="connsiteX57" fmla="*/ 1101909 w 3892734"/>
              <a:gd name="connsiteY57" fmla="*/ 1573782 h 2286441"/>
              <a:gd name="connsiteX58" fmla="*/ 895535 w 3892734"/>
              <a:gd name="connsiteY58" fmla="*/ 1609913 h 2286441"/>
              <a:gd name="connsiteX59" fmla="*/ 776471 w 3892734"/>
              <a:gd name="connsiteY59" fmla="*/ 1591782 h 2286441"/>
              <a:gd name="connsiteX60" fmla="*/ 538346 w 3892734"/>
              <a:gd name="connsiteY60" fmla="*/ 1642309 h 2286441"/>
              <a:gd name="connsiteX61" fmla="*/ 397059 w 3892734"/>
              <a:gd name="connsiteY61" fmla="*/ 1620170 h 2286441"/>
              <a:gd name="connsiteX62" fmla="*/ 12884 w 3892734"/>
              <a:gd name="connsiteY62" fmla="*/ 1221921 h 2286441"/>
              <a:gd name="connsiteX63" fmla="*/ 184 w 3892734"/>
              <a:gd name="connsiteY63" fmla="*/ 0 h 2286441"/>
              <a:gd name="connsiteX0" fmla="*/ 184 w 3892734"/>
              <a:gd name="connsiteY0" fmla="*/ 0 h 2286441"/>
              <a:gd name="connsiteX1" fmla="*/ 266884 w 3892734"/>
              <a:gd name="connsiteY1" fmla="*/ 1162050 h 2286441"/>
              <a:gd name="connsiteX2" fmla="*/ 322447 w 3892734"/>
              <a:gd name="connsiteY2" fmla="*/ 1258421 h 2286441"/>
              <a:gd name="connsiteX3" fmla="*/ 376422 w 3892734"/>
              <a:gd name="connsiteY3" fmla="*/ 1353535 h 2286441"/>
              <a:gd name="connsiteX4" fmla="*/ 412934 w 3892734"/>
              <a:gd name="connsiteY4" fmla="*/ 1314450 h 2286441"/>
              <a:gd name="connsiteX5" fmla="*/ 514534 w 3892734"/>
              <a:gd name="connsiteY5" fmla="*/ 996950 h 2286441"/>
              <a:gd name="connsiteX6" fmla="*/ 584384 w 3892734"/>
              <a:gd name="connsiteY6" fmla="*/ 641350 h 2286441"/>
              <a:gd name="connsiteX7" fmla="*/ 641534 w 3892734"/>
              <a:gd name="connsiteY7" fmla="*/ 444500 h 2286441"/>
              <a:gd name="connsiteX8" fmla="*/ 692334 w 3892734"/>
              <a:gd name="connsiteY8" fmla="*/ 330200 h 2286441"/>
              <a:gd name="connsiteX9" fmla="*/ 724084 w 3892734"/>
              <a:gd name="connsiteY9" fmla="*/ 279400 h 2286441"/>
              <a:gd name="connsiteX10" fmla="*/ 806634 w 3892734"/>
              <a:gd name="connsiteY10" fmla="*/ 334581 h 2286441"/>
              <a:gd name="connsiteX11" fmla="*/ 941571 w 3892734"/>
              <a:gd name="connsiteY11" fmla="*/ 603691 h 2286441"/>
              <a:gd name="connsiteX12" fmla="*/ 992372 w 3892734"/>
              <a:gd name="connsiteY12" fmla="*/ 744240 h 2286441"/>
              <a:gd name="connsiteX13" fmla="*/ 1093972 w 3892734"/>
              <a:gd name="connsiteY13" fmla="*/ 842884 h 2286441"/>
              <a:gd name="connsiteX14" fmla="*/ 1198746 w 3892734"/>
              <a:gd name="connsiteY14" fmla="*/ 780371 h 2286441"/>
              <a:gd name="connsiteX15" fmla="*/ 1297171 w 3892734"/>
              <a:gd name="connsiteY15" fmla="*/ 635305 h 2286441"/>
              <a:gd name="connsiteX16" fmla="*/ 1400358 w 3892734"/>
              <a:gd name="connsiteY16" fmla="*/ 547695 h 2286441"/>
              <a:gd name="connsiteX17" fmla="*/ 1486084 w 3892734"/>
              <a:gd name="connsiteY17" fmla="*/ 564606 h 2286441"/>
              <a:gd name="connsiteX18" fmla="*/ 1565459 w 3892734"/>
              <a:gd name="connsiteY18" fmla="*/ 681148 h 2286441"/>
              <a:gd name="connsiteX19" fmla="*/ 1771834 w 3892734"/>
              <a:gd name="connsiteY19" fmla="*/ 1080350 h 2286441"/>
              <a:gd name="connsiteX20" fmla="*/ 1892483 w 3892734"/>
              <a:gd name="connsiteY20" fmla="*/ 1258014 h 2286441"/>
              <a:gd name="connsiteX21" fmla="*/ 2082985 w 3892734"/>
              <a:gd name="connsiteY21" fmla="*/ 1530247 h 2286441"/>
              <a:gd name="connsiteX22" fmla="*/ 2281422 w 3892734"/>
              <a:gd name="connsiteY22" fmla="*/ 1299781 h 2286441"/>
              <a:gd name="connsiteX23" fmla="*/ 2349684 w 3892734"/>
              <a:gd name="connsiteY23" fmla="*/ 1150336 h 2286441"/>
              <a:gd name="connsiteX24" fmla="*/ 2425884 w 3892734"/>
              <a:gd name="connsiteY24" fmla="*/ 925978 h 2286441"/>
              <a:gd name="connsiteX25" fmla="*/ 2519546 w 3892734"/>
              <a:gd name="connsiteY25" fmla="*/ 862207 h 2286441"/>
              <a:gd name="connsiteX26" fmla="*/ 2603683 w 3892734"/>
              <a:gd name="connsiteY26" fmla="*/ 840475 h 2286441"/>
              <a:gd name="connsiteX27" fmla="*/ 2711634 w 3892734"/>
              <a:gd name="connsiteY27" fmla="*/ 907506 h 2286441"/>
              <a:gd name="connsiteX28" fmla="*/ 2822759 w 3892734"/>
              <a:gd name="connsiteY28" fmla="*/ 955622 h 2286441"/>
              <a:gd name="connsiteX29" fmla="*/ 2922771 w 3892734"/>
              <a:gd name="connsiteY29" fmla="*/ 946864 h 2286441"/>
              <a:gd name="connsiteX30" fmla="*/ 3097396 w 3892734"/>
              <a:gd name="connsiteY30" fmla="*/ 920750 h 2286441"/>
              <a:gd name="connsiteX31" fmla="*/ 3241859 w 3892734"/>
              <a:gd name="connsiteY31" fmla="*/ 881801 h 2286441"/>
              <a:gd name="connsiteX32" fmla="*/ 3372035 w 3892734"/>
              <a:gd name="connsiteY32" fmla="*/ 761150 h 2286441"/>
              <a:gd name="connsiteX33" fmla="*/ 3519671 w 3892734"/>
              <a:gd name="connsiteY33" fmla="*/ 615101 h 2286441"/>
              <a:gd name="connsiteX34" fmla="*/ 3695884 w 3892734"/>
              <a:gd name="connsiteY34" fmla="*/ 499816 h 2286441"/>
              <a:gd name="connsiteX35" fmla="*/ 3594284 w 3892734"/>
              <a:gd name="connsiteY35" fmla="*/ 412750 h 2286441"/>
              <a:gd name="connsiteX36" fmla="*/ 3714934 w 3892734"/>
              <a:gd name="connsiteY36" fmla="*/ 406400 h 2286441"/>
              <a:gd name="connsiteX37" fmla="*/ 3892734 w 3892734"/>
              <a:gd name="connsiteY37" fmla="*/ 412750 h 2286441"/>
              <a:gd name="connsiteX38" fmla="*/ 3892734 w 3892734"/>
              <a:gd name="connsiteY38" fmla="*/ 755650 h 2286441"/>
              <a:gd name="connsiteX39" fmla="*/ 3708584 w 3892734"/>
              <a:gd name="connsiteY39" fmla="*/ 958850 h 2286441"/>
              <a:gd name="connsiteX40" fmla="*/ 3611747 w 3892734"/>
              <a:gd name="connsiteY40" fmla="*/ 1039839 h 2286441"/>
              <a:gd name="connsiteX41" fmla="*/ 3479984 w 3892734"/>
              <a:gd name="connsiteY41" fmla="*/ 1124086 h 2286441"/>
              <a:gd name="connsiteX42" fmla="*/ 3340284 w 3892734"/>
              <a:gd name="connsiteY42" fmla="*/ 1155700 h 2286441"/>
              <a:gd name="connsiteX43" fmla="*/ 3219634 w 3892734"/>
              <a:gd name="connsiteY43" fmla="*/ 1181100 h 2286441"/>
              <a:gd name="connsiteX44" fmla="*/ 3135496 w 3892734"/>
              <a:gd name="connsiteY44" fmla="*/ 1299916 h 2286441"/>
              <a:gd name="connsiteX45" fmla="*/ 2991034 w 3892734"/>
              <a:gd name="connsiteY45" fmla="*/ 1601049 h 2286441"/>
              <a:gd name="connsiteX46" fmla="*/ 2846571 w 3892734"/>
              <a:gd name="connsiteY46" fmla="*/ 1861399 h 2286441"/>
              <a:gd name="connsiteX47" fmla="*/ 2667184 w 3892734"/>
              <a:gd name="connsiteY47" fmla="*/ 2145316 h 2286441"/>
              <a:gd name="connsiteX48" fmla="*/ 2587809 w 3892734"/>
              <a:gd name="connsiteY48" fmla="*/ 2206268 h 2286441"/>
              <a:gd name="connsiteX49" fmla="*/ 2484621 w 3892734"/>
              <a:gd name="connsiteY49" fmla="*/ 2281349 h 2286441"/>
              <a:gd name="connsiteX50" fmla="*/ 2248084 w 3892734"/>
              <a:gd name="connsiteY50" fmla="*/ 2286441 h 2286441"/>
              <a:gd name="connsiteX51" fmla="*/ 2036946 w 3892734"/>
              <a:gd name="connsiteY51" fmla="*/ 2106231 h 2286441"/>
              <a:gd name="connsiteX52" fmla="*/ 1908359 w 3892734"/>
              <a:gd name="connsiteY52" fmla="*/ 1872537 h 2286441"/>
              <a:gd name="connsiteX53" fmla="*/ 1832158 w 3892734"/>
              <a:gd name="connsiteY53" fmla="*/ 1747371 h 2286441"/>
              <a:gd name="connsiteX54" fmla="*/ 1719447 w 3892734"/>
              <a:gd name="connsiteY54" fmla="*/ 1606380 h 2286441"/>
              <a:gd name="connsiteX55" fmla="*/ 1578160 w 3892734"/>
              <a:gd name="connsiteY55" fmla="*/ 1426137 h 2286441"/>
              <a:gd name="connsiteX56" fmla="*/ 1381309 w 3892734"/>
              <a:gd name="connsiteY56" fmla="*/ 1344268 h 2286441"/>
              <a:gd name="connsiteX57" fmla="*/ 1101909 w 3892734"/>
              <a:gd name="connsiteY57" fmla="*/ 1573782 h 2286441"/>
              <a:gd name="connsiteX58" fmla="*/ 895535 w 3892734"/>
              <a:gd name="connsiteY58" fmla="*/ 1609913 h 2286441"/>
              <a:gd name="connsiteX59" fmla="*/ 776471 w 3892734"/>
              <a:gd name="connsiteY59" fmla="*/ 1591782 h 2286441"/>
              <a:gd name="connsiteX60" fmla="*/ 538346 w 3892734"/>
              <a:gd name="connsiteY60" fmla="*/ 1642309 h 2286441"/>
              <a:gd name="connsiteX61" fmla="*/ 397059 w 3892734"/>
              <a:gd name="connsiteY61" fmla="*/ 1620170 h 2286441"/>
              <a:gd name="connsiteX62" fmla="*/ 12884 w 3892734"/>
              <a:gd name="connsiteY62" fmla="*/ 1221921 h 2286441"/>
              <a:gd name="connsiteX63" fmla="*/ 184 w 3892734"/>
              <a:gd name="connsiteY63" fmla="*/ 0 h 2286441"/>
              <a:gd name="connsiteX0" fmla="*/ 184 w 3892734"/>
              <a:gd name="connsiteY0" fmla="*/ 0 h 2286441"/>
              <a:gd name="connsiteX1" fmla="*/ 266884 w 3892734"/>
              <a:gd name="connsiteY1" fmla="*/ 1162050 h 2286441"/>
              <a:gd name="connsiteX2" fmla="*/ 322447 w 3892734"/>
              <a:gd name="connsiteY2" fmla="*/ 1258421 h 2286441"/>
              <a:gd name="connsiteX3" fmla="*/ 376422 w 3892734"/>
              <a:gd name="connsiteY3" fmla="*/ 1353535 h 2286441"/>
              <a:gd name="connsiteX4" fmla="*/ 412934 w 3892734"/>
              <a:gd name="connsiteY4" fmla="*/ 1314450 h 2286441"/>
              <a:gd name="connsiteX5" fmla="*/ 514534 w 3892734"/>
              <a:gd name="connsiteY5" fmla="*/ 996950 h 2286441"/>
              <a:gd name="connsiteX6" fmla="*/ 584384 w 3892734"/>
              <a:gd name="connsiteY6" fmla="*/ 641350 h 2286441"/>
              <a:gd name="connsiteX7" fmla="*/ 641534 w 3892734"/>
              <a:gd name="connsiteY7" fmla="*/ 444500 h 2286441"/>
              <a:gd name="connsiteX8" fmla="*/ 692334 w 3892734"/>
              <a:gd name="connsiteY8" fmla="*/ 330200 h 2286441"/>
              <a:gd name="connsiteX9" fmla="*/ 724084 w 3892734"/>
              <a:gd name="connsiteY9" fmla="*/ 279400 h 2286441"/>
              <a:gd name="connsiteX10" fmla="*/ 806634 w 3892734"/>
              <a:gd name="connsiteY10" fmla="*/ 334581 h 2286441"/>
              <a:gd name="connsiteX11" fmla="*/ 941571 w 3892734"/>
              <a:gd name="connsiteY11" fmla="*/ 603691 h 2286441"/>
              <a:gd name="connsiteX12" fmla="*/ 992372 w 3892734"/>
              <a:gd name="connsiteY12" fmla="*/ 744240 h 2286441"/>
              <a:gd name="connsiteX13" fmla="*/ 1093972 w 3892734"/>
              <a:gd name="connsiteY13" fmla="*/ 842884 h 2286441"/>
              <a:gd name="connsiteX14" fmla="*/ 1198746 w 3892734"/>
              <a:gd name="connsiteY14" fmla="*/ 780371 h 2286441"/>
              <a:gd name="connsiteX15" fmla="*/ 1297171 w 3892734"/>
              <a:gd name="connsiteY15" fmla="*/ 635305 h 2286441"/>
              <a:gd name="connsiteX16" fmla="*/ 1400358 w 3892734"/>
              <a:gd name="connsiteY16" fmla="*/ 547695 h 2286441"/>
              <a:gd name="connsiteX17" fmla="*/ 1486084 w 3892734"/>
              <a:gd name="connsiteY17" fmla="*/ 564606 h 2286441"/>
              <a:gd name="connsiteX18" fmla="*/ 1565459 w 3892734"/>
              <a:gd name="connsiteY18" fmla="*/ 681148 h 2286441"/>
              <a:gd name="connsiteX19" fmla="*/ 1771834 w 3892734"/>
              <a:gd name="connsiteY19" fmla="*/ 1080350 h 2286441"/>
              <a:gd name="connsiteX20" fmla="*/ 1892483 w 3892734"/>
              <a:gd name="connsiteY20" fmla="*/ 1258014 h 2286441"/>
              <a:gd name="connsiteX21" fmla="*/ 2082985 w 3892734"/>
              <a:gd name="connsiteY21" fmla="*/ 1530247 h 2286441"/>
              <a:gd name="connsiteX22" fmla="*/ 2281422 w 3892734"/>
              <a:gd name="connsiteY22" fmla="*/ 1299781 h 2286441"/>
              <a:gd name="connsiteX23" fmla="*/ 2349684 w 3892734"/>
              <a:gd name="connsiteY23" fmla="*/ 1150336 h 2286441"/>
              <a:gd name="connsiteX24" fmla="*/ 2425884 w 3892734"/>
              <a:gd name="connsiteY24" fmla="*/ 925978 h 2286441"/>
              <a:gd name="connsiteX25" fmla="*/ 2519546 w 3892734"/>
              <a:gd name="connsiteY25" fmla="*/ 862207 h 2286441"/>
              <a:gd name="connsiteX26" fmla="*/ 2603683 w 3892734"/>
              <a:gd name="connsiteY26" fmla="*/ 840475 h 2286441"/>
              <a:gd name="connsiteX27" fmla="*/ 2711634 w 3892734"/>
              <a:gd name="connsiteY27" fmla="*/ 907506 h 2286441"/>
              <a:gd name="connsiteX28" fmla="*/ 2822759 w 3892734"/>
              <a:gd name="connsiteY28" fmla="*/ 955622 h 2286441"/>
              <a:gd name="connsiteX29" fmla="*/ 2922771 w 3892734"/>
              <a:gd name="connsiteY29" fmla="*/ 946864 h 2286441"/>
              <a:gd name="connsiteX30" fmla="*/ 3097396 w 3892734"/>
              <a:gd name="connsiteY30" fmla="*/ 920750 h 2286441"/>
              <a:gd name="connsiteX31" fmla="*/ 3241859 w 3892734"/>
              <a:gd name="connsiteY31" fmla="*/ 881801 h 2286441"/>
              <a:gd name="connsiteX32" fmla="*/ 3372035 w 3892734"/>
              <a:gd name="connsiteY32" fmla="*/ 761150 h 2286441"/>
              <a:gd name="connsiteX33" fmla="*/ 3519671 w 3892734"/>
              <a:gd name="connsiteY33" fmla="*/ 615101 h 2286441"/>
              <a:gd name="connsiteX34" fmla="*/ 3705409 w 3892734"/>
              <a:gd name="connsiteY34" fmla="*/ 648854 h 2286441"/>
              <a:gd name="connsiteX35" fmla="*/ 3594284 w 3892734"/>
              <a:gd name="connsiteY35" fmla="*/ 412750 h 2286441"/>
              <a:gd name="connsiteX36" fmla="*/ 3714934 w 3892734"/>
              <a:gd name="connsiteY36" fmla="*/ 406400 h 2286441"/>
              <a:gd name="connsiteX37" fmla="*/ 3892734 w 3892734"/>
              <a:gd name="connsiteY37" fmla="*/ 412750 h 2286441"/>
              <a:gd name="connsiteX38" fmla="*/ 3892734 w 3892734"/>
              <a:gd name="connsiteY38" fmla="*/ 755650 h 2286441"/>
              <a:gd name="connsiteX39" fmla="*/ 3708584 w 3892734"/>
              <a:gd name="connsiteY39" fmla="*/ 958850 h 2286441"/>
              <a:gd name="connsiteX40" fmla="*/ 3611747 w 3892734"/>
              <a:gd name="connsiteY40" fmla="*/ 1039839 h 2286441"/>
              <a:gd name="connsiteX41" fmla="*/ 3479984 w 3892734"/>
              <a:gd name="connsiteY41" fmla="*/ 1124086 h 2286441"/>
              <a:gd name="connsiteX42" fmla="*/ 3340284 w 3892734"/>
              <a:gd name="connsiteY42" fmla="*/ 1155700 h 2286441"/>
              <a:gd name="connsiteX43" fmla="*/ 3219634 w 3892734"/>
              <a:gd name="connsiteY43" fmla="*/ 1181100 h 2286441"/>
              <a:gd name="connsiteX44" fmla="*/ 3135496 w 3892734"/>
              <a:gd name="connsiteY44" fmla="*/ 1299916 h 2286441"/>
              <a:gd name="connsiteX45" fmla="*/ 2991034 w 3892734"/>
              <a:gd name="connsiteY45" fmla="*/ 1601049 h 2286441"/>
              <a:gd name="connsiteX46" fmla="*/ 2846571 w 3892734"/>
              <a:gd name="connsiteY46" fmla="*/ 1861399 h 2286441"/>
              <a:gd name="connsiteX47" fmla="*/ 2667184 w 3892734"/>
              <a:gd name="connsiteY47" fmla="*/ 2145316 h 2286441"/>
              <a:gd name="connsiteX48" fmla="*/ 2587809 w 3892734"/>
              <a:gd name="connsiteY48" fmla="*/ 2206268 h 2286441"/>
              <a:gd name="connsiteX49" fmla="*/ 2484621 w 3892734"/>
              <a:gd name="connsiteY49" fmla="*/ 2281349 h 2286441"/>
              <a:gd name="connsiteX50" fmla="*/ 2248084 w 3892734"/>
              <a:gd name="connsiteY50" fmla="*/ 2286441 h 2286441"/>
              <a:gd name="connsiteX51" fmla="*/ 2036946 w 3892734"/>
              <a:gd name="connsiteY51" fmla="*/ 2106231 h 2286441"/>
              <a:gd name="connsiteX52" fmla="*/ 1908359 w 3892734"/>
              <a:gd name="connsiteY52" fmla="*/ 1872537 h 2286441"/>
              <a:gd name="connsiteX53" fmla="*/ 1832158 w 3892734"/>
              <a:gd name="connsiteY53" fmla="*/ 1747371 h 2286441"/>
              <a:gd name="connsiteX54" fmla="*/ 1719447 w 3892734"/>
              <a:gd name="connsiteY54" fmla="*/ 1606380 h 2286441"/>
              <a:gd name="connsiteX55" fmla="*/ 1578160 w 3892734"/>
              <a:gd name="connsiteY55" fmla="*/ 1426137 h 2286441"/>
              <a:gd name="connsiteX56" fmla="*/ 1381309 w 3892734"/>
              <a:gd name="connsiteY56" fmla="*/ 1344268 h 2286441"/>
              <a:gd name="connsiteX57" fmla="*/ 1101909 w 3892734"/>
              <a:gd name="connsiteY57" fmla="*/ 1573782 h 2286441"/>
              <a:gd name="connsiteX58" fmla="*/ 895535 w 3892734"/>
              <a:gd name="connsiteY58" fmla="*/ 1609913 h 2286441"/>
              <a:gd name="connsiteX59" fmla="*/ 776471 w 3892734"/>
              <a:gd name="connsiteY59" fmla="*/ 1591782 h 2286441"/>
              <a:gd name="connsiteX60" fmla="*/ 538346 w 3892734"/>
              <a:gd name="connsiteY60" fmla="*/ 1642309 h 2286441"/>
              <a:gd name="connsiteX61" fmla="*/ 397059 w 3892734"/>
              <a:gd name="connsiteY61" fmla="*/ 1620170 h 2286441"/>
              <a:gd name="connsiteX62" fmla="*/ 12884 w 3892734"/>
              <a:gd name="connsiteY62" fmla="*/ 1221921 h 2286441"/>
              <a:gd name="connsiteX63" fmla="*/ 184 w 3892734"/>
              <a:gd name="connsiteY63" fmla="*/ 0 h 2286441"/>
              <a:gd name="connsiteX0" fmla="*/ 184 w 3892734"/>
              <a:gd name="connsiteY0" fmla="*/ 0 h 2286441"/>
              <a:gd name="connsiteX1" fmla="*/ 266884 w 3892734"/>
              <a:gd name="connsiteY1" fmla="*/ 1162050 h 2286441"/>
              <a:gd name="connsiteX2" fmla="*/ 322447 w 3892734"/>
              <a:gd name="connsiteY2" fmla="*/ 1258421 h 2286441"/>
              <a:gd name="connsiteX3" fmla="*/ 376422 w 3892734"/>
              <a:gd name="connsiteY3" fmla="*/ 1353535 h 2286441"/>
              <a:gd name="connsiteX4" fmla="*/ 412934 w 3892734"/>
              <a:gd name="connsiteY4" fmla="*/ 1314450 h 2286441"/>
              <a:gd name="connsiteX5" fmla="*/ 514534 w 3892734"/>
              <a:gd name="connsiteY5" fmla="*/ 996950 h 2286441"/>
              <a:gd name="connsiteX6" fmla="*/ 584384 w 3892734"/>
              <a:gd name="connsiteY6" fmla="*/ 641350 h 2286441"/>
              <a:gd name="connsiteX7" fmla="*/ 641534 w 3892734"/>
              <a:gd name="connsiteY7" fmla="*/ 444500 h 2286441"/>
              <a:gd name="connsiteX8" fmla="*/ 692334 w 3892734"/>
              <a:gd name="connsiteY8" fmla="*/ 330200 h 2286441"/>
              <a:gd name="connsiteX9" fmla="*/ 724084 w 3892734"/>
              <a:gd name="connsiteY9" fmla="*/ 279400 h 2286441"/>
              <a:gd name="connsiteX10" fmla="*/ 806634 w 3892734"/>
              <a:gd name="connsiteY10" fmla="*/ 334581 h 2286441"/>
              <a:gd name="connsiteX11" fmla="*/ 941571 w 3892734"/>
              <a:gd name="connsiteY11" fmla="*/ 603691 h 2286441"/>
              <a:gd name="connsiteX12" fmla="*/ 992372 w 3892734"/>
              <a:gd name="connsiteY12" fmla="*/ 744240 h 2286441"/>
              <a:gd name="connsiteX13" fmla="*/ 1093972 w 3892734"/>
              <a:gd name="connsiteY13" fmla="*/ 842884 h 2286441"/>
              <a:gd name="connsiteX14" fmla="*/ 1198746 w 3892734"/>
              <a:gd name="connsiteY14" fmla="*/ 780371 h 2286441"/>
              <a:gd name="connsiteX15" fmla="*/ 1297171 w 3892734"/>
              <a:gd name="connsiteY15" fmla="*/ 635305 h 2286441"/>
              <a:gd name="connsiteX16" fmla="*/ 1400358 w 3892734"/>
              <a:gd name="connsiteY16" fmla="*/ 547695 h 2286441"/>
              <a:gd name="connsiteX17" fmla="*/ 1486084 w 3892734"/>
              <a:gd name="connsiteY17" fmla="*/ 564606 h 2286441"/>
              <a:gd name="connsiteX18" fmla="*/ 1565459 w 3892734"/>
              <a:gd name="connsiteY18" fmla="*/ 681148 h 2286441"/>
              <a:gd name="connsiteX19" fmla="*/ 1771834 w 3892734"/>
              <a:gd name="connsiteY19" fmla="*/ 1080350 h 2286441"/>
              <a:gd name="connsiteX20" fmla="*/ 1892483 w 3892734"/>
              <a:gd name="connsiteY20" fmla="*/ 1258014 h 2286441"/>
              <a:gd name="connsiteX21" fmla="*/ 2082985 w 3892734"/>
              <a:gd name="connsiteY21" fmla="*/ 1530247 h 2286441"/>
              <a:gd name="connsiteX22" fmla="*/ 2281422 w 3892734"/>
              <a:gd name="connsiteY22" fmla="*/ 1299781 h 2286441"/>
              <a:gd name="connsiteX23" fmla="*/ 2349684 w 3892734"/>
              <a:gd name="connsiteY23" fmla="*/ 1150336 h 2286441"/>
              <a:gd name="connsiteX24" fmla="*/ 2425884 w 3892734"/>
              <a:gd name="connsiteY24" fmla="*/ 925978 h 2286441"/>
              <a:gd name="connsiteX25" fmla="*/ 2519546 w 3892734"/>
              <a:gd name="connsiteY25" fmla="*/ 862207 h 2286441"/>
              <a:gd name="connsiteX26" fmla="*/ 2603683 w 3892734"/>
              <a:gd name="connsiteY26" fmla="*/ 840475 h 2286441"/>
              <a:gd name="connsiteX27" fmla="*/ 2711634 w 3892734"/>
              <a:gd name="connsiteY27" fmla="*/ 907506 h 2286441"/>
              <a:gd name="connsiteX28" fmla="*/ 2822759 w 3892734"/>
              <a:gd name="connsiteY28" fmla="*/ 955622 h 2286441"/>
              <a:gd name="connsiteX29" fmla="*/ 2922771 w 3892734"/>
              <a:gd name="connsiteY29" fmla="*/ 946864 h 2286441"/>
              <a:gd name="connsiteX30" fmla="*/ 3097396 w 3892734"/>
              <a:gd name="connsiteY30" fmla="*/ 920750 h 2286441"/>
              <a:gd name="connsiteX31" fmla="*/ 3241859 w 3892734"/>
              <a:gd name="connsiteY31" fmla="*/ 881801 h 2286441"/>
              <a:gd name="connsiteX32" fmla="*/ 3372035 w 3892734"/>
              <a:gd name="connsiteY32" fmla="*/ 761150 h 2286441"/>
              <a:gd name="connsiteX33" fmla="*/ 3519671 w 3892734"/>
              <a:gd name="connsiteY33" fmla="*/ 615101 h 2286441"/>
              <a:gd name="connsiteX34" fmla="*/ 3610159 w 3892734"/>
              <a:gd name="connsiteY34" fmla="*/ 576594 h 2286441"/>
              <a:gd name="connsiteX35" fmla="*/ 3594284 w 3892734"/>
              <a:gd name="connsiteY35" fmla="*/ 412750 h 2286441"/>
              <a:gd name="connsiteX36" fmla="*/ 3714934 w 3892734"/>
              <a:gd name="connsiteY36" fmla="*/ 406400 h 2286441"/>
              <a:gd name="connsiteX37" fmla="*/ 3892734 w 3892734"/>
              <a:gd name="connsiteY37" fmla="*/ 412750 h 2286441"/>
              <a:gd name="connsiteX38" fmla="*/ 3892734 w 3892734"/>
              <a:gd name="connsiteY38" fmla="*/ 755650 h 2286441"/>
              <a:gd name="connsiteX39" fmla="*/ 3708584 w 3892734"/>
              <a:gd name="connsiteY39" fmla="*/ 958850 h 2286441"/>
              <a:gd name="connsiteX40" fmla="*/ 3611747 w 3892734"/>
              <a:gd name="connsiteY40" fmla="*/ 1039839 h 2286441"/>
              <a:gd name="connsiteX41" fmla="*/ 3479984 w 3892734"/>
              <a:gd name="connsiteY41" fmla="*/ 1124086 h 2286441"/>
              <a:gd name="connsiteX42" fmla="*/ 3340284 w 3892734"/>
              <a:gd name="connsiteY42" fmla="*/ 1155700 h 2286441"/>
              <a:gd name="connsiteX43" fmla="*/ 3219634 w 3892734"/>
              <a:gd name="connsiteY43" fmla="*/ 1181100 h 2286441"/>
              <a:gd name="connsiteX44" fmla="*/ 3135496 w 3892734"/>
              <a:gd name="connsiteY44" fmla="*/ 1299916 h 2286441"/>
              <a:gd name="connsiteX45" fmla="*/ 2991034 w 3892734"/>
              <a:gd name="connsiteY45" fmla="*/ 1601049 h 2286441"/>
              <a:gd name="connsiteX46" fmla="*/ 2846571 w 3892734"/>
              <a:gd name="connsiteY46" fmla="*/ 1861399 h 2286441"/>
              <a:gd name="connsiteX47" fmla="*/ 2667184 w 3892734"/>
              <a:gd name="connsiteY47" fmla="*/ 2145316 h 2286441"/>
              <a:gd name="connsiteX48" fmla="*/ 2587809 w 3892734"/>
              <a:gd name="connsiteY48" fmla="*/ 2206268 h 2286441"/>
              <a:gd name="connsiteX49" fmla="*/ 2484621 w 3892734"/>
              <a:gd name="connsiteY49" fmla="*/ 2281349 h 2286441"/>
              <a:gd name="connsiteX50" fmla="*/ 2248084 w 3892734"/>
              <a:gd name="connsiteY50" fmla="*/ 2286441 h 2286441"/>
              <a:gd name="connsiteX51" fmla="*/ 2036946 w 3892734"/>
              <a:gd name="connsiteY51" fmla="*/ 2106231 h 2286441"/>
              <a:gd name="connsiteX52" fmla="*/ 1908359 w 3892734"/>
              <a:gd name="connsiteY52" fmla="*/ 1872537 h 2286441"/>
              <a:gd name="connsiteX53" fmla="*/ 1832158 w 3892734"/>
              <a:gd name="connsiteY53" fmla="*/ 1747371 h 2286441"/>
              <a:gd name="connsiteX54" fmla="*/ 1719447 w 3892734"/>
              <a:gd name="connsiteY54" fmla="*/ 1606380 h 2286441"/>
              <a:gd name="connsiteX55" fmla="*/ 1578160 w 3892734"/>
              <a:gd name="connsiteY55" fmla="*/ 1426137 h 2286441"/>
              <a:gd name="connsiteX56" fmla="*/ 1381309 w 3892734"/>
              <a:gd name="connsiteY56" fmla="*/ 1344268 h 2286441"/>
              <a:gd name="connsiteX57" fmla="*/ 1101909 w 3892734"/>
              <a:gd name="connsiteY57" fmla="*/ 1573782 h 2286441"/>
              <a:gd name="connsiteX58" fmla="*/ 895535 w 3892734"/>
              <a:gd name="connsiteY58" fmla="*/ 1609913 h 2286441"/>
              <a:gd name="connsiteX59" fmla="*/ 776471 w 3892734"/>
              <a:gd name="connsiteY59" fmla="*/ 1591782 h 2286441"/>
              <a:gd name="connsiteX60" fmla="*/ 538346 w 3892734"/>
              <a:gd name="connsiteY60" fmla="*/ 1642309 h 2286441"/>
              <a:gd name="connsiteX61" fmla="*/ 397059 w 3892734"/>
              <a:gd name="connsiteY61" fmla="*/ 1620170 h 2286441"/>
              <a:gd name="connsiteX62" fmla="*/ 12884 w 3892734"/>
              <a:gd name="connsiteY62" fmla="*/ 1221921 h 2286441"/>
              <a:gd name="connsiteX63" fmla="*/ 184 w 3892734"/>
              <a:gd name="connsiteY63" fmla="*/ 0 h 2286441"/>
              <a:gd name="connsiteX0" fmla="*/ 184 w 3892734"/>
              <a:gd name="connsiteY0" fmla="*/ 0 h 2286441"/>
              <a:gd name="connsiteX1" fmla="*/ 266884 w 3892734"/>
              <a:gd name="connsiteY1" fmla="*/ 1162050 h 2286441"/>
              <a:gd name="connsiteX2" fmla="*/ 322447 w 3892734"/>
              <a:gd name="connsiteY2" fmla="*/ 1258421 h 2286441"/>
              <a:gd name="connsiteX3" fmla="*/ 376422 w 3892734"/>
              <a:gd name="connsiteY3" fmla="*/ 1353535 h 2286441"/>
              <a:gd name="connsiteX4" fmla="*/ 412934 w 3892734"/>
              <a:gd name="connsiteY4" fmla="*/ 1314450 h 2286441"/>
              <a:gd name="connsiteX5" fmla="*/ 514534 w 3892734"/>
              <a:gd name="connsiteY5" fmla="*/ 996950 h 2286441"/>
              <a:gd name="connsiteX6" fmla="*/ 584384 w 3892734"/>
              <a:gd name="connsiteY6" fmla="*/ 641350 h 2286441"/>
              <a:gd name="connsiteX7" fmla="*/ 641534 w 3892734"/>
              <a:gd name="connsiteY7" fmla="*/ 444500 h 2286441"/>
              <a:gd name="connsiteX8" fmla="*/ 692334 w 3892734"/>
              <a:gd name="connsiteY8" fmla="*/ 330200 h 2286441"/>
              <a:gd name="connsiteX9" fmla="*/ 724084 w 3892734"/>
              <a:gd name="connsiteY9" fmla="*/ 279400 h 2286441"/>
              <a:gd name="connsiteX10" fmla="*/ 806634 w 3892734"/>
              <a:gd name="connsiteY10" fmla="*/ 334581 h 2286441"/>
              <a:gd name="connsiteX11" fmla="*/ 941571 w 3892734"/>
              <a:gd name="connsiteY11" fmla="*/ 603691 h 2286441"/>
              <a:gd name="connsiteX12" fmla="*/ 992372 w 3892734"/>
              <a:gd name="connsiteY12" fmla="*/ 744240 h 2286441"/>
              <a:gd name="connsiteX13" fmla="*/ 1093972 w 3892734"/>
              <a:gd name="connsiteY13" fmla="*/ 842884 h 2286441"/>
              <a:gd name="connsiteX14" fmla="*/ 1198746 w 3892734"/>
              <a:gd name="connsiteY14" fmla="*/ 780371 h 2286441"/>
              <a:gd name="connsiteX15" fmla="*/ 1297171 w 3892734"/>
              <a:gd name="connsiteY15" fmla="*/ 635305 h 2286441"/>
              <a:gd name="connsiteX16" fmla="*/ 1400358 w 3892734"/>
              <a:gd name="connsiteY16" fmla="*/ 547695 h 2286441"/>
              <a:gd name="connsiteX17" fmla="*/ 1486084 w 3892734"/>
              <a:gd name="connsiteY17" fmla="*/ 564606 h 2286441"/>
              <a:gd name="connsiteX18" fmla="*/ 1565459 w 3892734"/>
              <a:gd name="connsiteY18" fmla="*/ 681148 h 2286441"/>
              <a:gd name="connsiteX19" fmla="*/ 1771834 w 3892734"/>
              <a:gd name="connsiteY19" fmla="*/ 1080350 h 2286441"/>
              <a:gd name="connsiteX20" fmla="*/ 1892483 w 3892734"/>
              <a:gd name="connsiteY20" fmla="*/ 1258014 h 2286441"/>
              <a:gd name="connsiteX21" fmla="*/ 2082985 w 3892734"/>
              <a:gd name="connsiteY21" fmla="*/ 1530247 h 2286441"/>
              <a:gd name="connsiteX22" fmla="*/ 2281422 w 3892734"/>
              <a:gd name="connsiteY22" fmla="*/ 1299781 h 2286441"/>
              <a:gd name="connsiteX23" fmla="*/ 2349684 w 3892734"/>
              <a:gd name="connsiteY23" fmla="*/ 1150336 h 2286441"/>
              <a:gd name="connsiteX24" fmla="*/ 2425884 w 3892734"/>
              <a:gd name="connsiteY24" fmla="*/ 925978 h 2286441"/>
              <a:gd name="connsiteX25" fmla="*/ 2519546 w 3892734"/>
              <a:gd name="connsiteY25" fmla="*/ 862207 h 2286441"/>
              <a:gd name="connsiteX26" fmla="*/ 2603683 w 3892734"/>
              <a:gd name="connsiteY26" fmla="*/ 840475 h 2286441"/>
              <a:gd name="connsiteX27" fmla="*/ 2711634 w 3892734"/>
              <a:gd name="connsiteY27" fmla="*/ 907506 h 2286441"/>
              <a:gd name="connsiteX28" fmla="*/ 2822759 w 3892734"/>
              <a:gd name="connsiteY28" fmla="*/ 955622 h 2286441"/>
              <a:gd name="connsiteX29" fmla="*/ 2922771 w 3892734"/>
              <a:gd name="connsiteY29" fmla="*/ 946864 h 2286441"/>
              <a:gd name="connsiteX30" fmla="*/ 3097396 w 3892734"/>
              <a:gd name="connsiteY30" fmla="*/ 920750 h 2286441"/>
              <a:gd name="connsiteX31" fmla="*/ 3241859 w 3892734"/>
              <a:gd name="connsiteY31" fmla="*/ 881801 h 2286441"/>
              <a:gd name="connsiteX32" fmla="*/ 3372035 w 3892734"/>
              <a:gd name="connsiteY32" fmla="*/ 761150 h 2286441"/>
              <a:gd name="connsiteX33" fmla="*/ 3519671 w 3892734"/>
              <a:gd name="connsiteY33" fmla="*/ 615101 h 2286441"/>
              <a:gd name="connsiteX34" fmla="*/ 3610159 w 3892734"/>
              <a:gd name="connsiteY34" fmla="*/ 576594 h 2286441"/>
              <a:gd name="connsiteX35" fmla="*/ 3803834 w 3892734"/>
              <a:gd name="connsiteY35" fmla="*/ 548239 h 2286441"/>
              <a:gd name="connsiteX36" fmla="*/ 3714934 w 3892734"/>
              <a:gd name="connsiteY36" fmla="*/ 406400 h 2286441"/>
              <a:gd name="connsiteX37" fmla="*/ 3892734 w 3892734"/>
              <a:gd name="connsiteY37" fmla="*/ 412750 h 2286441"/>
              <a:gd name="connsiteX38" fmla="*/ 3892734 w 3892734"/>
              <a:gd name="connsiteY38" fmla="*/ 755650 h 2286441"/>
              <a:gd name="connsiteX39" fmla="*/ 3708584 w 3892734"/>
              <a:gd name="connsiteY39" fmla="*/ 958850 h 2286441"/>
              <a:gd name="connsiteX40" fmla="*/ 3611747 w 3892734"/>
              <a:gd name="connsiteY40" fmla="*/ 1039839 h 2286441"/>
              <a:gd name="connsiteX41" fmla="*/ 3479984 w 3892734"/>
              <a:gd name="connsiteY41" fmla="*/ 1124086 h 2286441"/>
              <a:gd name="connsiteX42" fmla="*/ 3340284 w 3892734"/>
              <a:gd name="connsiteY42" fmla="*/ 1155700 h 2286441"/>
              <a:gd name="connsiteX43" fmla="*/ 3219634 w 3892734"/>
              <a:gd name="connsiteY43" fmla="*/ 1181100 h 2286441"/>
              <a:gd name="connsiteX44" fmla="*/ 3135496 w 3892734"/>
              <a:gd name="connsiteY44" fmla="*/ 1299916 h 2286441"/>
              <a:gd name="connsiteX45" fmla="*/ 2991034 w 3892734"/>
              <a:gd name="connsiteY45" fmla="*/ 1601049 h 2286441"/>
              <a:gd name="connsiteX46" fmla="*/ 2846571 w 3892734"/>
              <a:gd name="connsiteY46" fmla="*/ 1861399 h 2286441"/>
              <a:gd name="connsiteX47" fmla="*/ 2667184 w 3892734"/>
              <a:gd name="connsiteY47" fmla="*/ 2145316 h 2286441"/>
              <a:gd name="connsiteX48" fmla="*/ 2587809 w 3892734"/>
              <a:gd name="connsiteY48" fmla="*/ 2206268 h 2286441"/>
              <a:gd name="connsiteX49" fmla="*/ 2484621 w 3892734"/>
              <a:gd name="connsiteY49" fmla="*/ 2281349 h 2286441"/>
              <a:gd name="connsiteX50" fmla="*/ 2248084 w 3892734"/>
              <a:gd name="connsiteY50" fmla="*/ 2286441 h 2286441"/>
              <a:gd name="connsiteX51" fmla="*/ 2036946 w 3892734"/>
              <a:gd name="connsiteY51" fmla="*/ 2106231 h 2286441"/>
              <a:gd name="connsiteX52" fmla="*/ 1908359 w 3892734"/>
              <a:gd name="connsiteY52" fmla="*/ 1872537 h 2286441"/>
              <a:gd name="connsiteX53" fmla="*/ 1832158 w 3892734"/>
              <a:gd name="connsiteY53" fmla="*/ 1747371 h 2286441"/>
              <a:gd name="connsiteX54" fmla="*/ 1719447 w 3892734"/>
              <a:gd name="connsiteY54" fmla="*/ 1606380 h 2286441"/>
              <a:gd name="connsiteX55" fmla="*/ 1578160 w 3892734"/>
              <a:gd name="connsiteY55" fmla="*/ 1426137 h 2286441"/>
              <a:gd name="connsiteX56" fmla="*/ 1381309 w 3892734"/>
              <a:gd name="connsiteY56" fmla="*/ 1344268 h 2286441"/>
              <a:gd name="connsiteX57" fmla="*/ 1101909 w 3892734"/>
              <a:gd name="connsiteY57" fmla="*/ 1573782 h 2286441"/>
              <a:gd name="connsiteX58" fmla="*/ 895535 w 3892734"/>
              <a:gd name="connsiteY58" fmla="*/ 1609913 h 2286441"/>
              <a:gd name="connsiteX59" fmla="*/ 776471 w 3892734"/>
              <a:gd name="connsiteY59" fmla="*/ 1591782 h 2286441"/>
              <a:gd name="connsiteX60" fmla="*/ 538346 w 3892734"/>
              <a:gd name="connsiteY60" fmla="*/ 1642309 h 2286441"/>
              <a:gd name="connsiteX61" fmla="*/ 397059 w 3892734"/>
              <a:gd name="connsiteY61" fmla="*/ 1620170 h 2286441"/>
              <a:gd name="connsiteX62" fmla="*/ 12884 w 3892734"/>
              <a:gd name="connsiteY62" fmla="*/ 1221921 h 2286441"/>
              <a:gd name="connsiteX63" fmla="*/ 184 w 3892734"/>
              <a:gd name="connsiteY63" fmla="*/ 0 h 2286441"/>
              <a:gd name="connsiteX0" fmla="*/ 184 w 3892734"/>
              <a:gd name="connsiteY0" fmla="*/ 0 h 2286441"/>
              <a:gd name="connsiteX1" fmla="*/ 266884 w 3892734"/>
              <a:gd name="connsiteY1" fmla="*/ 1162050 h 2286441"/>
              <a:gd name="connsiteX2" fmla="*/ 322447 w 3892734"/>
              <a:gd name="connsiteY2" fmla="*/ 1258421 h 2286441"/>
              <a:gd name="connsiteX3" fmla="*/ 376422 w 3892734"/>
              <a:gd name="connsiteY3" fmla="*/ 1353535 h 2286441"/>
              <a:gd name="connsiteX4" fmla="*/ 412934 w 3892734"/>
              <a:gd name="connsiteY4" fmla="*/ 1314450 h 2286441"/>
              <a:gd name="connsiteX5" fmla="*/ 514534 w 3892734"/>
              <a:gd name="connsiteY5" fmla="*/ 996950 h 2286441"/>
              <a:gd name="connsiteX6" fmla="*/ 584384 w 3892734"/>
              <a:gd name="connsiteY6" fmla="*/ 641350 h 2286441"/>
              <a:gd name="connsiteX7" fmla="*/ 641534 w 3892734"/>
              <a:gd name="connsiteY7" fmla="*/ 444500 h 2286441"/>
              <a:gd name="connsiteX8" fmla="*/ 692334 w 3892734"/>
              <a:gd name="connsiteY8" fmla="*/ 330200 h 2286441"/>
              <a:gd name="connsiteX9" fmla="*/ 724084 w 3892734"/>
              <a:gd name="connsiteY9" fmla="*/ 279400 h 2286441"/>
              <a:gd name="connsiteX10" fmla="*/ 806634 w 3892734"/>
              <a:gd name="connsiteY10" fmla="*/ 334581 h 2286441"/>
              <a:gd name="connsiteX11" fmla="*/ 941571 w 3892734"/>
              <a:gd name="connsiteY11" fmla="*/ 603691 h 2286441"/>
              <a:gd name="connsiteX12" fmla="*/ 992372 w 3892734"/>
              <a:gd name="connsiteY12" fmla="*/ 744240 h 2286441"/>
              <a:gd name="connsiteX13" fmla="*/ 1093972 w 3892734"/>
              <a:gd name="connsiteY13" fmla="*/ 842884 h 2286441"/>
              <a:gd name="connsiteX14" fmla="*/ 1198746 w 3892734"/>
              <a:gd name="connsiteY14" fmla="*/ 780371 h 2286441"/>
              <a:gd name="connsiteX15" fmla="*/ 1297171 w 3892734"/>
              <a:gd name="connsiteY15" fmla="*/ 635305 h 2286441"/>
              <a:gd name="connsiteX16" fmla="*/ 1400358 w 3892734"/>
              <a:gd name="connsiteY16" fmla="*/ 547695 h 2286441"/>
              <a:gd name="connsiteX17" fmla="*/ 1486084 w 3892734"/>
              <a:gd name="connsiteY17" fmla="*/ 564606 h 2286441"/>
              <a:gd name="connsiteX18" fmla="*/ 1565459 w 3892734"/>
              <a:gd name="connsiteY18" fmla="*/ 681148 h 2286441"/>
              <a:gd name="connsiteX19" fmla="*/ 1771834 w 3892734"/>
              <a:gd name="connsiteY19" fmla="*/ 1080350 h 2286441"/>
              <a:gd name="connsiteX20" fmla="*/ 1892483 w 3892734"/>
              <a:gd name="connsiteY20" fmla="*/ 1258014 h 2286441"/>
              <a:gd name="connsiteX21" fmla="*/ 2082985 w 3892734"/>
              <a:gd name="connsiteY21" fmla="*/ 1530247 h 2286441"/>
              <a:gd name="connsiteX22" fmla="*/ 2281422 w 3892734"/>
              <a:gd name="connsiteY22" fmla="*/ 1299781 h 2286441"/>
              <a:gd name="connsiteX23" fmla="*/ 2349684 w 3892734"/>
              <a:gd name="connsiteY23" fmla="*/ 1150336 h 2286441"/>
              <a:gd name="connsiteX24" fmla="*/ 2425884 w 3892734"/>
              <a:gd name="connsiteY24" fmla="*/ 925978 h 2286441"/>
              <a:gd name="connsiteX25" fmla="*/ 2519546 w 3892734"/>
              <a:gd name="connsiteY25" fmla="*/ 862207 h 2286441"/>
              <a:gd name="connsiteX26" fmla="*/ 2603683 w 3892734"/>
              <a:gd name="connsiteY26" fmla="*/ 840475 h 2286441"/>
              <a:gd name="connsiteX27" fmla="*/ 2711634 w 3892734"/>
              <a:gd name="connsiteY27" fmla="*/ 907506 h 2286441"/>
              <a:gd name="connsiteX28" fmla="*/ 2822759 w 3892734"/>
              <a:gd name="connsiteY28" fmla="*/ 955622 h 2286441"/>
              <a:gd name="connsiteX29" fmla="*/ 2922771 w 3892734"/>
              <a:gd name="connsiteY29" fmla="*/ 946864 h 2286441"/>
              <a:gd name="connsiteX30" fmla="*/ 3097396 w 3892734"/>
              <a:gd name="connsiteY30" fmla="*/ 920750 h 2286441"/>
              <a:gd name="connsiteX31" fmla="*/ 3241859 w 3892734"/>
              <a:gd name="connsiteY31" fmla="*/ 881801 h 2286441"/>
              <a:gd name="connsiteX32" fmla="*/ 3372035 w 3892734"/>
              <a:gd name="connsiteY32" fmla="*/ 761150 h 2286441"/>
              <a:gd name="connsiteX33" fmla="*/ 3519671 w 3892734"/>
              <a:gd name="connsiteY33" fmla="*/ 615101 h 2286441"/>
              <a:gd name="connsiteX34" fmla="*/ 3610159 w 3892734"/>
              <a:gd name="connsiteY34" fmla="*/ 576594 h 2286441"/>
              <a:gd name="connsiteX35" fmla="*/ 3770496 w 3892734"/>
              <a:gd name="connsiteY35" fmla="*/ 525657 h 2286441"/>
              <a:gd name="connsiteX36" fmla="*/ 3714934 w 3892734"/>
              <a:gd name="connsiteY36" fmla="*/ 406400 h 2286441"/>
              <a:gd name="connsiteX37" fmla="*/ 3892734 w 3892734"/>
              <a:gd name="connsiteY37" fmla="*/ 412750 h 2286441"/>
              <a:gd name="connsiteX38" fmla="*/ 3892734 w 3892734"/>
              <a:gd name="connsiteY38" fmla="*/ 755650 h 2286441"/>
              <a:gd name="connsiteX39" fmla="*/ 3708584 w 3892734"/>
              <a:gd name="connsiteY39" fmla="*/ 958850 h 2286441"/>
              <a:gd name="connsiteX40" fmla="*/ 3611747 w 3892734"/>
              <a:gd name="connsiteY40" fmla="*/ 1039839 h 2286441"/>
              <a:gd name="connsiteX41" fmla="*/ 3479984 w 3892734"/>
              <a:gd name="connsiteY41" fmla="*/ 1124086 h 2286441"/>
              <a:gd name="connsiteX42" fmla="*/ 3340284 w 3892734"/>
              <a:gd name="connsiteY42" fmla="*/ 1155700 h 2286441"/>
              <a:gd name="connsiteX43" fmla="*/ 3219634 w 3892734"/>
              <a:gd name="connsiteY43" fmla="*/ 1181100 h 2286441"/>
              <a:gd name="connsiteX44" fmla="*/ 3135496 w 3892734"/>
              <a:gd name="connsiteY44" fmla="*/ 1299916 h 2286441"/>
              <a:gd name="connsiteX45" fmla="*/ 2991034 w 3892734"/>
              <a:gd name="connsiteY45" fmla="*/ 1601049 h 2286441"/>
              <a:gd name="connsiteX46" fmla="*/ 2846571 w 3892734"/>
              <a:gd name="connsiteY46" fmla="*/ 1861399 h 2286441"/>
              <a:gd name="connsiteX47" fmla="*/ 2667184 w 3892734"/>
              <a:gd name="connsiteY47" fmla="*/ 2145316 h 2286441"/>
              <a:gd name="connsiteX48" fmla="*/ 2587809 w 3892734"/>
              <a:gd name="connsiteY48" fmla="*/ 2206268 h 2286441"/>
              <a:gd name="connsiteX49" fmla="*/ 2484621 w 3892734"/>
              <a:gd name="connsiteY49" fmla="*/ 2281349 h 2286441"/>
              <a:gd name="connsiteX50" fmla="*/ 2248084 w 3892734"/>
              <a:gd name="connsiteY50" fmla="*/ 2286441 h 2286441"/>
              <a:gd name="connsiteX51" fmla="*/ 2036946 w 3892734"/>
              <a:gd name="connsiteY51" fmla="*/ 2106231 h 2286441"/>
              <a:gd name="connsiteX52" fmla="*/ 1908359 w 3892734"/>
              <a:gd name="connsiteY52" fmla="*/ 1872537 h 2286441"/>
              <a:gd name="connsiteX53" fmla="*/ 1832158 w 3892734"/>
              <a:gd name="connsiteY53" fmla="*/ 1747371 h 2286441"/>
              <a:gd name="connsiteX54" fmla="*/ 1719447 w 3892734"/>
              <a:gd name="connsiteY54" fmla="*/ 1606380 h 2286441"/>
              <a:gd name="connsiteX55" fmla="*/ 1578160 w 3892734"/>
              <a:gd name="connsiteY55" fmla="*/ 1426137 h 2286441"/>
              <a:gd name="connsiteX56" fmla="*/ 1381309 w 3892734"/>
              <a:gd name="connsiteY56" fmla="*/ 1344268 h 2286441"/>
              <a:gd name="connsiteX57" fmla="*/ 1101909 w 3892734"/>
              <a:gd name="connsiteY57" fmla="*/ 1573782 h 2286441"/>
              <a:gd name="connsiteX58" fmla="*/ 895535 w 3892734"/>
              <a:gd name="connsiteY58" fmla="*/ 1609913 h 2286441"/>
              <a:gd name="connsiteX59" fmla="*/ 776471 w 3892734"/>
              <a:gd name="connsiteY59" fmla="*/ 1591782 h 2286441"/>
              <a:gd name="connsiteX60" fmla="*/ 538346 w 3892734"/>
              <a:gd name="connsiteY60" fmla="*/ 1642309 h 2286441"/>
              <a:gd name="connsiteX61" fmla="*/ 397059 w 3892734"/>
              <a:gd name="connsiteY61" fmla="*/ 1620170 h 2286441"/>
              <a:gd name="connsiteX62" fmla="*/ 12884 w 3892734"/>
              <a:gd name="connsiteY62" fmla="*/ 1221921 h 2286441"/>
              <a:gd name="connsiteX63" fmla="*/ 184 w 3892734"/>
              <a:gd name="connsiteY63" fmla="*/ 0 h 2286441"/>
              <a:gd name="connsiteX0" fmla="*/ 184 w 3892734"/>
              <a:gd name="connsiteY0" fmla="*/ 0 h 2286441"/>
              <a:gd name="connsiteX1" fmla="*/ 266884 w 3892734"/>
              <a:gd name="connsiteY1" fmla="*/ 1162050 h 2286441"/>
              <a:gd name="connsiteX2" fmla="*/ 322447 w 3892734"/>
              <a:gd name="connsiteY2" fmla="*/ 1258421 h 2286441"/>
              <a:gd name="connsiteX3" fmla="*/ 376422 w 3892734"/>
              <a:gd name="connsiteY3" fmla="*/ 1353535 h 2286441"/>
              <a:gd name="connsiteX4" fmla="*/ 412934 w 3892734"/>
              <a:gd name="connsiteY4" fmla="*/ 1314450 h 2286441"/>
              <a:gd name="connsiteX5" fmla="*/ 514534 w 3892734"/>
              <a:gd name="connsiteY5" fmla="*/ 996950 h 2286441"/>
              <a:gd name="connsiteX6" fmla="*/ 584384 w 3892734"/>
              <a:gd name="connsiteY6" fmla="*/ 641350 h 2286441"/>
              <a:gd name="connsiteX7" fmla="*/ 641534 w 3892734"/>
              <a:gd name="connsiteY7" fmla="*/ 444500 h 2286441"/>
              <a:gd name="connsiteX8" fmla="*/ 692334 w 3892734"/>
              <a:gd name="connsiteY8" fmla="*/ 330200 h 2286441"/>
              <a:gd name="connsiteX9" fmla="*/ 724084 w 3892734"/>
              <a:gd name="connsiteY9" fmla="*/ 279400 h 2286441"/>
              <a:gd name="connsiteX10" fmla="*/ 806634 w 3892734"/>
              <a:gd name="connsiteY10" fmla="*/ 334581 h 2286441"/>
              <a:gd name="connsiteX11" fmla="*/ 941571 w 3892734"/>
              <a:gd name="connsiteY11" fmla="*/ 603691 h 2286441"/>
              <a:gd name="connsiteX12" fmla="*/ 992372 w 3892734"/>
              <a:gd name="connsiteY12" fmla="*/ 744240 h 2286441"/>
              <a:gd name="connsiteX13" fmla="*/ 1093972 w 3892734"/>
              <a:gd name="connsiteY13" fmla="*/ 842884 h 2286441"/>
              <a:gd name="connsiteX14" fmla="*/ 1198746 w 3892734"/>
              <a:gd name="connsiteY14" fmla="*/ 780371 h 2286441"/>
              <a:gd name="connsiteX15" fmla="*/ 1297171 w 3892734"/>
              <a:gd name="connsiteY15" fmla="*/ 635305 h 2286441"/>
              <a:gd name="connsiteX16" fmla="*/ 1400358 w 3892734"/>
              <a:gd name="connsiteY16" fmla="*/ 547695 h 2286441"/>
              <a:gd name="connsiteX17" fmla="*/ 1486084 w 3892734"/>
              <a:gd name="connsiteY17" fmla="*/ 564606 h 2286441"/>
              <a:gd name="connsiteX18" fmla="*/ 1565459 w 3892734"/>
              <a:gd name="connsiteY18" fmla="*/ 681148 h 2286441"/>
              <a:gd name="connsiteX19" fmla="*/ 1771834 w 3892734"/>
              <a:gd name="connsiteY19" fmla="*/ 1080350 h 2286441"/>
              <a:gd name="connsiteX20" fmla="*/ 1892483 w 3892734"/>
              <a:gd name="connsiteY20" fmla="*/ 1258014 h 2286441"/>
              <a:gd name="connsiteX21" fmla="*/ 2082985 w 3892734"/>
              <a:gd name="connsiteY21" fmla="*/ 1530247 h 2286441"/>
              <a:gd name="connsiteX22" fmla="*/ 2281422 w 3892734"/>
              <a:gd name="connsiteY22" fmla="*/ 1299781 h 2286441"/>
              <a:gd name="connsiteX23" fmla="*/ 2349684 w 3892734"/>
              <a:gd name="connsiteY23" fmla="*/ 1150336 h 2286441"/>
              <a:gd name="connsiteX24" fmla="*/ 2425884 w 3892734"/>
              <a:gd name="connsiteY24" fmla="*/ 925978 h 2286441"/>
              <a:gd name="connsiteX25" fmla="*/ 2519546 w 3892734"/>
              <a:gd name="connsiteY25" fmla="*/ 862207 h 2286441"/>
              <a:gd name="connsiteX26" fmla="*/ 2603683 w 3892734"/>
              <a:gd name="connsiteY26" fmla="*/ 840475 h 2286441"/>
              <a:gd name="connsiteX27" fmla="*/ 2711634 w 3892734"/>
              <a:gd name="connsiteY27" fmla="*/ 907506 h 2286441"/>
              <a:gd name="connsiteX28" fmla="*/ 2822759 w 3892734"/>
              <a:gd name="connsiteY28" fmla="*/ 955622 h 2286441"/>
              <a:gd name="connsiteX29" fmla="*/ 2922771 w 3892734"/>
              <a:gd name="connsiteY29" fmla="*/ 946864 h 2286441"/>
              <a:gd name="connsiteX30" fmla="*/ 3097396 w 3892734"/>
              <a:gd name="connsiteY30" fmla="*/ 920750 h 2286441"/>
              <a:gd name="connsiteX31" fmla="*/ 3241859 w 3892734"/>
              <a:gd name="connsiteY31" fmla="*/ 881801 h 2286441"/>
              <a:gd name="connsiteX32" fmla="*/ 3372035 w 3892734"/>
              <a:gd name="connsiteY32" fmla="*/ 761150 h 2286441"/>
              <a:gd name="connsiteX33" fmla="*/ 3519671 w 3892734"/>
              <a:gd name="connsiteY33" fmla="*/ 615101 h 2286441"/>
              <a:gd name="connsiteX34" fmla="*/ 3610159 w 3892734"/>
              <a:gd name="connsiteY34" fmla="*/ 576594 h 2286441"/>
              <a:gd name="connsiteX35" fmla="*/ 3770496 w 3892734"/>
              <a:gd name="connsiteY35" fmla="*/ 525657 h 2286441"/>
              <a:gd name="connsiteX36" fmla="*/ 3843522 w 3892734"/>
              <a:gd name="connsiteY36" fmla="*/ 659312 h 2286441"/>
              <a:gd name="connsiteX37" fmla="*/ 3892734 w 3892734"/>
              <a:gd name="connsiteY37" fmla="*/ 412750 h 2286441"/>
              <a:gd name="connsiteX38" fmla="*/ 3892734 w 3892734"/>
              <a:gd name="connsiteY38" fmla="*/ 755650 h 2286441"/>
              <a:gd name="connsiteX39" fmla="*/ 3708584 w 3892734"/>
              <a:gd name="connsiteY39" fmla="*/ 958850 h 2286441"/>
              <a:gd name="connsiteX40" fmla="*/ 3611747 w 3892734"/>
              <a:gd name="connsiteY40" fmla="*/ 1039839 h 2286441"/>
              <a:gd name="connsiteX41" fmla="*/ 3479984 w 3892734"/>
              <a:gd name="connsiteY41" fmla="*/ 1124086 h 2286441"/>
              <a:gd name="connsiteX42" fmla="*/ 3340284 w 3892734"/>
              <a:gd name="connsiteY42" fmla="*/ 1155700 h 2286441"/>
              <a:gd name="connsiteX43" fmla="*/ 3219634 w 3892734"/>
              <a:gd name="connsiteY43" fmla="*/ 1181100 h 2286441"/>
              <a:gd name="connsiteX44" fmla="*/ 3135496 w 3892734"/>
              <a:gd name="connsiteY44" fmla="*/ 1299916 h 2286441"/>
              <a:gd name="connsiteX45" fmla="*/ 2991034 w 3892734"/>
              <a:gd name="connsiteY45" fmla="*/ 1601049 h 2286441"/>
              <a:gd name="connsiteX46" fmla="*/ 2846571 w 3892734"/>
              <a:gd name="connsiteY46" fmla="*/ 1861399 h 2286441"/>
              <a:gd name="connsiteX47" fmla="*/ 2667184 w 3892734"/>
              <a:gd name="connsiteY47" fmla="*/ 2145316 h 2286441"/>
              <a:gd name="connsiteX48" fmla="*/ 2587809 w 3892734"/>
              <a:gd name="connsiteY48" fmla="*/ 2206268 h 2286441"/>
              <a:gd name="connsiteX49" fmla="*/ 2484621 w 3892734"/>
              <a:gd name="connsiteY49" fmla="*/ 2281349 h 2286441"/>
              <a:gd name="connsiteX50" fmla="*/ 2248084 w 3892734"/>
              <a:gd name="connsiteY50" fmla="*/ 2286441 h 2286441"/>
              <a:gd name="connsiteX51" fmla="*/ 2036946 w 3892734"/>
              <a:gd name="connsiteY51" fmla="*/ 2106231 h 2286441"/>
              <a:gd name="connsiteX52" fmla="*/ 1908359 w 3892734"/>
              <a:gd name="connsiteY52" fmla="*/ 1872537 h 2286441"/>
              <a:gd name="connsiteX53" fmla="*/ 1832158 w 3892734"/>
              <a:gd name="connsiteY53" fmla="*/ 1747371 h 2286441"/>
              <a:gd name="connsiteX54" fmla="*/ 1719447 w 3892734"/>
              <a:gd name="connsiteY54" fmla="*/ 1606380 h 2286441"/>
              <a:gd name="connsiteX55" fmla="*/ 1578160 w 3892734"/>
              <a:gd name="connsiteY55" fmla="*/ 1426137 h 2286441"/>
              <a:gd name="connsiteX56" fmla="*/ 1381309 w 3892734"/>
              <a:gd name="connsiteY56" fmla="*/ 1344268 h 2286441"/>
              <a:gd name="connsiteX57" fmla="*/ 1101909 w 3892734"/>
              <a:gd name="connsiteY57" fmla="*/ 1573782 h 2286441"/>
              <a:gd name="connsiteX58" fmla="*/ 895535 w 3892734"/>
              <a:gd name="connsiteY58" fmla="*/ 1609913 h 2286441"/>
              <a:gd name="connsiteX59" fmla="*/ 776471 w 3892734"/>
              <a:gd name="connsiteY59" fmla="*/ 1591782 h 2286441"/>
              <a:gd name="connsiteX60" fmla="*/ 538346 w 3892734"/>
              <a:gd name="connsiteY60" fmla="*/ 1642309 h 2286441"/>
              <a:gd name="connsiteX61" fmla="*/ 397059 w 3892734"/>
              <a:gd name="connsiteY61" fmla="*/ 1620170 h 2286441"/>
              <a:gd name="connsiteX62" fmla="*/ 12884 w 3892734"/>
              <a:gd name="connsiteY62" fmla="*/ 1221921 h 2286441"/>
              <a:gd name="connsiteX63" fmla="*/ 184 w 3892734"/>
              <a:gd name="connsiteY63" fmla="*/ 0 h 2286441"/>
              <a:gd name="connsiteX0" fmla="*/ 184 w 3892734"/>
              <a:gd name="connsiteY0" fmla="*/ 0 h 2286441"/>
              <a:gd name="connsiteX1" fmla="*/ 266884 w 3892734"/>
              <a:gd name="connsiteY1" fmla="*/ 1162050 h 2286441"/>
              <a:gd name="connsiteX2" fmla="*/ 322447 w 3892734"/>
              <a:gd name="connsiteY2" fmla="*/ 1258421 h 2286441"/>
              <a:gd name="connsiteX3" fmla="*/ 376422 w 3892734"/>
              <a:gd name="connsiteY3" fmla="*/ 1353535 h 2286441"/>
              <a:gd name="connsiteX4" fmla="*/ 412934 w 3892734"/>
              <a:gd name="connsiteY4" fmla="*/ 1314450 h 2286441"/>
              <a:gd name="connsiteX5" fmla="*/ 514534 w 3892734"/>
              <a:gd name="connsiteY5" fmla="*/ 996950 h 2286441"/>
              <a:gd name="connsiteX6" fmla="*/ 584384 w 3892734"/>
              <a:gd name="connsiteY6" fmla="*/ 641350 h 2286441"/>
              <a:gd name="connsiteX7" fmla="*/ 641534 w 3892734"/>
              <a:gd name="connsiteY7" fmla="*/ 444500 h 2286441"/>
              <a:gd name="connsiteX8" fmla="*/ 692334 w 3892734"/>
              <a:gd name="connsiteY8" fmla="*/ 330200 h 2286441"/>
              <a:gd name="connsiteX9" fmla="*/ 724084 w 3892734"/>
              <a:gd name="connsiteY9" fmla="*/ 279400 h 2286441"/>
              <a:gd name="connsiteX10" fmla="*/ 806634 w 3892734"/>
              <a:gd name="connsiteY10" fmla="*/ 334581 h 2286441"/>
              <a:gd name="connsiteX11" fmla="*/ 941571 w 3892734"/>
              <a:gd name="connsiteY11" fmla="*/ 603691 h 2286441"/>
              <a:gd name="connsiteX12" fmla="*/ 992372 w 3892734"/>
              <a:gd name="connsiteY12" fmla="*/ 744240 h 2286441"/>
              <a:gd name="connsiteX13" fmla="*/ 1093972 w 3892734"/>
              <a:gd name="connsiteY13" fmla="*/ 842884 h 2286441"/>
              <a:gd name="connsiteX14" fmla="*/ 1198746 w 3892734"/>
              <a:gd name="connsiteY14" fmla="*/ 780371 h 2286441"/>
              <a:gd name="connsiteX15" fmla="*/ 1297171 w 3892734"/>
              <a:gd name="connsiteY15" fmla="*/ 635305 h 2286441"/>
              <a:gd name="connsiteX16" fmla="*/ 1400358 w 3892734"/>
              <a:gd name="connsiteY16" fmla="*/ 547695 h 2286441"/>
              <a:gd name="connsiteX17" fmla="*/ 1486084 w 3892734"/>
              <a:gd name="connsiteY17" fmla="*/ 564606 h 2286441"/>
              <a:gd name="connsiteX18" fmla="*/ 1565459 w 3892734"/>
              <a:gd name="connsiteY18" fmla="*/ 681148 h 2286441"/>
              <a:gd name="connsiteX19" fmla="*/ 1771834 w 3892734"/>
              <a:gd name="connsiteY19" fmla="*/ 1080350 h 2286441"/>
              <a:gd name="connsiteX20" fmla="*/ 1892483 w 3892734"/>
              <a:gd name="connsiteY20" fmla="*/ 1258014 h 2286441"/>
              <a:gd name="connsiteX21" fmla="*/ 2082985 w 3892734"/>
              <a:gd name="connsiteY21" fmla="*/ 1530247 h 2286441"/>
              <a:gd name="connsiteX22" fmla="*/ 2281422 w 3892734"/>
              <a:gd name="connsiteY22" fmla="*/ 1299781 h 2286441"/>
              <a:gd name="connsiteX23" fmla="*/ 2349684 w 3892734"/>
              <a:gd name="connsiteY23" fmla="*/ 1150336 h 2286441"/>
              <a:gd name="connsiteX24" fmla="*/ 2425884 w 3892734"/>
              <a:gd name="connsiteY24" fmla="*/ 925978 h 2286441"/>
              <a:gd name="connsiteX25" fmla="*/ 2519546 w 3892734"/>
              <a:gd name="connsiteY25" fmla="*/ 862207 h 2286441"/>
              <a:gd name="connsiteX26" fmla="*/ 2603683 w 3892734"/>
              <a:gd name="connsiteY26" fmla="*/ 840475 h 2286441"/>
              <a:gd name="connsiteX27" fmla="*/ 2711634 w 3892734"/>
              <a:gd name="connsiteY27" fmla="*/ 907506 h 2286441"/>
              <a:gd name="connsiteX28" fmla="*/ 2822759 w 3892734"/>
              <a:gd name="connsiteY28" fmla="*/ 955622 h 2286441"/>
              <a:gd name="connsiteX29" fmla="*/ 2922771 w 3892734"/>
              <a:gd name="connsiteY29" fmla="*/ 946864 h 2286441"/>
              <a:gd name="connsiteX30" fmla="*/ 3097396 w 3892734"/>
              <a:gd name="connsiteY30" fmla="*/ 920750 h 2286441"/>
              <a:gd name="connsiteX31" fmla="*/ 3241859 w 3892734"/>
              <a:gd name="connsiteY31" fmla="*/ 881801 h 2286441"/>
              <a:gd name="connsiteX32" fmla="*/ 3372035 w 3892734"/>
              <a:gd name="connsiteY32" fmla="*/ 761150 h 2286441"/>
              <a:gd name="connsiteX33" fmla="*/ 3519671 w 3892734"/>
              <a:gd name="connsiteY33" fmla="*/ 615101 h 2286441"/>
              <a:gd name="connsiteX34" fmla="*/ 3610159 w 3892734"/>
              <a:gd name="connsiteY34" fmla="*/ 576594 h 2286441"/>
              <a:gd name="connsiteX35" fmla="*/ 3770496 w 3892734"/>
              <a:gd name="connsiteY35" fmla="*/ 525657 h 2286441"/>
              <a:gd name="connsiteX36" fmla="*/ 3843522 w 3892734"/>
              <a:gd name="connsiteY36" fmla="*/ 659312 h 2286441"/>
              <a:gd name="connsiteX37" fmla="*/ 3892734 w 3892734"/>
              <a:gd name="connsiteY37" fmla="*/ 755650 h 2286441"/>
              <a:gd name="connsiteX38" fmla="*/ 3708584 w 3892734"/>
              <a:gd name="connsiteY38" fmla="*/ 958850 h 2286441"/>
              <a:gd name="connsiteX39" fmla="*/ 3611747 w 3892734"/>
              <a:gd name="connsiteY39" fmla="*/ 1039839 h 2286441"/>
              <a:gd name="connsiteX40" fmla="*/ 3479984 w 3892734"/>
              <a:gd name="connsiteY40" fmla="*/ 1124086 h 2286441"/>
              <a:gd name="connsiteX41" fmla="*/ 3340284 w 3892734"/>
              <a:gd name="connsiteY41" fmla="*/ 1155700 h 2286441"/>
              <a:gd name="connsiteX42" fmla="*/ 3219634 w 3892734"/>
              <a:gd name="connsiteY42" fmla="*/ 1181100 h 2286441"/>
              <a:gd name="connsiteX43" fmla="*/ 3135496 w 3892734"/>
              <a:gd name="connsiteY43" fmla="*/ 1299916 h 2286441"/>
              <a:gd name="connsiteX44" fmla="*/ 2991034 w 3892734"/>
              <a:gd name="connsiteY44" fmla="*/ 1601049 h 2286441"/>
              <a:gd name="connsiteX45" fmla="*/ 2846571 w 3892734"/>
              <a:gd name="connsiteY45" fmla="*/ 1861399 h 2286441"/>
              <a:gd name="connsiteX46" fmla="*/ 2667184 w 3892734"/>
              <a:gd name="connsiteY46" fmla="*/ 2145316 h 2286441"/>
              <a:gd name="connsiteX47" fmla="*/ 2587809 w 3892734"/>
              <a:gd name="connsiteY47" fmla="*/ 2206268 h 2286441"/>
              <a:gd name="connsiteX48" fmla="*/ 2484621 w 3892734"/>
              <a:gd name="connsiteY48" fmla="*/ 2281349 h 2286441"/>
              <a:gd name="connsiteX49" fmla="*/ 2248084 w 3892734"/>
              <a:gd name="connsiteY49" fmla="*/ 2286441 h 2286441"/>
              <a:gd name="connsiteX50" fmla="*/ 2036946 w 3892734"/>
              <a:gd name="connsiteY50" fmla="*/ 2106231 h 2286441"/>
              <a:gd name="connsiteX51" fmla="*/ 1908359 w 3892734"/>
              <a:gd name="connsiteY51" fmla="*/ 1872537 h 2286441"/>
              <a:gd name="connsiteX52" fmla="*/ 1832158 w 3892734"/>
              <a:gd name="connsiteY52" fmla="*/ 1747371 h 2286441"/>
              <a:gd name="connsiteX53" fmla="*/ 1719447 w 3892734"/>
              <a:gd name="connsiteY53" fmla="*/ 1606380 h 2286441"/>
              <a:gd name="connsiteX54" fmla="*/ 1578160 w 3892734"/>
              <a:gd name="connsiteY54" fmla="*/ 1426137 h 2286441"/>
              <a:gd name="connsiteX55" fmla="*/ 1381309 w 3892734"/>
              <a:gd name="connsiteY55" fmla="*/ 1344268 h 2286441"/>
              <a:gd name="connsiteX56" fmla="*/ 1101909 w 3892734"/>
              <a:gd name="connsiteY56" fmla="*/ 1573782 h 2286441"/>
              <a:gd name="connsiteX57" fmla="*/ 895535 w 3892734"/>
              <a:gd name="connsiteY57" fmla="*/ 1609913 h 2286441"/>
              <a:gd name="connsiteX58" fmla="*/ 776471 w 3892734"/>
              <a:gd name="connsiteY58" fmla="*/ 1591782 h 2286441"/>
              <a:gd name="connsiteX59" fmla="*/ 538346 w 3892734"/>
              <a:gd name="connsiteY59" fmla="*/ 1642309 h 2286441"/>
              <a:gd name="connsiteX60" fmla="*/ 397059 w 3892734"/>
              <a:gd name="connsiteY60" fmla="*/ 1620170 h 2286441"/>
              <a:gd name="connsiteX61" fmla="*/ 12884 w 3892734"/>
              <a:gd name="connsiteY61" fmla="*/ 1221921 h 2286441"/>
              <a:gd name="connsiteX62" fmla="*/ 184 w 3892734"/>
              <a:gd name="connsiteY62" fmla="*/ 0 h 2286441"/>
              <a:gd name="connsiteX0" fmla="*/ 184 w 3900672"/>
              <a:gd name="connsiteY0" fmla="*/ 0 h 2286441"/>
              <a:gd name="connsiteX1" fmla="*/ 266884 w 3900672"/>
              <a:gd name="connsiteY1" fmla="*/ 1162050 h 2286441"/>
              <a:gd name="connsiteX2" fmla="*/ 322447 w 3900672"/>
              <a:gd name="connsiteY2" fmla="*/ 1258421 h 2286441"/>
              <a:gd name="connsiteX3" fmla="*/ 376422 w 3900672"/>
              <a:gd name="connsiteY3" fmla="*/ 1353535 h 2286441"/>
              <a:gd name="connsiteX4" fmla="*/ 412934 w 3900672"/>
              <a:gd name="connsiteY4" fmla="*/ 1314450 h 2286441"/>
              <a:gd name="connsiteX5" fmla="*/ 514534 w 3900672"/>
              <a:gd name="connsiteY5" fmla="*/ 996950 h 2286441"/>
              <a:gd name="connsiteX6" fmla="*/ 584384 w 3900672"/>
              <a:gd name="connsiteY6" fmla="*/ 641350 h 2286441"/>
              <a:gd name="connsiteX7" fmla="*/ 641534 w 3900672"/>
              <a:gd name="connsiteY7" fmla="*/ 444500 h 2286441"/>
              <a:gd name="connsiteX8" fmla="*/ 692334 w 3900672"/>
              <a:gd name="connsiteY8" fmla="*/ 330200 h 2286441"/>
              <a:gd name="connsiteX9" fmla="*/ 724084 w 3900672"/>
              <a:gd name="connsiteY9" fmla="*/ 279400 h 2286441"/>
              <a:gd name="connsiteX10" fmla="*/ 806634 w 3900672"/>
              <a:gd name="connsiteY10" fmla="*/ 334581 h 2286441"/>
              <a:gd name="connsiteX11" fmla="*/ 941571 w 3900672"/>
              <a:gd name="connsiteY11" fmla="*/ 603691 h 2286441"/>
              <a:gd name="connsiteX12" fmla="*/ 992372 w 3900672"/>
              <a:gd name="connsiteY12" fmla="*/ 744240 h 2286441"/>
              <a:gd name="connsiteX13" fmla="*/ 1093972 w 3900672"/>
              <a:gd name="connsiteY13" fmla="*/ 842884 h 2286441"/>
              <a:gd name="connsiteX14" fmla="*/ 1198746 w 3900672"/>
              <a:gd name="connsiteY14" fmla="*/ 780371 h 2286441"/>
              <a:gd name="connsiteX15" fmla="*/ 1297171 w 3900672"/>
              <a:gd name="connsiteY15" fmla="*/ 635305 h 2286441"/>
              <a:gd name="connsiteX16" fmla="*/ 1400358 w 3900672"/>
              <a:gd name="connsiteY16" fmla="*/ 547695 h 2286441"/>
              <a:gd name="connsiteX17" fmla="*/ 1486084 w 3900672"/>
              <a:gd name="connsiteY17" fmla="*/ 564606 h 2286441"/>
              <a:gd name="connsiteX18" fmla="*/ 1565459 w 3900672"/>
              <a:gd name="connsiteY18" fmla="*/ 681148 h 2286441"/>
              <a:gd name="connsiteX19" fmla="*/ 1771834 w 3900672"/>
              <a:gd name="connsiteY19" fmla="*/ 1080350 h 2286441"/>
              <a:gd name="connsiteX20" fmla="*/ 1892483 w 3900672"/>
              <a:gd name="connsiteY20" fmla="*/ 1258014 h 2286441"/>
              <a:gd name="connsiteX21" fmla="*/ 2082985 w 3900672"/>
              <a:gd name="connsiteY21" fmla="*/ 1530247 h 2286441"/>
              <a:gd name="connsiteX22" fmla="*/ 2281422 w 3900672"/>
              <a:gd name="connsiteY22" fmla="*/ 1299781 h 2286441"/>
              <a:gd name="connsiteX23" fmla="*/ 2349684 w 3900672"/>
              <a:gd name="connsiteY23" fmla="*/ 1150336 h 2286441"/>
              <a:gd name="connsiteX24" fmla="*/ 2425884 w 3900672"/>
              <a:gd name="connsiteY24" fmla="*/ 925978 h 2286441"/>
              <a:gd name="connsiteX25" fmla="*/ 2519546 w 3900672"/>
              <a:gd name="connsiteY25" fmla="*/ 862207 h 2286441"/>
              <a:gd name="connsiteX26" fmla="*/ 2603683 w 3900672"/>
              <a:gd name="connsiteY26" fmla="*/ 840475 h 2286441"/>
              <a:gd name="connsiteX27" fmla="*/ 2711634 w 3900672"/>
              <a:gd name="connsiteY27" fmla="*/ 907506 h 2286441"/>
              <a:gd name="connsiteX28" fmla="*/ 2822759 w 3900672"/>
              <a:gd name="connsiteY28" fmla="*/ 955622 h 2286441"/>
              <a:gd name="connsiteX29" fmla="*/ 2922771 w 3900672"/>
              <a:gd name="connsiteY29" fmla="*/ 946864 h 2286441"/>
              <a:gd name="connsiteX30" fmla="*/ 3097396 w 3900672"/>
              <a:gd name="connsiteY30" fmla="*/ 920750 h 2286441"/>
              <a:gd name="connsiteX31" fmla="*/ 3241859 w 3900672"/>
              <a:gd name="connsiteY31" fmla="*/ 881801 h 2286441"/>
              <a:gd name="connsiteX32" fmla="*/ 3372035 w 3900672"/>
              <a:gd name="connsiteY32" fmla="*/ 761150 h 2286441"/>
              <a:gd name="connsiteX33" fmla="*/ 3519671 w 3900672"/>
              <a:gd name="connsiteY33" fmla="*/ 615101 h 2286441"/>
              <a:gd name="connsiteX34" fmla="*/ 3610159 w 3900672"/>
              <a:gd name="connsiteY34" fmla="*/ 576594 h 2286441"/>
              <a:gd name="connsiteX35" fmla="*/ 3770496 w 3900672"/>
              <a:gd name="connsiteY35" fmla="*/ 525657 h 2286441"/>
              <a:gd name="connsiteX36" fmla="*/ 3900672 w 3900672"/>
              <a:gd name="connsiteY36" fmla="*/ 600601 h 2286441"/>
              <a:gd name="connsiteX37" fmla="*/ 3892734 w 3900672"/>
              <a:gd name="connsiteY37" fmla="*/ 755650 h 2286441"/>
              <a:gd name="connsiteX38" fmla="*/ 3708584 w 3900672"/>
              <a:gd name="connsiteY38" fmla="*/ 958850 h 2286441"/>
              <a:gd name="connsiteX39" fmla="*/ 3611747 w 3900672"/>
              <a:gd name="connsiteY39" fmla="*/ 1039839 h 2286441"/>
              <a:gd name="connsiteX40" fmla="*/ 3479984 w 3900672"/>
              <a:gd name="connsiteY40" fmla="*/ 1124086 h 2286441"/>
              <a:gd name="connsiteX41" fmla="*/ 3340284 w 3900672"/>
              <a:gd name="connsiteY41" fmla="*/ 1155700 h 2286441"/>
              <a:gd name="connsiteX42" fmla="*/ 3219634 w 3900672"/>
              <a:gd name="connsiteY42" fmla="*/ 1181100 h 2286441"/>
              <a:gd name="connsiteX43" fmla="*/ 3135496 w 3900672"/>
              <a:gd name="connsiteY43" fmla="*/ 1299916 h 2286441"/>
              <a:gd name="connsiteX44" fmla="*/ 2991034 w 3900672"/>
              <a:gd name="connsiteY44" fmla="*/ 1601049 h 2286441"/>
              <a:gd name="connsiteX45" fmla="*/ 2846571 w 3900672"/>
              <a:gd name="connsiteY45" fmla="*/ 1861399 h 2286441"/>
              <a:gd name="connsiteX46" fmla="*/ 2667184 w 3900672"/>
              <a:gd name="connsiteY46" fmla="*/ 2145316 h 2286441"/>
              <a:gd name="connsiteX47" fmla="*/ 2587809 w 3900672"/>
              <a:gd name="connsiteY47" fmla="*/ 2206268 h 2286441"/>
              <a:gd name="connsiteX48" fmla="*/ 2484621 w 3900672"/>
              <a:gd name="connsiteY48" fmla="*/ 2281349 h 2286441"/>
              <a:gd name="connsiteX49" fmla="*/ 2248084 w 3900672"/>
              <a:gd name="connsiteY49" fmla="*/ 2286441 h 2286441"/>
              <a:gd name="connsiteX50" fmla="*/ 2036946 w 3900672"/>
              <a:gd name="connsiteY50" fmla="*/ 2106231 h 2286441"/>
              <a:gd name="connsiteX51" fmla="*/ 1908359 w 3900672"/>
              <a:gd name="connsiteY51" fmla="*/ 1872537 h 2286441"/>
              <a:gd name="connsiteX52" fmla="*/ 1832158 w 3900672"/>
              <a:gd name="connsiteY52" fmla="*/ 1747371 h 2286441"/>
              <a:gd name="connsiteX53" fmla="*/ 1719447 w 3900672"/>
              <a:gd name="connsiteY53" fmla="*/ 1606380 h 2286441"/>
              <a:gd name="connsiteX54" fmla="*/ 1578160 w 3900672"/>
              <a:gd name="connsiteY54" fmla="*/ 1426137 h 2286441"/>
              <a:gd name="connsiteX55" fmla="*/ 1381309 w 3900672"/>
              <a:gd name="connsiteY55" fmla="*/ 1344268 h 2286441"/>
              <a:gd name="connsiteX56" fmla="*/ 1101909 w 3900672"/>
              <a:gd name="connsiteY56" fmla="*/ 1573782 h 2286441"/>
              <a:gd name="connsiteX57" fmla="*/ 895535 w 3900672"/>
              <a:gd name="connsiteY57" fmla="*/ 1609913 h 2286441"/>
              <a:gd name="connsiteX58" fmla="*/ 776471 w 3900672"/>
              <a:gd name="connsiteY58" fmla="*/ 1591782 h 2286441"/>
              <a:gd name="connsiteX59" fmla="*/ 538346 w 3900672"/>
              <a:gd name="connsiteY59" fmla="*/ 1642309 h 2286441"/>
              <a:gd name="connsiteX60" fmla="*/ 397059 w 3900672"/>
              <a:gd name="connsiteY60" fmla="*/ 1620170 h 2286441"/>
              <a:gd name="connsiteX61" fmla="*/ 12884 w 3900672"/>
              <a:gd name="connsiteY61" fmla="*/ 1221921 h 2286441"/>
              <a:gd name="connsiteX62" fmla="*/ 184 w 3900672"/>
              <a:gd name="connsiteY62" fmla="*/ 0 h 2286441"/>
              <a:gd name="connsiteX0" fmla="*/ 184 w 3900672"/>
              <a:gd name="connsiteY0" fmla="*/ 0 h 2286441"/>
              <a:gd name="connsiteX1" fmla="*/ 266884 w 3900672"/>
              <a:gd name="connsiteY1" fmla="*/ 1162050 h 2286441"/>
              <a:gd name="connsiteX2" fmla="*/ 322447 w 3900672"/>
              <a:gd name="connsiteY2" fmla="*/ 1258421 h 2286441"/>
              <a:gd name="connsiteX3" fmla="*/ 376422 w 3900672"/>
              <a:gd name="connsiteY3" fmla="*/ 1353535 h 2286441"/>
              <a:gd name="connsiteX4" fmla="*/ 412934 w 3900672"/>
              <a:gd name="connsiteY4" fmla="*/ 1314450 h 2286441"/>
              <a:gd name="connsiteX5" fmla="*/ 514534 w 3900672"/>
              <a:gd name="connsiteY5" fmla="*/ 996950 h 2286441"/>
              <a:gd name="connsiteX6" fmla="*/ 584384 w 3900672"/>
              <a:gd name="connsiteY6" fmla="*/ 641350 h 2286441"/>
              <a:gd name="connsiteX7" fmla="*/ 641534 w 3900672"/>
              <a:gd name="connsiteY7" fmla="*/ 444500 h 2286441"/>
              <a:gd name="connsiteX8" fmla="*/ 692334 w 3900672"/>
              <a:gd name="connsiteY8" fmla="*/ 330200 h 2286441"/>
              <a:gd name="connsiteX9" fmla="*/ 724084 w 3900672"/>
              <a:gd name="connsiteY9" fmla="*/ 279400 h 2286441"/>
              <a:gd name="connsiteX10" fmla="*/ 806634 w 3900672"/>
              <a:gd name="connsiteY10" fmla="*/ 334581 h 2286441"/>
              <a:gd name="connsiteX11" fmla="*/ 941571 w 3900672"/>
              <a:gd name="connsiteY11" fmla="*/ 603691 h 2286441"/>
              <a:gd name="connsiteX12" fmla="*/ 992372 w 3900672"/>
              <a:gd name="connsiteY12" fmla="*/ 744240 h 2286441"/>
              <a:gd name="connsiteX13" fmla="*/ 1093972 w 3900672"/>
              <a:gd name="connsiteY13" fmla="*/ 842884 h 2286441"/>
              <a:gd name="connsiteX14" fmla="*/ 1198746 w 3900672"/>
              <a:gd name="connsiteY14" fmla="*/ 780371 h 2286441"/>
              <a:gd name="connsiteX15" fmla="*/ 1297171 w 3900672"/>
              <a:gd name="connsiteY15" fmla="*/ 635305 h 2286441"/>
              <a:gd name="connsiteX16" fmla="*/ 1400358 w 3900672"/>
              <a:gd name="connsiteY16" fmla="*/ 547695 h 2286441"/>
              <a:gd name="connsiteX17" fmla="*/ 1486084 w 3900672"/>
              <a:gd name="connsiteY17" fmla="*/ 564606 h 2286441"/>
              <a:gd name="connsiteX18" fmla="*/ 1565459 w 3900672"/>
              <a:gd name="connsiteY18" fmla="*/ 681148 h 2286441"/>
              <a:gd name="connsiteX19" fmla="*/ 1771834 w 3900672"/>
              <a:gd name="connsiteY19" fmla="*/ 1080350 h 2286441"/>
              <a:gd name="connsiteX20" fmla="*/ 1892483 w 3900672"/>
              <a:gd name="connsiteY20" fmla="*/ 1258014 h 2286441"/>
              <a:gd name="connsiteX21" fmla="*/ 2082985 w 3900672"/>
              <a:gd name="connsiteY21" fmla="*/ 1530247 h 2286441"/>
              <a:gd name="connsiteX22" fmla="*/ 2281422 w 3900672"/>
              <a:gd name="connsiteY22" fmla="*/ 1299781 h 2286441"/>
              <a:gd name="connsiteX23" fmla="*/ 2349684 w 3900672"/>
              <a:gd name="connsiteY23" fmla="*/ 1150336 h 2286441"/>
              <a:gd name="connsiteX24" fmla="*/ 2425884 w 3900672"/>
              <a:gd name="connsiteY24" fmla="*/ 925978 h 2286441"/>
              <a:gd name="connsiteX25" fmla="*/ 2519546 w 3900672"/>
              <a:gd name="connsiteY25" fmla="*/ 862207 h 2286441"/>
              <a:gd name="connsiteX26" fmla="*/ 2603683 w 3900672"/>
              <a:gd name="connsiteY26" fmla="*/ 840475 h 2286441"/>
              <a:gd name="connsiteX27" fmla="*/ 2711634 w 3900672"/>
              <a:gd name="connsiteY27" fmla="*/ 907506 h 2286441"/>
              <a:gd name="connsiteX28" fmla="*/ 2822759 w 3900672"/>
              <a:gd name="connsiteY28" fmla="*/ 955622 h 2286441"/>
              <a:gd name="connsiteX29" fmla="*/ 2922771 w 3900672"/>
              <a:gd name="connsiteY29" fmla="*/ 946864 h 2286441"/>
              <a:gd name="connsiteX30" fmla="*/ 3097396 w 3900672"/>
              <a:gd name="connsiteY30" fmla="*/ 920750 h 2286441"/>
              <a:gd name="connsiteX31" fmla="*/ 3241859 w 3900672"/>
              <a:gd name="connsiteY31" fmla="*/ 881801 h 2286441"/>
              <a:gd name="connsiteX32" fmla="*/ 3372035 w 3900672"/>
              <a:gd name="connsiteY32" fmla="*/ 761150 h 2286441"/>
              <a:gd name="connsiteX33" fmla="*/ 3519671 w 3900672"/>
              <a:gd name="connsiteY33" fmla="*/ 615101 h 2286441"/>
              <a:gd name="connsiteX34" fmla="*/ 3610159 w 3900672"/>
              <a:gd name="connsiteY34" fmla="*/ 576594 h 2286441"/>
              <a:gd name="connsiteX35" fmla="*/ 3770496 w 3900672"/>
              <a:gd name="connsiteY35" fmla="*/ 629532 h 2286441"/>
              <a:gd name="connsiteX36" fmla="*/ 3900672 w 3900672"/>
              <a:gd name="connsiteY36" fmla="*/ 600601 h 2286441"/>
              <a:gd name="connsiteX37" fmla="*/ 3892734 w 3900672"/>
              <a:gd name="connsiteY37" fmla="*/ 755650 h 2286441"/>
              <a:gd name="connsiteX38" fmla="*/ 3708584 w 3900672"/>
              <a:gd name="connsiteY38" fmla="*/ 958850 h 2286441"/>
              <a:gd name="connsiteX39" fmla="*/ 3611747 w 3900672"/>
              <a:gd name="connsiteY39" fmla="*/ 1039839 h 2286441"/>
              <a:gd name="connsiteX40" fmla="*/ 3479984 w 3900672"/>
              <a:gd name="connsiteY40" fmla="*/ 1124086 h 2286441"/>
              <a:gd name="connsiteX41" fmla="*/ 3340284 w 3900672"/>
              <a:gd name="connsiteY41" fmla="*/ 1155700 h 2286441"/>
              <a:gd name="connsiteX42" fmla="*/ 3219634 w 3900672"/>
              <a:gd name="connsiteY42" fmla="*/ 1181100 h 2286441"/>
              <a:gd name="connsiteX43" fmla="*/ 3135496 w 3900672"/>
              <a:gd name="connsiteY43" fmla="*/ 1299916 h 2286441"/>
              <a:gd name="connsiteX44" fmla="*/ 2991034 w 3900672"/>
              <a:gd name="connsiteY44" fmla="*/ 1601049 h 2286441"/>
              <a:gd name="connsiteX45" fmla="*/ 2846571 w 3900672"/>
              <a:gd name="connsiteY45" fmla="*/ 1861399 h 2286441"/>
              <a:gd name="connsiteX46" fmla="*/ 2667184 w 3900672"/>
              <a:gd name="connsiteY46" fmla="*/ 2145316 h 2286441"/>
              <a:gd name="connsiteX47" fmla="*/ 2587809 w 3900672"/>
              <a:gd name="connsiteY47" fmla="*/ 2206268 h 2286441"/>
              <a:gd name="connsiteX48" fmla="*/ 2484621 w 3900672"/>
              <a:gd name="connsiteY48" fmla="*/ 2281349 h 2286441"/>
              <a:gd name="connsiteX49" fmla="*/ 2248084 w 3900672"/>
              <a:gd name="connsiteY49" fmla="*/ 2286441 h 2286441"/>
              <a:gd name="connsiteX50" fmla="*/ 2036946 w 3900672"/>
              <a:gd name="connsiteY50" fmla="*/ 2106231 h 2286441"/>
              <a:gd name="connsiteX51" fmla="*/ 1908359 w 3900672"/>
              <a:gd name="connsiteY51" fmla="*/ 1872537 h 2286441"/>
              <a:gd name="connsiteX52" fmla="*/ 1832158 w 3900672"/>
              <a:gd name="connsiteY52" fmla="*/ 1747371 h 2286441"/>
              <a:gd name="connsiteX53" fmla="*/ 1719447 w 3900672"/>
              <a:gd name="connsiteY53" fmla="*/ 1606380 h 2286441"/>
              <a:gd name="connsiteX54" fmla="*/ 1578160 w 3900672"/>
              <a:gd name="connsiteY54" fmla="*/ 1426137 h 2286441"/>
              <a:gd name="connsiteX55" fmla="*/ 1381309 w 3900672"/>
              <a:gd name="connsiteY55" fmla="*/ 1344268 h 2286441"/>
              <a:gd name="connsiteX56" fmla="*/ 1101909 w 3900672"/>
              <a:gd name="connsiteY56" fmla="*/ 1573782 h 2286441"/>
              <a:gd name="connsiteX57" fmla="*/ 895535 w 3900672"/>
              <a:gd name="connsiteY57" fmla="*/ 1609913 h 2286441"/>
              <a:gd name="connsiteX58" fmla="*/ 776471 w 3900672"/>
              <a:gd name="connsiteY58" fmla="*/ 1591782 h 2286441"/>
              <a:gd name="connsiteX59" fmla="*/ 538346 w 3900672"/>
              <a:gd name="connsiteY59" fmla="*/ 1642309 h 2286441"/>
              <a:gd name="connsiteX60" fmla="*/ 397059 w 3900672"/>
              <a:gd name="connsiteY60" fmla="*/ 1620170 h 2286441"/>
              <a:gd name="connsiteX61" fmla="*/ 12884 w 3900672"/>
              <a:gd name="connsiteY61" fmla="*/ 1221921 h 2286441"/>
              <a:gd name="connsiteX62" fmla="*/ 184 w 3900672"/>
              <a:gd name="connsiteY62" fmla="*/ 0 h 2286441"/>
              <a:gd name="connsiteX0" fmla="*/ 184 w 3900672"/>
              <a:gd name="connsiteY0" fmla="*/ 0 h 2286441"/>
              <a:gd name="connsiteX1" fmla="*/ 266884 w 3900672"/>
              <a:gd name="connsiteY1" fmla="*/ 1162050 h 2286441"/>
              <a:gd name="connsiteX2" fmla="*/ 322447 w 3900672"/>
              <a:gd name="connsiteY2" fmla="*/ 1258421 h 2286441"/>
              <a:gd name="connsiteX3" fmla="*/ 376422 w 3900672"/>
              <a:gd name="connsiteY3" fmla="*/ 1353535 h 2286441"/>
              <a:gd name="connsiteX4" fmla="*/ 412934 w 3900672"/>
              <a:gd name="connsiteY4" fmla="*/ 1314450 h 2286441"/>
              <a:gd name="connsiteX5" fmla="*/ 514534 w 3900672"/>
              <a:gd name="connsiteY5" fmla="*/ 996950 h 2286441"/>
              <a:gd name="connsiteX6" fmla="*/ 584384 w 3900672"/>
              <a:gd name="connsiteY6" fmla="*/ 641350 h 2286441"/>
              <a:gd name="connsiteX7" fmla="*/ 641534 w 3900672"/>
              <a:gd name="connsiteY7" fmla="*/ 444500 h 2286441"/>
              <a:gd name="connsiteX8" fmla="*/ 692334 w 3900672"/>
              <a:gd name="connsiteY8" fmla="*/ 330200 h 2286441"/>
              <a:gd name="connsiteX9" fmla="*/ 724084 w 3900672"/>
              <a:gd name="connsiteY9" fmla="*/ 279400 h 2286441"/>
              <a:gd name="connsiteX10" fmla="*/ 806634 w 3900672"/>
              <a:gd name="connsiteY10" fmla="*/ 334581 h 2286441"/>
              <a:gd name="connsiteX11" fmla="*/ 941571 w 3900672"/>
              <a:gd name="connsiteY11" fmla="*/ 603691 h 2286441"/>
              <a:gd name="connsiteX12" fmla="*/ 992372 w 3900672"/>
              <a:gd name="connsiteY12" fmla="*/ 744240 h 2286441"/>
              <a:gd name="connsiteX13" fmla="*/ 1093972 w 3900672"/>
              <a:gd name="connsiteY13" fmla="*/ 842884 h 2286441"/>
              <a:gd name="connsiteX14" fmla="*/ 1198746 w 3900672"/>
              <a:gd name="connsiteY14" fmla="*/ 780371 h 2286441"/>
              <a:gd name="connsiteX15" fmla="*/ 1297171 w 3900672"/>
              <a:gd name="connsiteY15" fmla="*/ 635305 h 2286441"/>
              <a:gd name="connsiteX16" fmla="*/ 1400358 w 3900672"/>
              <a:gd name="connsiteY16" fmla="*/ 547695 h 2286441"/>
              <a:gd name="connsiteX17" fmla="*/ 1486084 w 3900672"/>
              <a:gd name="connsiteY17" fmla="*/ 564606 h 2286441"/>
              <a:gd name="connsiteX18" fmla="*/ 1565459 w 3900672"/>
              <a:gd name="connsiteY18" fmla="*/ 681148 h 2286441"/>
              <a:gd name="connsiteX19" fmla="*/ 1771834 w 3900672"/>
              <a:gd name="connsiteY19" fmla="*/ 1080350 h 2286441"/>
              <a:gd name="connsiteX20" fmla="*/ 1892483 w 3900672"/>
              <a:gd name="connsiteY20" fmla="*/ 1258014 h 2286441"/>
              <a:gd name="connsiteX21" fmla="*/ 2082985 w 3900672"/>
              <a:gd name="connsiteY21" fmla="*/ 1530247 h 2286441"/>
              <a:gd name="connsiteX22" fmla="*/ 2281422 w 3900672"/>
              <a:gd name="connsiteY22" fmla="*/ 1299781 h 2286441"/>
              <a:gd name="connsiteX23" fmla="*/ 2349684 w 3900672"/>
              <a:gd name="connsiteY23" fmla="*/ 1150336 h 2286441"/>
              <a:gd name="connsiteX24" fmla="*/ 2425884 w 3900672"/>
              <a:gd name="connsiteY24" fmla="*/ 925978 h 2286441"/>
              <a:gd name="connsiteX25" fmla="*/ 2519546 w 3900672"/>
              <a:gd name="connsiteY25" fmla="*/ 862207 h 2286441"/>
              <a:gd name="connsiteX26" fmla="*/ 2603683 w 3900672"/>
              <a:gd name="connsiteY26" fmla="*/ 840475 h 2286441"/>
              <a:gd name="connsiteX27" fmla="*/ 2711634 w 3900672"/>
              <a:gd name="connsiteY27" fmla="*/ 907506 h 2286441"/>
              <a:gd name="connsiteX28" fmla="*/ 2822759 w 3900672"/>
              <a:gd name="connsiteY28" fmla="*/ 955622 h 2286441"/>
              <a:gd name="connsiteX29" fmla="*/ 2922771 w 3900672"/>
              <a:gd name="connsiteY29" fmla="*/ 946864 h 2286441"/>
              <a:gd name="connsiteX30" fmla="*/ 3097396 w 3900672"/>
              <a:gd name="connsiteY30" fmla="*/ 920750 h 2286441"/>
              <a:gd name="connsiteX31" fmla="*/ 3241859 w 3900672"/>
              <a:gd name="connsiteY31" fmla="*/ 881801 h 2286441"/>
              <a:gd name="connsiteX32" fmla="*/ 3372035 w 3900672"/>
              <a:gd name="connsiteY32" fmla="*/ 761150 h 2286441"/>
              <a:gd name="connsiteX33" fmla="*/ 3519671 w 3900672"/>
              <a:gd name="connsiteY33" fmla="*/ 615101 h 2286441"/>
              <a:gd name="connsiteX34" fmla="*/ 3610159 w 3900672"/>
              <a:gd name="connsiteY34" fmla="*/ 576594 h 2286441"/>
              <a:gd name="connsiteX35" fmla="*/ 3784784 w 3900672"/>
              <a:gd name="connsiteY35" fmla="*/ 539206 h 2286441"/>
              <a:gd name="connsiteX36" fmla="*/ 3900672 w 3900672"/>
              <a:gd name="connsiteY36" fmla="*/ 600601 h 2286441"/>
              <a:gd name="connsiteX37" fmla="*/ 3892734 w 3900672"/>
              <a:gd name="connsiteY37" fmla="*/ 755650 h 2286441"/>
              <a:gd name="connsiteX38" fmla="*/ 3708584 w 3900672"/>
              <a:gd name="connsiteY38" fmla="*/ 958850 h 2286441"/>
              <a:gd name="connsiteX39" fmla="*/ 3611747 w 3900672"/>
              <a:gd name="connsiteY39" fmla="*/ 1039839 h 2286441"/>
              <a:gd name="connsiteX40" fmla="*/ 3479984 w 3900672"/>
              <a:gd name="connsiteY40" fmla="*/ 1124086 h 2286441"/>
              <a:gd name="connsiteX41" fmla="*/ 3340284 w 3900672"/>
              <a:gd name="connsiteY41" fmla="*/ 1155700 h 2286441"/>
              <a:gd name="connsiteX42" fmla="*/ 3219634 w 3900672"/>
              <a:gd name="connsiteY42" fmla="*/ 1181100 h 2286441"/>
              <a:gd name="connsiteX43" fmla="*/ 3135496 w 3900672"/>
              <a:gd name="connsiteY43" fmla="*/ 1299916 h 2286441"/>
              <a:gd name="connsiteX44" fmla="*/ 2991034 w 3900672"/>
              <a:gd name="connsiteY44" fmla="*/ 1601049 h 2286441"/>
              <a:gd name="connsiteX45" fmla="*/ 2846571 w 3900672"/>
              <a:gd name="connsiteY45" fmla="*/ 1861399 h 2286441"/>
              <a:gd name="connsiteX46" fmla="*/ 2667184 w 3900672"/>
              <a:gd name="connsiteY46" fmla="*/ 2145316 h 2286441"/>
              <a:gd name="connsiteX47" fmla="*/ 2587809 w 3900672"/>
              <a:gd name="connsiteY47" fmla="*/ 2206268 h 2286441"/>
              <a:gd name="connsiteX48" fmla="*/ 2484621 w 3900672"/>
              <a:gd name="connsiteY48" fmla="*/ 2281349 h 2286441"/>
              <a:gd name="connsiteX49" fmla="*/ 2248084 w 3900672"/>
              <a:gd name="connsiteY49" fmla="*/ 2286441 h 2286441"/>
              <a:gd name="connsiteX50" fmla="*/ 2036946 w 3900672"/>
              <a:gd name="connsiteY50" fmla="*/ 2106231 h 2286441"/>
              <a:gd name="connsiteX51" fmla="*/ 1908359 w 3900672"/>
              <a:gd name="connsiteY51" fmla="*/ 1872537 h 2286441"/>
              <a:gd name="connsiteX52" fmla="*/ 1832158 w 3900672"/>
              <a:gd name="connsiteY52" fmla="*/ 1747371 h 2286441"/>
              <a:gd name="connsiteX53" fmla="*/ 1719447 w 3900672"/>
              <a:gd name="connsiteY53" fmla="*/ 1606380 h 2286441"/>
              <a:gd name="connsiteX54" fmla="*/ 1578160 w 3900672"/>
              <a:gd name="connsiteY54" fmla="*/ 1426137 h 2286441"/>
              <a:gd name="connsiteX55" fmla="*/ 1381309 w 3900672"/>
              <a:gd name="connsiteY55" fmla="*/ 1344268 h 2286441"/>
              <a:gd name="connsiteX56" fmla="*/ 1101909 w 3900672"/>
              <a:gd name="connsiteY56" fmla="*/ 1573782 h 2286441"/>
              <a:gd name="connsiteX57" fmla="*/ 895535 w 3900672"/>
              <a:gd name="connsiteY57" fmla="*/ 1609913 h 2286441"/>
              <a:gd name="connsiteX58" fmla="*/ 776471 w 3900672"/>
              <a:gd name="connsiteY58" fmla="*/ 1591782 h 2286441"/>
              <a:gd name="connsiteX59" fmla="*/ 538346 w 3900672"/>
              <a:gd name="connsiteY59" fmla="*/ 1642309 h 2286441"/>
              <a:gd name="connsiteX60" fmla="*/ 397059 w 3900672"/>
              <a:gd name="connsiteY60" fmla="*/ 1620170 h 2286441"/>
              <a:gd name="connsiteX61" fmla="*/ 12884 w 3900672"/>
              <a:gd name="connsiteY61" fmla="*/ 1221921 h 2286441"/>
              <a:gd name="connsiteX62" fmla="*/ 184 w 3900672"/>
              <a:gd name="connsiteY62" fmla="*/ 0 h 2286441"/>
              <a:gd name="connsiteX0" fmla="*/ 184 w 3900672"/>
              <a:gd name="connsiteY0" fmla="*/ 0 h 2286441"/>
              <a:gd name="connsiteX1" fmla="*/ 266884 w 3900672"/>
              <a:gd name="connsiteY1" fmla="*/ 1162050 h 2286441"/>
              <a:gd name="connsiteX2" fmla="*/ 322447 w 3900672"/>
              <a:gd name="connsiteY2" fmla="*/ 1258421 h 2286441"/>
              <a:gd name="connsiteX3" fmla="*/ 376422 w 3900672"/>
              <a:gd name="connsiteY3" fmla="*/ 1353535 h 2286441"/>
              <a:gd name="connsiteX4" fmla="*/ 412934 w 3900672"/>
              <a:gd name="connsiteY4" fmla="*/ 1314450 h 2286441"/>
              <a:gd name="connsiteX5" fmla="*/ 514534 w 3900672"/>
              <a:gd name="connsiteY5" fmla="*/ 996950 h 2286441"/>
              <a:gd name="connsiteX6" fmla="*/ 584384 w 3900672"/>
              <a:gd name="connsiteY6" fmla="*/ 641350 h 2286441"/>
              <a:gd name="connsiteX7" fmla="*/ 641534 w 3900672"/>
              <a:gd name="connsiteY7" fmla="*/ 444500 h 2286441"/>
              <a:gd name="connsiteX8" fmla="*/ 692334 w 3900672"/>
              <a:gd name="connsiteY8" fmla="*/ 330200 h 2286441"/>
              <a:gd name="connsiteX9" fmla="*/ 724084 w 3900672"/>
              <a:gd name="connsiteY9" fmla="*/ 279400 h 2286441"/>
              <a:gd name="connsiteX10" fmla="*/ 806634 w 3900672"/>
              <a:gd name="connsiteY10" fmla="*/ 334581 h 2286441"/>
              <a:gd name="connsiteX11" fmla="*/ 941571 w 3900672"/>
              <a:gd name="connsiteY11" fmla="*/ 603691 h 2286441"/>
              <a:gd name="connsiteX12" fmla="*/ 992372 w 3900672"/>
              <a:gd name="connsiteY12" fmla="*/ 744240 h 2286441"/>
              <a:gd name="connsiteX13" fmla="*/ 1093972 w 3900672"/>
              <a:gd name="connsiteY13" fmla="*/ 842884 h 2286441"/>
              <a:gd name="connsiteX14" fmla="*/ 1198746 w 3900672"/>
              <a:gd name="connsiteY14" fmla="*/ 780371 h 2286441"/>
              <a:gd name="connsiteX15" fmla="*/ 1297171 w 3900672"/>
              <a:gd name="connsiteY15" fmla="*/ 635305 h 2286441"/>
              <a:gd name="connsiteX16" fmla="*/ 1400358 w 3900672"/>
              <a:gd name="connsiteY16" fmla="*/ 547695 h 2286441"/>
              <a:gd name="connsiteX17" fmla="*/ 1486084 w 3900672"/>
              <a:gd name="connsiteY17" fmla="*/ 564606 h 2286441"/>
              <a:gd name="connsiteX18" fmla="*/ 1565459 w 3900672"/>
              <a:gd name="connsiteY18" fmla="*/ 681148 h 2286441"/>
              <a:gd name="connsiteX19" fmla="*/ 1771834 w 3900672"/>
              <a:gd name="connsiteY19" fmla="*/ 1080350 h 2286441"/>
              <a:gd name="connsiteX20" fmla="*/ 1892483 w 3900672"/>
              <a:gd name="connsiteY20" fmla="*/ 1258014 h 2286441"/>
              <a:gd name="connsiteX21" fmla="*/ 2082985 w 3900672"/>
              <a:gd name="connsiteY21" fmla="*/ 1530247 h 2286441"/>
              <a:gd name="connsiteX22" fmla="*/ 2281422 w 3900672"/>
              <a:gd name="connsiteY22" fmla="*/ 1299781 h 2286441"/>
              <a:gd name="connsiteX23" fmla="*/ 2349684 w 3900672"/>
              <a:gd name="connsiteY23" fmla="*/ 1150336 h 2286441"/>
              <a:gd name="connsiteX24" fmla="*/ 2425884 w 3900672"/>
              <a:gd name="connsiteY24" fmla="*/ 925978 h 2286441"/>
              <a:gd name="connsiteX25" fmla="*/ 2519546 w 3900672"/>
              <a:gd name="connsiteY25" fmla="*/ 862207 h 2286441"/>
              <a:gd name="connsiteX26" fmla="*/ 2603683 w 3900672"/>
              <a:gd name="connsiteY26" fmla="*/ 840475 h 2286441"/>
              <a:gd name="connsiteX27" fmla="*/ 2711634 w 3900672"/>
              <a:gd name="connsiteY27" fmla="*/ 907506 h 2286441"/>
              <a:gd name="connsiteX28" fmla="*/ 2822759 w 3900672"/>
              <a:gd name="connsiteY28" fmla="*/ 955622 h 2286441"/>
              <a:gd name="connsiteX29" fmla="*/ 2922771 w 3900672"/>
              <a:gd name="connsiteY29" fmla="*/ 946864 h 2286441"/>
              <a:gd name="connsiteX30" fmla="*/ 3097396 w 3900672"/>
              <a:gd name="connsiteY30" fmla="*/ 920750 h 2286441"/>
              <a:gd name="connsiteX31" fmla="*/ 3241859 w 3900672"/>
              <a:gd name="connsiteY31" fmla="*/ 881801 h 2286441"/>
              <a:gd name="connsiteX32" fmla="*/ 3372035 w 3900672"/>
              <a:gd name="connsiteY32" fmla="*/ 761150 h 2286441"/>
              <a:gd name="connsiteX33" fmla="*/ 3519671 w 3900672"/>
              <a:gd name="connsiteY33" fmla="*/ 615101 h 2286441"/>
              <a:gd name="connsiteX34" fmla="*/ 3610159 w 3900672"/>
              <a:gd name="connsiteY34" fmla="*/ 576594 h 2286441"/>
              <a:gd name="connsiteX35" fmla="*/ 3815264 w 3900672"/>
              <a:gd name="connsiteY35" fmla="*/ 531980 h 2286441"/>
              <a:gd name="connsiteX36" fmla="*/ 3900672 w 3900672"/>
              <a:gd name="connsiteY36" fmla="*/ 600601 h 2286441"/>
              <a:gd name="connsiteX37" fmla="*/ 3892734 w 3900672"/>
              <a:gd name="connsiteY37" fmla="*/ 755650 h 2286441"/>
              <a:gd name="connsiteX38" fmla="*/ 3708584 w 3900672"/>
              <a:gd name="connsiteY38" fmla="*/ 958850 h 2286441"/>
              <a:gd name="connsiteX39" fmla="*/ 3611747 w 3900672"/>
              <a:gd name="connsiteY39" fmla="*/ 1039839 h 2286441"/>
              <a:gd name="connsiteX40" fmla="*/ 3479984 w 3900672"/>
              <a:gd name="connsiteY40" fmla="*/ 1124086 h 2286441"/>
              <a:gd name="connsiteX41" fmla="*/ 3340284 w 3900672"/>
              <a:gd name="connsiteY41" fmla="*/ 1155700 h 2286441"/>
              <a:gd name="connsiteX42" fmla="*/ 3219634 w 3900672"/>
              <a:gd name="connsiteY42" fmla="*/ 1181100 h 2286441"/>
              <a:gd name="connsiteX43" fmla="*/ 3135496 w 3900672"/>
              <a:gd name="connsiteY43" fmla="*/ 1299916 h 2286441"/>
              <a:gd name="connsiteX44" fmla="*/ 2991034 w 3900672"/>
              <a:gd name="connsiteY44" fmla="*/ 1601049 h 2286441"/>
              <a:gd name="connsiteX45" fmla="*/ 2846571 w 3900672"/>
              <a:gd name="connsiteY45" fmla="*/ 1861399 h 2286441"/>
              <a:gd name="connsiteX46" fmla="*/ 2667184 w 3900672"/>
              <a:gd name="connsiteY46" fmla="*/ 2145316 h 2286441"/>
              <a:gd name="connsiteX47" fmla="*/ 2587809 w 3900672"/>
              <a:gd name="connsiteY47" fmla="*/ 2206268 h 2286441"/>
              <a:gd name="connsiteX48" fmla="*/ 2484621 w 3900672"/>
              <a:gd name="connsiteY48" fmla="*/ 2281349 h 2286441"/>
              <a:gd name="connsiteX49" fmla="*/ 2248084 w 3900672"/>
              <a:gd name="connsiteY49" fmla="*/ 2286441 h 2286441"/>
              <a:gd name="connsiteX50" fmla="*/ 2036946 w 3900672"/>
              <a:gd name="connsiteY50" fmla="*/ 2106231 h 2286441"/>
              <a:gd name="connsiteX51" fmla="*/ 1908359 w 3900672"/>
              <a:gd name="connsiteY51" fmla="*/ 1872537 h 2286441"/>
              <a:gd name="connsiteX52" fmla="*/ 1832158 w 3900672"/>
              <a:gd name="connsiteY52" fmla="*/ 1747371 h 2286441"/>
              <a:gd name="connsiteX53" fmla="*/ 1719447 w 3900672"/>
              <a:gd name="connsiteY53" fmla="*/ 1606380 h 2286441"/>
              <a:gd name="connsiteX54" fmla="*/ 1578160 w 3900672"/>
              <a:gd name="connsiteY54" fmla="*/ 1426137 h 2286441"/>
              <a:gd name="connsiteX55" fmla="*/ 1381309 w 3900672"/>
              <a:gd name="connsiteY55" fmla="*/ 1344268 h 2286441"/>
              <a:gd name="connsiteX56" fmla="*/ 1101909 w 3900672"/>
              <a:gd name="connsiteY56" fmla="*/ 1573782 h 2286441"/>
              <a:gd name="connsiteX57" fmla="*/ 895535 w 3900672"/>
              <a:gd name="connsiteY57" fmla="*/ 1609913 h 2286441"/>
              <a:gd name="connsiteX58" fmla="*/ 776471 w 3900672"/>
              <a:gd name="connsiteY58" fmla="*/ 1591782 h 2286441"/>
              <a:gd name="connsiteX59" fmla="*/ 538346 w 3900672"/>
              <a:gd name="connsiteY59" fmla="*/ 1642309 h 2286441"/>
              <a:gd name="connsiteX60" fmla="*/ 397059 w 3900672"/>
              <a:gd name="connsiteY60" fmla="*/ 1620170 h 2286441"/>
              <a:gd name="connsiteX61" fmla="*/ 12884 w 3900672"/>
              <a:gd name="connsiteY61" fmla="*/ 1221921 h 2286441"/>
              <a:gd name="connsiteX62" fmla="*/ 184 w 3900672"/>
              <a:gd name="connsiteY62" fmla="*/ 0 h 2286441"/>
              <a:gd name="connsiteX0" fmla="*/ 184 w 3900672"/>
              <a:gd name="connsiteY0" fmla="*/ 0 h 2286441"/>
              <a:gd name="connsiteX1" fmla="*/ 266884 w 3900672"/>
              <a:gd name="connsiteY1" fmla="*/ 1162050 h 2286441"/>
              <a:gd name="connsiteX2" fmla="*/ 322447 w 3900672"/>
              <a:gd name="connsiteY2" fmla="*/ 1258421 h 2286441"/>
              <a:gd name="connsiteX3" fmla="*/ 376422 w 3900672"/>
              <a:gd name="connsiteY3" fmla="*/ 1353535 h 2286441"/>
              <a:gd name="connsiteX4" fmla="*/ 412934 w 3900672"/>
              <a:gd name="connsiteY4" fmla="*/ 1314450 h 2286441"/>
              <a:gd name="connsiteX5" fmla="*/ 514534 w 3900672"/>
              <a:gd name="connsiteY5" fmla="*/ 996950 h 2286441"/>
              <a:gd name="connsiteX6" fmla="*/ 584384 w 3900672"/>
              <a:gd name="connsiteY6" fmla="*/ 641350 h 2286441"/>
              <a:gd name="connsiteX7" fmla="*/ 641534 w 3900672"/>
              <a:gd name="connsiteY7" fmla="*/ 444500 h 2286441"/>
              <a:gd name="connsiteX8" fmla="*/ 692334 w 3900672"/>
              <a:gd name="connsiteY8" fmla="*/ 330200 h 2286441"/>
              <a:gd name="connsiteX9" fmla="*/ 724084 w 3900672"/>
              <a:gd name="connsiteY9" fmla="*/ 279400 h 2286441"/>
              <a:gd name="connsiteX10" fmla="*/ 806634 w 3900672"/>
              <a:gd name="connsiteY10" fmla="*/ 334581 h 2286441"/>
              <a:gd name="connsiteX11" fmla="*/ 941571 w 3900672"/>
              <a:gd name="connsiteY11" fmla="*/ 603691 h 2286441"/>
              <a:gd name="connsiteX12" fmla="*/ 992372 w 3900672"/>
              <a:gd name="connsiteY12" fmla="*/ 744240 h 2286441"/>
              <a:gd name="connsiteX13" fmla="*/ 1093972 w 3900672"/>
              <a:gd name="connsiteY13" fmla="*/ 842884 h 2286441"/>
              <a:gd name="connsiteX14" fmla="*/ 1198746 w 3900672"/>
              <a:gd name="connsiteY14" fmla="*/ 780371 h 2286441"/>
              <a:gd name="connsiteX15" fmla="*/ 1297171 w 3900672"/>
              <a:gd name="connsiteY15" fmla="*/ 635305 h 2286441"/>
              <a:gd name="connsiteX16" fmla="*/ 1400358 w 3900672"/>
              <a:gd name="connsiteY16" fmla="*/ 547695 h 2286441"/>
              <a:gd name="connsiteX17" fmla="*/ 1486084 w 3900672"/>
              <a:gd name="connsiteY17" fmla="*/ 564606 h 2286441"/>
              <a:gd name="connsiteX18" fmla="*/ 1565459 w 3900672"/>
              <a:gd name="connsiteY18" fmla="*/ 681148 h 2286441"/>
              <a:gd name="connsiteX19" fmla="*/ 1771834 w 3900672"/>
              <a:gd name="connsiteY19" fmla="*/ 1080350 h 2286441"/>
              <a:gd name="connsiteX20" fmla="*/ 1892483 w 3900672"/>
              <a:gd name="connsiteY20" fmla="*/ 1258014 h 2286441"/>
              <a:gd name="connsiteX21" fmla="*/ 2082985 w 3900672"/>
              <a:gd name="connsiteY21" fmla="*/ 1530247 h 2286441"/>
              <a:gd name="connsiteX22" fmla="*/ 2281422 w 3900672"/>
              <a:gd name="connsiteY22" fmla="*/ 1299781 h 2286441"/>
              <a:gd name="connsiteX23" fmla="*/ 2349684 w 3900672"/>
              <a:gd name="connsiteY23" fmla="*/ 1150336 h 2286441"/>
              <a:gd name="connsiteX24" fmla="*/ 2425884 w 3900672"/>
              <a:gd name="connsiteY24" fmla="*/ 925978 h 2286441"/>
              <a:gd name="connsiteX25" fmla="*/ 2519546 w 3900672"/>
              <a:gd name="connsiteY25" fmla="*/ 862207 h 2286441"/>
              <a:gd name="connsiteX26" fmla="*/ 2603683 w 3900672"/>
              <a:gd name="connsiteY26" fmla="*/ 840475 h 2286441"/>
              <a:gd name="connsiteX27" fmla="*/ 2711634 w 3900672"/>
              <a:gd name="connsiteY27" fmla="*/ 907506 h 2286441"/>
              <a:gd name="connsiteX28" fmla="*/ 2822759 w 3900672"/>
              <a:gd name="connsiteY28" fmla="*/ 955622 h 2286441"/>
              <a:gd name="connsiteX29" fmla="*/ 2922771 w 3900672"/>
              <a:gd name="connsiteY29" fmla="*/ 946864 h 2286441"/>
              <a:gd name="connsiteX30" fmla="*/ 3097396 w 3900672"/>
              <a:gd name="connsiteY30" fmla="*/ 920750 h 2286441"/>
              <a:gd name="connsiteX31" fmla="*/ 3241859 w 3900672"/>
              <a:gd name="connsiteY31" fmla="*/ 881801 h 2286441"/>
              <a:gd name="connsiteX32" fmla="*/ 3372035 w 3900672"/>
              <a:gd name="connsiteY32" fmla="*/ 761150 h 2286441"/>
              <a:gd name="connsiteX33" fmla="*/ 3519671 w 3900672"/>
              <a:gd name="connsiteY33" fmla="*/ 615101 h 2286441"/>
              <a:gd name="connsiteX34" fmla="*/ 3610159 w 3900672"/>
              <a:gd name="connsiteY34" fmla="*/ 576594 h 2286441"/>
              <a:gd name="connsiteX35" fmla="*/ 3883844 w 3900672"/>
              <a:gd name="connsiteY35" fmla="*/ 539206 h 2286441"/>
              <a:gd name="connsiteX36" fmla="*/ 3900672 w 3900672"/>
              <a:gd name="connsiteY36" fmla="*/ 600601 h 2286441"/>
              <a:gd name="connsiteX37" fmla="*/ 3892734 w 3900672"/>
              <a:gd name="connsiteY37" fmla="*/ 755650 h 2286441"/>
              <a:gd name="connsiteX38" fmla="*/ 3708584 w 3900672"/>
              <a:gd name="connsiteY38" fmla="*/ 958850 h 2286441"/>
              <a:gd name="connsiteX39" fmla="*/ 3611747 w 3900672"/>
              <a:gd name="connsiteY39" fmla="*/ 1039839 h 2286441"/>
              <a:gd name="connsiteX40" fmla="*/ 3479984 w 3900672"/>
              <a:gd name="connsiteY40" fmla="*/ 1124086 h 2286441"/>
              <a:gd name="connsiteX41" fmla="*/ 3340284 w 3900672"/>
              <a:gd name="connsiteY41" fmla="*/ 1155700 h 2286441"/>
              <a:gd name="connsiteX42" fmla="*/ 3219634 w 3900672"/>
              <a:gd name="connsiteY42" fmla="*/ 1181100 h 2286441"/>
              <a:gd name="connsiteX43" fmla="*/ 3135496 w 3900672"/>
              <a:gd name="connsiteY43" fmla="*/ 1299916 h 2286441"/>
              <a:gd name="connsiteX44" fmla="*/ 2991034 w 3900672"/>
              <a:gd name="connsiteY44" fmla="*/ 1601049 h 2286441"/>
              <a:gd name="connsiteX45" fmla="*/ 2846571 w 3900672"/>
              <a:gd name="connsiteY45" fmla="*/ 1861399 h 2286441"/>
              <a:gd name="connsiteX46" fmla="*/ 2667184 w 3900672"/>
              <a:gd name="connsiteY46" fmla="*/ 2145316 h 2286441"/>
              <a:gd name="connsiteX47" fmla="*/ 2587809 w 3900672"/>
              <a:gd name="connsiteY47" fmla="*/ 2206268 h 2286441"/>
              <a:gd name="connsiteX48" fmla="*/ 2484621 w 3900672"/>
              <a:gd name="connsiteY48" fmla="*/ 2281349 h 2286441"/>
              <a:gd name="connsiteX49" fmla="*/ 2248084 w 3900672"/>
              <a:gd name="connsiteY49" fmla="*/ 2286441 h 2286441"/>
              <a:gd name="connsiteX50" fmla="*/ 2036946 w 3900672"/>
              <a:gd name="connsiteY50" fmla="*/ 2106231 h 2286441"/>
              <a:gd name="connsiteX51" fmla="*/ 1908359 w 3900672"/>
              <a:gd name="connsiteY51" fmla="*/ 1872537 h 2286441"/>
              <a:gd name="connsiteX52" fmla="*/ 1832158 w 3900672"/>
              <a:gd name="connsiteY52" fmla="*/ 1747371 h 2286441"/>
              <a:gd name="connsiteX53" fmla="*/ 1719447 w 3900672"/>
              <a:gd name="connsiteY53" fmla="*/ 1606380 h 2286441"/>
              <a:gd name="connsiteX54" fmla="*/ 1578160 w 3900672"/>
              <a:gd name="connsiteY54" fmla="*/ 1426137 h 2286441"/>
              <a:gd name="connsiteX55" fmla="*/ 1381309 w 3900672"/>
              <a:gd name="connsiteY55" fmla="*/ 1344268 h 2286441"/>
              <a:gd name="connsiteX56" fmla="*/ 1101909 w 3900672"/>
              <a:gd name="connsiteY56" fmla="*/ 1573782 h 2286441"/>
              <a:gd name="connsiteX57" fmla="*/ 895535 w 3900672"/>
              <a:gd name="connsiteY57" fmla="*/ 1609913 h 2286441"/>
              <a:gd name="connsiteX58" fmla="*/ 776471 w 3900672"/>
              <a:gd name="connsiteY58" fmla="*/ 1591782 h 2286441"/>
              <a:gd name="connsiteX59" fmla="*/ 538346 w 3900672"/>
              <a:gd name="connsiteY59" fmla="*/ 1642309 h 2286441"/>
              <a:gd name="connsiteX60" fmla="*/ 397059 w 3900672"/>
              <a:gd name="connsiteY60" fmla="*/ 1620170 h 2286441"/>
              <a:gd name="connsiteX61" fmla="*/ 12884 w 3900672"/>
              <a:gd name="connsiteY61" fmla="*/ 1221921 h 2286441"/>
              <a:gd name="connsiteX62" fmla="*/ 184 w 3900672"/>
              <a:gd name="connsiteY62" fmla="*/ 0 h 2286441"/>
              <a:gd name="connsiteX0" fmla="*/ 184 w 3900672"/>
              <a:gd name="connsiteY0" fmla="*/ 0 h 2286441"/>
              <a:gd name="connsiteX1" fmla="*/ 266884 w 3900672"/>
              <a:gd name="connsiteY1" fmla="*/ 1162050 h 2286441"/>
              <a:gd name="connsiteX2" fmla="*/ 322447 w 3900672"/>
              <a:gd name="connsiteY2" fmla="*/ 1258421 h 2286441"/>
              <a:gd name="connsiteX3" fmla="*/ 376422 w 3900672"/>
              <a:gd name="connsiteY3" fmla="*/ 1353535 h 2286441"/>
              <a:gd name="connsiteX4" fmla="*/ 412934 w 3900672"/>
              <a:gd name="connsiteY4" fmla="*/ 1314450 h 2286441"/>
              <a:gd name="connsiteX5" fmla="*/ 514534 w 3900672"/>
              <a:gd name="connsiteY5" fmla="*/ 996950 h 2286441"/>
              <a:gd name="connsiteX6" fmla="*/ 584384 w 3900672"/>
              <a:gd name="connsiteY6" fmla="*/ 641350 h 2286441"/>
              <a:gd name="connsiteX7" fmla="*/ 641534 w 3900672"/>
              <a:gd name="connsiteY7" fmla="*/ 444500 h 2286441"/>
              <a:gd name="connsiteX8" fmla="*/ 692334 w 3900672"/>
              <a:gd name="connsiteY8" fmla="*/ 330200 h 2286441"/>
              <a:gd name="connsiteX9" fmla="*/ 724084 w 3900672"/>
              <a:gd name="connsiteY9" fmla="*/ 279400 h 2286441"/>
              <a:gd name="connsiteX10" fmla="*/ 806634 w 3900672"/>
              <a:gd name="connsiteY10" fmla="*/ 334581 h 2286441"/>
              <a:gd name="connsiteX11" fmla="*/ 941571 w 3900672"/>
              <a:gd name="connsiteY11" fmla="*/ 603691 h 2286441"/>
              <a:gd name="connsiteX12" fmla="*/ 992372 w 3900672"/>
              <a:gd name="connsiteY12" fmla="*/ 744240 h 2286441"/>
              <a:gd name="connsiteX13" fmla="*/ 1093972 w 3900672"/>
              <a:gd name="connsiteY13" fmla="*/ 842884 h 2286441"/>
              <a:gd name="connsiteX14" fmla="*/ 1198746 w 3900672"/>
              <a:gd name="connsiteY14" fmla="*/ 780371 h 2286441"/>
              <a:gd name="connsiteX15" fmla="*/ 1297171 w 3900672"/>
              <a:gd name="connsiteY15" fmla="*/ 635305 h 2286441"/>
              <a:gd name="connsiteX16" fmla="*/ 1400358 w 3900672"/>
              <a:gd name="connsiteY16" fmla="*/ 547695 h 2286441"/>
              <a:gd name="connsiteX17" fmla="*/ 1486084 w 3900672"/>
              <a:gd name="connsiteY17" fmla="*/ 564606 h 2286441"/>
              <a:gd name="connsiteX18" fmla="*/ 1565459 w 3900672"/>
              <a:gd name="connsiteY18" fmla="*/ 681148 h 2286441"/>
              <a:gd name="connsiteX19" fmla="*/ 1771834 w 3900672"/>
              <a:gd name="connsiteY19" fmla="*/ 1080350 h 2286441"/>
              <a:gd name="connsiteX20" fmla="*/ 1892483 w 3900672"/>
              <a:gd name="connsiteY20" fmla="*/ 1258014 h 2286441"/>
              <a:gd name="connsiteX21" fmla="*/ 2082985 w 3900672"/>
              <a:gd name="connsiteY21" fmla="*/ 1530247 h 2286441"/>
              <a:gd name="connsiteX22" fmla="*/ 2281422 w 3900672"/>
              <a:gd name="connsiteY22" fmla="*/ 1299781 h 2286441"/>
              <a:gd name="connsiteX23" fmla="*/ 2349684 w 3900672"/>
              <a:gd name="connsiteY23" fmla="*/ 1150336 h 2286441"/>
              <a:gd name="connsiteX24" fmla="*/ 2425884 w 3900672"/>
              <a:gd name="connsiteY24" fmla="*/ 925978 h 2286441"/>
              <a:gd name="connsiteX25" fmla="*/ 2519546 w 3900672"/>
              <a:gd name="connsiteY25" fmla="*/ 862207 h 2286441"/>
              <a:gd name="connsiteX26" fmla="*/ 2603683 w 3900672"/>
              <a:gd name="connsiteY26" fmla="*/ 840475 h 2286441"/>
              <a:gd name="connsiteX27" fmla="*/ 2711634 w 3900672"/>
              <a:gd name="connsiteY27" fmla="*/ 907506 h 2286441"/>
              <a:gd name="connsiteX28" fmla="*/ 2822759 w 3900672"/>
              <a:gd name="connsiteY28" fmla="*/ 955622 h 2286441"/>
              <a:gd name="connsiteX29" fmla="*/ 2922771 w 3900672"/>
              <a:gd name="connsiteY29" fmla="*/ 946864 h 2286441"/>
              <a:gd name="connsiteX30" fmla="*/ 3097396 w 3900672"/>
              <a:gd name="connsiteY30" fmla="*/ 920750 h 2286441"/>
              <a:gd name="connsiteX31" fmla="*/ 3241859 w 3900672"/>
              <a:gd name="connsiteY31" fmla="*/ 881801 h 2286441"/>
              <a:gd name="connsiteX32" fmla="*/ 3372035 w 3900672"/>
              <a:gd name="connsiteY32" fmla="*/ 761150 h 2286441"/>
              <a:gd name="connsiteX33" fmla="*/ 3519671 w 3900672"/>
              <a:gd name="connsiteY33" fmla="*/ 615101 h 2286441"/>
              <a:gd name="connsiteX34" fmla="*/ 3610159 w 3900672"/>
              <a:gd name="connsiteY34" fmla="*/ 576594 h 2286441"/>
              <a:gd name="connsiteX35" fmla="*/ 3883844 w 3900672"/>
              <a:gd name="connsiteY35" fmla="*/ 539206 h 2286441"/>
              <a:gd name="connsiteX36" fmla="*/ 3900672 w 3900672"/>
              <a:gd name="connsiteY36" fmla="*/ 600601 h 2286441"/>
              <a:gd name="connsiteX37" fmla="*/ 3892734 w 3900672"/>
              <a:gd name="connsiteY37" fmla="*/ 755650 h 2286441"/>
              <a:gd name="connsiteX38" fmla="*/ 3708584 w 3900672"/>
              <a:gd name="connsiteY38" fmla="*/ 958850 h 2286441"/>
              <a:gd name="connsiteX39" fmla="*/ 3611747 w 3900672"/>
              <a:gd name="connsiteY39" fmla="*/ 1039839 h 2286441"/>
              <a:gd name="connsiteX40" fmla="*/ 3479984 w 3900672"/>
              <a:gd name="connsiteY40" fmla="*/ 1124086 h 2286441"/>
              <a:gd name="connsiteX41" fmla="*/ 3340284 w 3900672"/>
              <a:gd name="connsiteY41" fmla="*/ 1155700 h 2286441"/>
              <a:gd name="connsiteX42" fmla="*/ 3219634 w 3900672"/>
              <a:gd name="connsiteY42" fmla="*/ 1181100 h 2286441"/>
              <a:gd name="connsiteX43" fmla="*/ 3135496 w 3900672"/>
              <a:gd name="connsiteY43" fmla="*/ 1299916 h 2286441"/>
              <a:gd name="connsiteX44" fmla="*/ 2991034 w 3900672"/>
              <a:gd name="connsiteY44" fmla="*/ 1601049 h 2286441"/>
              <a:gd name="connsiteX45" fmla="*/ 2846571 w 3900672"/>
              <a:gd name="connsiteY45" fmla="*/ 1861399 h 2286441"/>
              <a:gd name="connsiteX46" fmla="*/ 2667184 w 3900672"/>
              <a:gd name="connsiteY46" fmla="*/ 2145316 h 2286441"/>
              <a:gd name="connsiteX47" fmla="*/ 2587809 w 3900672"/>
              <a:gd name="connsiteY47" fmla="*/ 2206268 h 2286441"/>
              <a:gd name="connsiteX48" fmla="*/ 2484621 w 3900672"/>
              <a:gd name="connsiteY48" fmla="*/ 2281349 h 2286441"/>
              <a:gd name="connsiteX49" fmla="*/ 2248084 w 3900672"/>
              <a:gd name="connsiteY49" fmla="*/ 2286441 h 2286441"/>
              <a:gd name="connsiteX50" fmla="*/ 2036946 w 3900672"/>
              <a:gd name="connsiteY50" fmla="*/ 2106231 h 2286441"/>
              <a:gd name="connsiteX51" fmla="*/ 1908359 w 3900672"/>
              <a:gd name="connsiteY51" fmla="*/ 1872537 h 2286441"/>
              <a:gd name="connsiteX52" fmla="*/ 1832158 w 3900672"/>
              <a:gd name="connsiteY52" fmla="*/ 1747371 h 2286441"/>
              <a:gd name="connsiteX53" fmla="*/ 1719447 w 3900672"/>
              <a:gd name="connsiteY53" fmla="*/ 1606380 h 2286441"/>
              <a:gd name="connsiteX54" fmla="*/ 1578160 w 3900672"/>
              <a:gd name="connsiteY54" fmla="*/ 1426137 h 2286441"/>
              <a:gd name="connsiteX55" fmla="*/ 1381309 w 3900672"/>
              <a:gd name="connsiteY55" fmla="*/ 1344268 h 2286441"/>
              <a:gd name="connsiteX56" fmla="*/ 1101909 w 3900672"/>
              <a:gd name="connsiteY56" fmla="*/ 1573782 h 2286441"/>
              <a:gd name="connsiteX57" fmla="*/ 895535 w 3900672"/>
              <a:gd name="connsiteY57" fmla="*/ 1609913 h 2286441"/>
              <a:gd name="connsiteX58" fmla="*/ 776471 w 3900672"/>
              <a:gd name="connsiteY58" fmla="*/ 1591782 h 2286441"/>
              <a:gd name="connsiteX59" fmla="*/ 538346 w 3900672"/>
              <a:gd name="connsiteY59" fmla="*/ 1642309 h 2286441"/>
              <a:gd name="connsiteX60" fmla="*/ 397059 w 3900672"/>
              <a:gd name="connsiteY60" fmla="*/ 1620170 h 2286441"/>
              <a:gd name="connsiteX61" fmla="*/ 12884 w 3900672"/>
              <a:gd name="connsiteY61" fmla="*/ 1221921 h 2286441"/>
              <a:gd name="connsiteX62" fmla="*/ 184 w 3900672"/>
              <a:gd name="connsiteY62" fmla="*/ 0 h 2286441"/>
              <a:gd name="connsiteX0" fmla="*/ 184 w 3915912"/>
              <a:gd name="connsiteY0" fmla="*/ 0 h 2286441"/>
              <a:gd name="connsiteX1" fmla="*/ 266884 w 3915912"/>
              <a:gd name="connsiteY1" fmla="*/ 1162050 h 2286441"/>
              <a:gd name="connsiteX2" fmla="*/ 322447 w 3915912"/>
              <a:gd name="connsiteY2" fmla="*/ 1258421 h 2286441"/>
              <a:gd name="connsiteX3" fmla="*/ 376422 w 3915912"/>
              <a:gd name="connsiteY3" fmla="*/ 1353535 h 2286441"/>
              <a:gd name="connsiteX4" fmla="*/ 412934 w 3915912"/>
              <a:gd name="connsiteY4" fmla="*/ 1314450 h 2286441"/>
              <a:gd name="connsiteX5" fmla="*/ 514534 w 3915912"/>
              <a:gd name="connsiteY5" fmla="*/ 996950 h 2286441"/>
              <a:gd name="connsiteX6" fmla="*/ 584384 w 3915912"/>
              <a:gd name="connsiteY6" fmla="*/ 641350 h 2286441"/>
              <a:gd name="connsiteX7" fmla="*/ 641534 w 3915912"/>
              <a:gd name="connsiteY7" fmla="*/ 444500 h 2286441"/>
              <a:gd name="connsiteX8" fmla="*/ 692334 w 3915912"/>
              <a:gd name="connsiteY8" fmla="*/ 330200 h 2286441"/>
              <a:gd name="connsiteX9" fmla="*/ 724084 w 3915912"/>
              <a:gd name="connsiteY9" fmla="*/ 279400 h 2286441"/>
              <a:gd name="connsiteX10" fmla="*/ 806634 w 3915912"/>
              <a:gd name="connsiteY10" fmla="*/ 334581 h 2286441"/>
              <a:gd name="connsiteX11" fmla="*/ 941571 w 3915912"/>
              <a:gd name="connsiteY11" fmla="*/ 603691 h 2286441"/>
              <a:gd name="connsiteX12" fmla="*/ 992372 w 3915912"/>
              <a:gd name="connsiteY12" fmla="*/ 744240 h 2286441"/>
              <a:gd name="connsiteX13" fmla="*/ 1093972 w 3915912"/>
              <a:gd name="connsiteY13" fmla="*/ 842884 h 2286441"/>
              <a:gd name="connsiteX14" fmla="*/ 1198746 w 3915912"/>
              <a:gd name="connsiteY14" fmla="*/ 780371 h 2286441"/>
              <a:gd name="connsiteX15" fmla="*/ 1297171 w 3915912"/>
              <a:gd name="connsiteY15" fmla="*/ 635305 h 2286441"/>
              <a:gd name="connsiteX16" fmla="*/ 1400358 w 3915912"/>
              <a:gd name="connsiteY16" fmla="*/ 547695 h 2286441"/>
              <a:gd name="connsiteX17" fmla="*/ 1486084 w 3915912"/>
              <a:gd name="connsiteY17" fmla="*/ 564606 h 2286441"/>
              <a:gd name="connsiteX18" fmla="*/ 1565459 w 3915912"/>
              <a:gd name="connsiteY18" fmla="*/ 681148 h 2286441"/>
              <a:gd name="connsiteX19" fmla="*/ 1771834 w 3915912"/>
              <a:gd name="connsiteY19" fmla="*/ 1080350 h 2286441"/>
              <a:gd name="connsiteX20" fmla="*/ 1892483 w 3915912"/>
              <a:gd name="connsiteY20" fmla="*/ 1258014 h 2286441"/>
              <a:gd name="connsiteX21" fmla="*/ 2082985 w 3915912"/>
              <a:gd name="connsiteY21" fmla="*/ 1530247 h 2286441"/>
              <a:gd name="connsiteX22" fmla="*/ 2281422 w 3915912"/>
              <a:gd name="connsiteY22" fmla="*/ 1299781 h 2286441"/>
              <a:gd name="connsiteX23" fmla="*/ 2349684 w 3915912"/>
              <a:gd name="connsiteY23" fmla="*/ 1150336 h 2286441"/>
              <a:gd name="connsiteX24" fmla="*/ 2425884 w 3915912"/>
              <a:gd name="connsiteY24" fmla="*/ 925978 h 2286441"/>
              <a:gd name="connsiteX25" fmla="*/ 2519546 w 3915912"/>
              <a:gd name="connsiteY25" fmla="*/ 862207 h 2286441"/>
              <a:gd name="connsiteX26" fmla="*/ 2603683 w 3915912"/>
              <a:gd name="connsiteY26" fmla="*/ 840475 h 2286441"/>
              <a:gd name="connsiteX27" fmla="*/ 2711634 w 3915912"/>
              <a:gd name="connsiteY27" fmla="*/ 907506 h 2286441"/>
              <a:gd name="connsiteX28" fmla="*/ 2822759 w 3915912"/>
              <a:gd name="connsiteY28" fmla="*/ 955622 h 2286441"/>
              <a:gd name="connsiteX29" fmla="*/ 2922771 w 3915912"/>
              <a:gd name="connsiteY29" fmla="*/ 946864 h 2286441"/>
              <a:gd name="connsiteX30" fmla="*/ 3097396 w 3915912"/>
              <a:gd name="connsiteY30" fmla="*/ 920750 h 2286441"/>
              <a:gd name="connsiteX31" fmla="*/ 3241859 w 3915912"/>
              <a:gd name="connsiteY31" fmla="*/ 881801 h 2286441"/>
              <a:gd name="connsiteX32" fmla="*/ 3372035 w 3915912"/>
              <a:gd name="connsiteY32" fmla="*/ 761150 h 2286441"/>
              <a:gd name="connsiteX33" fmla="*/ 3519671 w 3915912"/>
              <a:gd name="connsiteY33" fmla="*/ 615101 h 2286441"/>
              <a:gd name="connsiteX34" fmla="*/ 3610159 w 3915912"/>
              <a:gd name="connsiteY34" fmla="*/ 576594 h 2286441"/>
              <a:gd name="connsiteX35" fmla="*/ 3883844 w 3915912"/>
              <a:gd name="connsiteY35" fmla="*/ 539206 h 2286441"/>
              <a:gd name="connsiteX36" fmla="*/ 3915912 w 3915912"/>
              <a:gd name="connsiteY36" fmla="*/ 636731 h 2286441"/>
              <a:gd name="connsiteX37" fmla="*/ 3892734 w 3915912"/>
              <a:gd name="connsiteY37" fmla="*/ 755650 h 2286441"/>
              <a:gd name="connsiteX38" fmla="*/ 3708584 w 3915912"/>
              <a:gd name="connsiteY38" fmla="*/ 958850 h 2286441"/>
              <a:gd name="connsiteX39" fmla="*/ 3611747 w 3915912"/>
              <a:gd name="connsiteY39" fmla="*/ 1039839 h 2286441"/>
              <a:gd name="connsiteX40" fmla="*/ 3479984 w 3915912"/>
              <a:gd name="connsiteY40" fmla="*/ 1124086 h 2286441"/>
              <a:gd name="connsiteX41" fmla="*/ 3340284 w 3915912"/>
              <a:gd name="connsiteY41" fmla="*/ 1155700 h 2286441"/>
              <a:gd name="connsiteX42" fmla="*/ 3219634 w 3915912"/>
              <a:gd name="connsiteY42" fmla="*/ 1181100 h 2286441"/>
              <a:gd name="connsiteX43" fmla="*/ 3135496 w 3915912"/>
              <a:gd name="connsiteY43" fmla="*/ 1299916 h 2286441"/>
              <a:gd name="connsiteX44" fmla="*/ 2991034 w 3915912"/>
              <a:gd name="connsiteY44" fmla="*/ 1601049 h 2286441"/>
              <a:gd name="connsiteX45" fmla="*/ 2846571 w 3915912"/>
              <a:gd name="connsiteY45" fmla="*/ 1861399 h 2286441"/>
              <a:gd name="connsiteX46" fmla="*/ 2667184 w 3915912"/>
              <a:gd name="connsiteY46" fmla="*/ 2145316 h 2286441"/>
              <a:gd name="connsiteX47" fmla="*/ 2587809 w 3915912"/>
              <a:gd name="connsiteY47" fmla="*/ 2206268 h 2286441"/>
              <a:gd name="connsiteX48" fmla="*/ 2484621 w 3915912"/>
              <a:gd name="connsiteY48" fmla="*/ 2281349 h 2286441"/>
              <a:gd name="connsiteX49" fmla="*/ 2248084 w 3915912"/>
              <a:gd name="connsiteY49" fmla="*/ 2286441 h 2286441"/>
              <a:gd name="connsiteX50" fmla="*/ 2036946 w 3915912"/>
              <a:gd name="connsiteY50" fmla="*/ 2106231 h 2286441"/>
              <a:gd name="connsiteX51" fmla="*/ 1908359 w 3915912"/>
              <a:gd name="connsiteY51" fmla="*/ 1872537 h 2286441"/>
              <a:gd name="connsiteX52" fmla="*/ 1832158 w 3915912"/>
              <a:gd name="connsiteY52" fmla="*/ 1747371 h 2286441"/>
              <a:gd name="connsiteX53" fmla="*/ 1719447 w 3915912"/>
              <a:gd name="connsiteY53" fmla="*/ 1606380 h 2286441"/>
              <a:gd name="connsiteX54" fmla="*/ 1578160 w 3915912"/>
              <a:gd name="connsiteY54" fmla="*/ 1426137 h 2286441"/>
              <a:gd name="connsiteX55" fmla="*/ 1381309 w 3915912"/>
              <a:gd name="connsiteY55" fmla="*/ 1344268 h 2286441"/>
              <a:gd name="connsiteX56" fmla="*/ 1101909 w 3915912"/>
              <a:gd name="connsiteY56" fmla="*/ 1573782 h 2286441"/>
              <a:gd name="connsiteX57" fmla="*/ 895535 w 3915912"/>
              <a:gd name="connsiteY57" fmla="*/ 1609913 h 2286441"/>
              <a:gd name="connsiteX58" fmla="*/ 776471 w 3915912"/>
              <a:gd name="connsiteY58" fmla="*/ 1591782 h 2286441"/>
              <a:gd name="connsiteX59" fmla="*/ 538346 w 3915912"/>
              <a:gd name="connsiteY59" fmla="*/ 1642309 h 2286441"/>
              <a:gd name="connsiteX60" fmla="*/ 397059 w 3915912"/>
              <a:gd name="connsiteY60" fmla="*/ 1620170 h 2286441"/>
              <a:gd name="connsiteX61" fmla="*/ 12884 w 3915912"/>
              <a:gd name="connsiteY61" fmla="*/ 1221921 h 2286441"/>
              <a:gd name="connsiteX62" fmla="*/ 184 w 3915912"/>
              <a:gd name="connsiteY62" fmla="*/ 0 h 2286441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</a:cxnLst>
            <a:rect l="l" t="t" r="r" b="b"/>
            <a:pathLst>
              <a:path w="3915912" h="2286441">
                <a:moveTo>
                  <a:pt x="184" y="0"/>
                </a:moveTo>
                <a:lnTo>
                  <a:pt x="266884" y="1162050"/>
                </a:lnTo>
                <a:lnTo>
                  <a:pt x="322447" y="1258421"/>
                </a:lnTo>
                <a:lnTo>
                  <a:pt x="376422" y="1353535"/>
                </a:lnTo>
                <a:lnTo>
                  <a:pt x="412934" y="1314450"/>
                </a:lnTo>
                <a:lnTo>
                  <a:pt x="514534" y="996950"/>
                </a:lnTo>
                <a:lnTo>
                  <a:pt x="584384" y="641350"/>
                </a:lnTo>
                <a:lnTo>
                  <a:pt x="641534" y="444500"/>
                </a:lnTo>
                <a:lnTo>
                  <a:pt x="692334" y="330200"/>
                </a:lnTo>
                <a:lnTo>
                  <a:pt x="724084" y="279400"/>
                </a:lnTo>
                <a:lnTo>
                  <a:pt x="806634" y="334581"/>
                </a:lnTo>
                <a:lnTo>
                  <a:pt x="941571" y="603691"/>
                </a:lnTo>
                <a:lnTo>
                  <a:pt x="992372" y="744240"/>
                </a:lnTo>
                <a:lnTo>
                  <a:pt x="1093972" y="842884"/>
                </a:lnTo>
                <a:lnTo>
                  <a:pt x="1198746" y="780371"/>
                </a:lnTo>
                <a:lnTo>
                  <a:pt x="1297171" y="635305"/>
                </a:lnTo>
                <a:lnTo>
                  <a:pt x="1400358" y="547695"/>
                </a:lnTo>
                <a:lnTo>
                  <a:pt x="1486084" y="564606"/>
                </a:lnTo>
                <a:lnTo>
                  <a:pt x="1565459" y="681148"/>
                </a:lnTo>
                <a:lnTo>
                  <a:pt x="1771834" y="1080350"/>
                </a:lnTo>
                <a:lnTo>
                  <a:pt x="1892483" y="1258014"/>
                </a:lnTo>
                <a:lnTo>
                  <a:pt x="2082985" y="1530247"/>
                </a:lnTo>
                <a:cubicBezTo>
                  <a:pt x="2212631" y="1491061"/>
                  <a:pt x="2227976" y="1375098"/>
                  <a:pt x="2281422" y="1299781"/>
                </a:cubicBezTo>
                <a:lnTo>
                  <a:pt x="2349684" y="1150336"/>
                </a:lnTo>
                <a:lnTo>
                  <a:pt x="2425884" y="925978"/>
                </a:lnTo>
                <a:lnTo>
                  <a:pt x="2519546" y="862207"/>
                </a:lnTo>
                <a:lnTo>
                  <a:pt x="2603683" y="840475"/>
                </a:lnTo>
                <a:lnTo>
                  <a:pt x="2711634" y="907506"/>
                </a:lnTo>
                <a:lnTo>
                  <a:pt x="2822759" y="955622"/>
                </a:lnTo>
                <a:lnTo>
                  <a:pt x="2922771" y="946864"/>
                </a:lnTo>
                <a:lnTo>
                  <a:pt x="3097396" y="920750"/>
                </a:lnTo>
                <a:lnTo>
                  <a:pt x="3241859" y="881801"/>
                </a:lnTo>
                <a:lnTo>
                  <a:pt x="3372035" y="761150"/>
                </a:lnTo>
                <a:lnTo>
                  <a:pt x="3519671" y="615101"/>
                </a:lnTo>
                <a:lnTo>
                  <a:pt x="3610159" y="576594"/>
                </a:lnTo>
                <a:cubicBezTo>
                  <a:pt x="3701387" y="564131"/>
                  <a:pt x="3784996" y="515538"/>
                  <a:pt x="3883844" y="539206"/>
                </a:cubicBezTo>
                <a:lnTo>
                  <a:pt x="3915912" y="636731"/>
                </a:lnTo>
                <a:lnTo>
                  <a:pt x="3892734" y="755650"/>
                </a:lnTo>
                <a:lnTo>
                  <a:pt x="3708584" y="958850"/>
                </a:lnTo>
                <a:lnTo>
                  <a:pt x="3611747" y="1039839"/>
                </a:lnTo>
                <a:lnTo>
                  <a:pt x="3479984" y="1124086"/>
                </a:lnTo>
                <a:lnTo>
                  <a:pt x="3340284" y="1155700"/>
                </a:lnTo>
                <a:lnTo>
                  <a:pt x="3219634" y="1181100"/>
                </a:lnTo>
                <a:lnTo>
                  <a:pt x="3135496" y="1299916"/>
                </a:lnTo>
                <a:lnTo>
                  <a:pt x="2991034" y="1601049"/>
                </a:lnTo>
                <a:lnTo>
                  <a:pt x="2846571" y="1861399"/>
                </a:lnTo>
                <a:lnTo>
                  <a:pt x="2667184" y="2145316"/>
                </a:lnTo>
                <a:lnTo>
                  <a:pt x="2587809" y="2206268"/>
                </a:lnTo>
                <a:lnTo>
                  <a:pt x="2484621" y="2281349"/>
                </a:lnTo>
                <a:lnTo>
                  <a:pt x="2248084" y="2286441"/>
                </a:lnTo>
                <a:lnTo>
                  <a:pt x="2036946" y="2106231"/>
                </a:lnTo>
                <a:lnTo>
                  <a:pt x="1908359" y="1872537"/>
                </a:lnTo>
                <a:lnTo>
                  <a:pt x="1832158" y="1747371"/>
                </a:lnTo>
                <a:lnTo>
                  <a:pt x="1719447" y="1606380"/>
                </a:lnTo>
                <a:lnTo>
                  <a:pt x="1578160" y="1426137"/>
                </a:lnTo>
                <a:lnTo>
                  <a:pt x="1381309" y="1344268"/>
                </a:lnTo>
                <a:lnTo>
                  <a:pt x="1101909" y="1573782"/>
                </a:lnTo>
                <a:lnTo>
                  <a:pt x="895535" y="1609913"/>
                </a:lnTo>
                <a:lnTo>
                  <a:pt x="776471" y="1591782"/>
                </a:lnTo>
                <a:lnTo>
                  <a:pt x="538346" y="1642309"/>
                </a:lnTo>
                <a:cubicBezTo>
                  <a:pt x="478550" y="1625897"/>
                  <a:pt x="456855" y="1650130"/>
                  <a:pt x="397059" y="1620170"/>
                </a:cubicBezTo>
                <a:cubicBezTo>
                  <a:pt x="283289" y="1606349"/>
                  <a:pt x="74267" y="1285421"/>
                  <a:pt x="12884" y="1221921"/>
                </a:cubicBezTo>
                <a:cubicBezTo>
                  <a:pt x="15001" y="603854"/>
                  <a:pt x="-1933" y="618067"/>
                  <a:pt x="184" y="0"/>
                </a:cubicBezTo>
                <a:close/>
              </a:path>
            </a:pathLst>
          </a:cu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48" name="Полілінія: фігура 147">
            <a:extLst>
              <a:ext uri="{FF2B5EF4-FFF2-40B4-BE49-F238E27FC236}">
                <a16:creationId xmlns:a16="http://schemas.microsoft.com/office/drawing/2014/main" id="{FF1DC4C7-8FA3-4B53-A328-8FF8C74F19B4}"/>
              </a:ext>
            </a:extLst>
          </p:cNvPr>
          <p:cNvSpPr/>
          <p:nvPr/>
        </p:nvSpPr>
        <p:spPr>
          <a:xfrm>
            <a:off x="773964" y="2055529"/>
            <a:ext cx="3885114" cy="1858963"/>
          </a:xfrm>
          <a:custGeom>
            <a:avLst/>
            <a:gdLst>
              <a:gd name="connsiteX0" fmla="*/ 0 w 7132320"/>
              <a:gd name="connsiteY0" fmla="*/ 0 h 1859280"/>
              <a:gd name="connsiteX1" fmla="*/ 403860 w 7132320"/>
              <a:gd name="connsiteY1" fmla="*/ 518160 h 1859280"/>
              <a:gd name="connsiteX2" fmla="*/ 556260 w 7132320"/>
              <a:gd name="connsiteY2" fmla="*/ 678180 h 1859280"/>
              <a:gd name="connsiteX3" fmla="*/ 739140 w 7132320"/>
              <a:gd name="connsiteY3" fmla="*/ 731520 h 1859280"/>
              <a:gd name="connsiteX4" fmla="*/ 906780 w 7132320"/>
              <a:gd name="connsiteY4" fmla="*/ 685800 h 1859280"/>
              <a:gd name="connsiteX5" fmla="*/ 1112520 w 7132320"/>
              <a:gd name="connsiteY5" fmla="*/ 563880 h 1859280"/>
              <a:gd name="connsiteX6" fmla="*/ 1249680 w 7132320"/>
              <a:gd name="connsiteY6" fmla="*/ 487680 h 1859280"/>
              <a:gd name="connsiteX7" fmla="*/ 1524000 w 7132320"/>
              <a:gd name="connsiteY7" fmla="*/ 411480 h 1859280"/>
              <a:gd name="connsiteX8" fmla="*/ 2103120 w 7132320"/>
              <a:gd name="connsiteY8" fmla="*/ 320040 h 1859280"/>
              <a:gd name="connsiteX9" fmla="*/ 2453640 w 7132320"/>
              <a:gd name="connsiteY9" fmla="*/ 289560 h 1859280"/>
              <a:gd name="connsiteX10" fmla="*/ 2628900 w 7132320"/>
              <a:gd name="connsiteY10" fmla="*/ 304800 h 1859280"/>
              <a:gd name="connsiteX11" fmla="*/ 2766060 w 7132320"/>
              <a:gd name="connsiteY11" fmla="*/ 388620 h 1859280"/>
              <a:gd name="connsiteX12" fmla="*/ 2979420 w 7132320"/>
              <a:gd name="connsiteY12" fmla="*/ 571500 h 1859280"/>
              <a:gd name="connsiteX13" fmla="*/ 3101340 w 7132320"/>
              <a:gd name="connsiteY13" fmla="*/ 662940 h 1859280"/>
              <a:gd name="connsiteX14" fmla="*/ 3238500 w 7132320"/>
              <a:gd name="connsiteY14" fmla="*/ 739140 h 1859280"/>
              <a:gd name="connsiteX15" fmla="*/ 3398520 w 7132320"/>
              <a:gd name="connsiteY15" fmla="*/ 693420 h 1859280"/>
              <a:gd name="connsiteX16" fmla="*/ 3649980 w 7132320"/>
              <a:gd name="connsiteY16" fmla="*/ 464820 h 1859280"/>
              <a:gd name="connsiteX17" fmla="*/ 3855720 w 7132320"/>
              <a:gd name="connsiteY17" fmla="*/ 274320 h 1859280"/>
              <a:gd name="connsiteX18" fmla="*/ 4137660 w 7132320"/>
              <a:gd name="connsiteY18" fmla="*/ 152400 h 1859280"/>
              <a:gd name="connsiteX19" fmla="*/ 4427220 w 7132320"/>
              <a:gd name="connsiteY19" fmla="*/ 91440 h 1859280"/>
              <a:gd name="connsiteX20" fmla="*/ 4655820 w 7132320"/>
              <a:gd name="connsiteY20" fmla="*/ 91440 h 1859280"/>
              <a:gd name="connsiteX21" fmla="*/ 4914900 w 7132320"/>
              <a:gd name="connsiteY21" fmla="*/ 167640 h 1859280"/>
              <a:gd name="connsiteX22" fmla="*/ 5257800 w 7132320"/>
              <a:gd name="connsiteY22" fmla="*/ 289560 h 1859280"/>
              <a:gd name="connsiteX23" fmla="*/ 5600700 w 7132320"/>
              <a:gd name="connsiteY23" fmla="*/ 342900 h 1859280"/>
              <a:gd name="connsiteX24" fmla="*/ 5958840 w 7132320"/>
              <a:gd name="connsiteY24" fmla="*/ 327660 h 1859280"/>
              <a:gd name="connsiteX25" fmla="*/ 6377940 w 7132320"/>
              <a:gd name="connsiteY25" fmla="*/ 251460 h 1859280"/>
              <a:gd name="connsiteX26" fmla="*/ 6614160 w 7132320"/>
              <a:gd name="connsiteY26" fmla="*/ 228600 h 1859280"/>
              <a:gd name="connsiteX27" fmla="*/ 6903720 w 7132320"/>
              <a:gd name="connsiteY27" fmla="*/ 259080 h 1859280"/>
              <a:gd name="connsiteX28" fmla="*/ 7124700 w 7132320"/>
              <a:gd name="connsiteY28" fmla="*/ 274320 h 1859280"/>
              <a:gd name="connsiteX29" fmla="*/ 7132320 w 7132320"/>
              <a:gd name="connsiteY29" fmla="*/ 723900 h 1859280"/>
              <a:gd name="connsiteX30" fmla="*/ 6667500 w 7132320"/>
              <a:gd name="connsiteY30" fmla="*/ 937260 h 1859280"/>
              <a:gd name="connsiteX31" fmla="*/ 6240780 w 7132320"/>
              <a:gd name="connsiteY31" fmla="*/ 1135380 h 1859280"/>
              <a:gd name="connsiteX32" fmla="*/ 5958840 w 7132320"/>
              <a:gd name="connsiteY32" fmla="*/ 1264920 h 1859280"/>
              <a:gd name="connsiteX33" fmla="*/ 5798820 w 7132320"/>
              <a:gd name="connsiteY33" fmla="*/ 1287780 h 1859280"/>
              <a:gd name="connsiteX34" fmla="*/ 5524500 w 7132320"/>
              <a:gd name="connsiteY34" fmla="*/ 1257300 h 1859280"/>
              <a:gd name="connsiteX35" fmla="*/ 5349240 w 7132320"/>
              <a:gd name="connsiteY35" fmla="*/ 1211580 h 1859280"/>
              <a:gd name="connsiteX36" fmla="*/ 5166360 w 7132320"/>
              <a:gd name="connsiteY36" fmla="*/ 1211580 h 1859280"/>
              <a:gd name="connsiteX37" fmla="*/ 4899660 w 7132320"/>
              <a:gd name="connsiteY37" fmla="*/ 1264920 h 1859280"/>
              <a:gd name="connsiteX38" fmla="*/ 4617720 w 7132320"/>
              <a:gd name="connsiteY38" fmla="*/ 1379220 h 1859280"/>
              <a:gd name="connsiteX39" fmla="*/ 4434840 w 7132320"/>
              <a:gd name="connsiteY39" fmla="*/ 1508760 h 1859280"/>
              <a:gd name="connsiteX40" fmla="*/ 4198620 w 7132320"/>
              <a:gd name="connsiteY40" fmla="*/ 1668780 h 1859280"/>
              <a:gd name="connsiteX41" fmla="*/ 4076700 w 7132320"/>
              <a:gd name="connsiteY41" fmla="*/ 1790700 h 1859280"/>
              <a:gd name="connsiteX42" fmla="*/ 3931920 w 7132320"/>
              <a:gd name="connsiteY42" fmla="*/ 1844040 h 1859280"/>
              <a:gd name="connsiteX43" fmla="*/ 3749040 w 7132320"/>
              <a:gd name="connsiteY43" fmla="*/ 1836420 h 1859280"/>
              <a:gd name="connsiteX44" fmla="*/ 3581400 w 7132320"/>
              <a:gd name="connsiteY44" fmla="*/ 1706880 h 1859280"/>
              <a:gd name="connsiteX45" fmla="*/ 3360420 w 7132320"/>
              <a:gd name="connsiteY45" fmla="*/ 1539240 h 1859280"/>
              <a:gd name="connsiteX46" fmla="*/ 3147060 w 7132320"/>
              <a:gd name="connsiteY46" fmla="*/ 1440180 h 1859280"/>
              <a:gd name="connsiteX47" fmla="*/ 2903220 w 7132320"/>
              <a:gd name="connsiteY47" fmla="*/ 1379220 h 1859280"/>
              <a:gd name="connsiteX48" fmla="*/ 2636520 w 7132320"/>
              <a:gd name="connsiteY48" fmla="*/ 1356360 h 1859280"/>
              <a:gd name="connsiteX49" fmla="*/ 2468880 w 7132320"/>
              <a:gd name="connsiteY49" fmla="*/ 1424940 h 1859280"/>
              <a:gd name="connsiteX50" fmla="*/ 2278380 w 7132320"/>
              <a:gd name="connsiteY50" fmla="*/ 1630680 h 1859280"/>
              <a:gd name="connsiteX51" fmla="*/ 2141220 w 7132320"/>
              <a:gd name="connsiteY51" fmla="*/ 1775460 h 1859280"/>
              <a:gd name="connsiteX52" fmla="*/ 2049780 w 7132320"/>
              <a:gd name="connsiteY52" fmla="*/ 1844040 h 1859280"/>
              <a:gd name="connsiteX53" fmla="*/ 1943100 w 7132320"/>
              <a:gd name="connsiteY53" fmla="*/ 1859280 h 1859280"/>
              <a:gd name="connsiteX54" fmla="*/ 1828800 w 7132320"/>
              <a:gd name="connsiteY54" fmla="*/ 1813560 h 1859280"/>
              <a:gd name="connsiteX55" fmla="*/ 1691640 w 7132320"/>
              <a:gd name="connsiteY55" fmla="*/ 1661160 h 1859280"/>
              <a:gd name="connsiteX56" fmla="*/ 1539240 w 7132320"/>
              <a:gd name="connsiteY56" fmla="*/ 1455420 h 1859280"/>
              <a:gd name="connsiteX57" fmla="*/ 1463040 w 7132320"/>
              <a:gd name="connsiteY57" fmla="*/ 1371600 h 1859280"/>
              <a:gd name="connsiteX58" fmla="*/ 1341120 w 7132320"/>
              <a:gd name="connsiteY58" fmla="*/ 1280160 h 1859280"/>
              <a:gd name="connsiteX59" fmla="*/ 1219200 w 7132320"/>
              <a:gd name="connsiteY59" fmla="*/ 1272540 h 1859280"/>
              <a:gd name="connsiteX60" fmla="*/ 1028700 w 7132320"/>
              <a:gd name="connsiteY60" fmla="*/ 1363980 h 1859280"/>
              <a:gd name="connsiteX61" fmla="*/ 830580 w 7132320"/>
              <a:gd name="connsiteY61" fmla="*/ 1524000 h 1859280"/>
              <a:gd name="connsiteX62" fmla="*/ 678180 w 7132320"/>
              <a:gd name="connsiteY62" fmla="*/ 1623060 h 1859280"/>
              <a:gd name="connsiteX63" fmla="*/ 464820 w 7132320"/>
              <a:gd name="connsiteY63" fmla="*/ 1661160 h 1859280"/>
              <a:gd name="connsiteX64" fmla="*/ 213360 w 7132320"/>
              <a:gd name="connsiteY64" fmla="*/ 1623060 h 1859280"/>
              <a:gd name="connsiteX65" fmla="*/ 0 w 7132320"/>
              <a:gd name="connsiteY65" fmla="*/ 1607820 h 1859280"/>
              <a:gd name="connsiteX66" fmla="*/ 0 w 7132320"/>
              <a:gd name="connsiteY66" fmla="*/ 0 h 185928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  <a:cxn ang="0">
                <a:pos x="connsiteX24" y="connsiteY24"/>
              </a:cxn>
              <a:cxn ang="0">
                <a:pos x="connsiteX25" y="connsiteY25"/>
              </a:cxn>
              <a:cxn ang="0">
                <a:pos x="connsiteX26" y="connsiteY26"/>
              </a:cxn>
              <a:cxn ang="0">
                <a:pos x="connsiteX27" y="connsiteY27"/>
              </a:cxn>
              <a:cxn ang="0">
                <a:pos x="connsiteX28" y="connsiteY28"/>
              </a:cxn>
              <a:cxn ang="0">
                <a:pos x="connsiteX29" y="connsiteY29"/>
              </a:cxn>
              <a:cxn ang="0">
                <a:pos x="connsiteX30" y="connsiteY30"/>
              </a:cxn>
              <a:cxn ang="0">
                <a:pos x="connsiteX31" y="connsiteY31"/>
              </a:cxn>
              <a:cxn ang="0">
                <a:pos x="connsiteX32" y="connsiteY32"/>
              </a:cxn>
              <a:cxn ang="0">
                <a:pos x="connsiteX33" y="connsiteY33"/>
              </a:cxn>
              <a:cxn ang="0">
                <a:pos x="connsiteX34" y="connsiteY34"/>
              </a:cxn>
              <a:cxn ang="0">
                <a:pos x="connsiteX35" y="connsiteY35"/>
              </a:cxn>
              <a:cxn ang="0">
                <a:pos x="connsiteX36" y="connsiteY36"/>
              </a:cxn>
              <a:cxn ang="0">
                <a:pos x="connsiteX37" y="connsiteY37"/>
              </a:cxn>
              <a:cxn ang="0">
                <a:pos x="connsiteX38" y="connsiteY38"/>
              </a:cxn>
              <a:cxn ang="0">
                <a:pos x="connsiteX39" y="connsiteY39"/>
              </a:cxn>
              <a:cxn ang="0">
                <a:pos x="connsiteX40" y="connsiteY40"/>
              </a:cxn>
              <a:cxn ang="0">
                <a:pos x="connsiteX41" y="connsiteY41"/>
              </a:cxn>
              <a:cxn ang="0">
                <a:pos x="connsiteX42" y="connsiteY42"/>
              </a:cxn>
              <a:cxn ang="0">
                <a:pos x="connsiteX43" y="connsiteY43"/>
              </a:cxn>
              <a:cxn ang="0">
                <a:pos x="connsiteX44" y="connsiteY44"/>
              </a:cxn>
              <a:cxn ang="0">
                <a:pos x="connsiteX45" y="connsiteY45"/>
              </a:cxn>
              <a:cxn ang="0">
                <a:pos x="connsiteX46" y="connsiteY46"/>
              </a:cxn>
              <a:cxn ang="0">
                <a:pos x="connsiteX47" y="connsiteY47"/>
              </a:cxn>
              <a:cxn ang="0">
                <a:pos x="connsiteX48" y="connsiteY48"/>
              </a:cxn>
              <a:cxn ang="0">
                <a:pos x="connsiteX49" y="connsiteY49"/>
              </a:cxn>
              <a:cxn ang="0">
                <a:pos x="connsiteX50" y="connsiteY50"/>
              </a:cxn>
              <a:cxn ang="0">
                <a:pos x="connsiteX51" y="connsiteY51"/>
              </a:cxn>
              <a:cxn ang="0">
                <a:pos x="connsiteX52" y="connsiteY52"/>
              </a:cxn>
              <a:cxn ang="0">
                <a:pos x="connsiteX53" y="connsiteY53"/>
              </a:cxn>
              <a:cxn ang="0">
                <a:pos x="connsiteX54" y="connsiteY54"/>
              </a:cxn>
              <a:cxn ang="0">
                <a:pos x="connsiteX55" y="connsiteY55"/>
              </a:cxn>
              <a:cxn ang="0">
                <a:pos x="connsiteX56" y="connsiteY56"/>
              </a:cxn>
              <a:cxn ang="0">
                <a:pos x="connsiteX57" y="connsiteY57"/>
              </a:cxn>
              <a:cxn ang="0">
                <a:pos x="connsiteX58" y="connsiteY58"/>
              </a:cxn>
              <a:cxn ang="0">
                <a:pos x="connsiteX59" y="connsiteY59"/>
              </a:cxn>
              <a:cxn ang="0">
                <a:pos x="connsiteX60" y="connsiteY60"/>
              </a:cxn>
              <a:cxn ang="0">
                <a:pos x="connsiteX61" y="connsiteY61"/>
              </a:cxn>
              <a:cxn ang="0">
                <a:pos x="connsiteX62" y="connsiteY62"/>
              </a:cxn>
              <a:cxn ang="0">
                <a:pos x="connsiteX63" y="connsiteY63"/>
              </a:cxn>
              <a:cxn ang="0">
                <a:pos x="connsiteX64" y="connsiteY64"/>
              </a:cxn>
              <a:cxn ang="0">
                <a:pos x="connsiteX65" y="connsiteY65"/>
              </a:cxn>
              <a:cxn ang="0">
                <a:pos x="connsiteX66" y="connsiteY66"/>
              </a:cxn>
            </a:cxnLst>
            <a:rect l="l" t="t" r="r" b="b"/>
            <a:pathLst>
              <a:path w="7132320" h="1859280">
                <a:moveTo>
                  <a:pt x="0" y="0"/>
                </a:moveTo>
                <a:lnTo>
                  <a:pt x="403860" y="518160"/>
                </a:lnTo>
                <a:lnTo>
                  <a:pt x="556260" y="678180"/>
                </a:lnTo>
                <a:lnTo>
                  <a:pt x="739140" y="731520"/>
                </a:lnTo>
                <a:lnTo>
                  <a:pt x="906780" y="685800"/>
                </a:lnTo>
                <a:lnTo>
                  <a:pt x="1112520" y="563880"/>
                </a:lnTo>
                <a:lnTo>
                  <a:pt x="1249680" y="487680"/>
                </a:lnTo>
                <a:lnTo>
                  <a:pt x="1524000" y="411480"/>
                </a:lnTo>
                <a:lnTo>
                  <a:pt x="2103120" y="320040"/>
                </a:lnTo>
                <a:lnTo>
                  <a:pt x="2453640" y="289560"/>
                </a:lnTo>
                <a:lnTo>
                  <a:pt x="2628900" y="304800"/>
                </a:lnTo>
                <a:lnTo>
                  <a:pt x="2766060" y="388620"/>
                </a:lnTo>
                <a:lnTo>
                  <a:pt x="2979420" y="571500"/>
                </a:lnTo>
                <a:lnTo>
                  <a:pt x="3101340" y="662940"/>
                </a:lnTo>
                <a:lnTo>
                  <a:pt x="3238500" y="739140"/>
                </a:lnTo>
                <a:lnTo>
                  <a:pt x="3398520" y="693420"/>
                </a:lnTo>
                <a:lnTo>
                  <a:pt x="3649980" y="464820"/>
                </a:lnTo>
                <a:lnTo>
                  <a:pt x="3855720" y="274320"/>
                </a:lnTo>
                <a:lnTo>
                  <a:pt x="4137660" y="152400"/>
                </a:lnTo>
                <a:lnTo>
                  <a:pt x="4427220" y="91440"/>
                </a:lnTo>
                <a:lnTo>
                  <a:pt x="4655820" y="91440"/>
                </a:lnTo>
                <a:lnTo>
                  <a:pt x="4914900" y="167640"/>
                </a:lnTo>
                <a:lnTo>
                  <a:pt x="5257800" y="289560"/>
                </a:lnTo>
                <a:lnTo>
                  <a:pt x="5600700" y="342900"/>
                </a:lnTo>
                <a:lnTo>
                  <a:pt x="5958840" y="327660"/>
                </a:lnTo>
                <a:lnTo>
                  <a:pt x="6377940" y="251460"/>
                </a:lnTo>
                <a:lnTo>
                  <a:pt x="6614160" y="228600"/>
                </a:lnTo>
                <a:lnTo>
                  <a:pt x="6903720" y="259080"/>
                </a:lnTo>
                <a:lnTo>
                  <a:pt x="7124700" y="274320"/>
                </a:lnTo>
                <a:lnTo>
                  <a:pt x="7132320" y="723900"/>
                </a:lnTo>
                <a:lnTo>
                  <a:pt x="6667500" y="937260"/>
                </a:lnTo>
                <a:lnTo>
                  <a:pt x="6240780" y="1135380"/>
                </a:lnTo>
                <a:lnTo>
                  <a:pt x="5958840" y="1264920"/>
                </a:lnTo>
                <a:lnTo>
                  <a:pt x="5798820" y="1287780"/>
                </a:lnTo>
                <a:lnTo>
                  <a:pt x="5524500" y="1257300"/>
                </a:lnTo>
                <a:lnTo>
                  <a:pt x="5349240" y="1211580"/>
                </a:lnTo>
                <a:lnTo>
                  <a:pt x="5166360" y="1211580"/>
                </a:lnTo>
                <a:lnTo>
                  <a:pt x="4899660" y="1264920"/>
                </a:lnTo>
                <a:lnTo>
                  <a:pt x="4617720" y="1379220"/>
                </a:lnTo>
                <a:lnTo>
                  <a:pt x="4434840" y="1508760"/>
                </a:lnTo>
                <a:lnTo>
                  <a:pt x="4198620" y="1668780"/>
                </a:lnTo>
                <a:lnTo>
                  <a:pt x="4076700" y="1790700"/>
                </a:lnTo>
                <a:lnTo>
                  <a:pt x="3931920" y="1844040"/>
                </a:lnTo>
                <a:lnTo>
                  <a:pt x="3749040" y="1836420"/>
                </a:lnTo>
                <a:lnTo>
                  <a:pt x="3581400" y="1706880"/>
                </a:lnTo>
                <a:lnTo>
                  <a:pt x="3360420" y="1539240"/>
                </a:lnTo>
                <a:lnTo>
                  <a:pt x="3147060" y="1440180"/>
                </a:lnTo>
                <a:lnTo>
                  <a:pt x="2903220" y="1379220"/>
                </a:lnTo>
                <a:lnTo>
                  <a:pt x="2636520" y="1356360"/>
                </a:lnTo>
                <a:lnTo>
                  <a:pt x="2468880" y="1424940"/>
                </a:lnTo>
                <a:lnTo>
                  <a:pt x="2278380" y="1630680"/>
                </a:lnTo>
                <a:lnTo>
                  <a:pt x="2141220" y="1775460"/>
                </a:lnTo>
                <a:lnTo>
                  <a:pt x="2049780" y="1844040"/>
                </a:lnTo>
                <a:lnTo>
                  <a:pt x="1943100" y="1859280"/>
                </a:lnTo>
                <a:lnTo>
                  <a:pt x="1828800" y="1813560"/>
                </a:lnTo>
                <a:lnTo>
                  <a:pt x="1691640" y="1661160"/>
                </a:lnTo>
                <a:lnTo>
                  <a:pt x="1539240" y="1455420"/>
                </a:lnTo>
                <a:lnTo>
                  <a:pt x="1463040" y="1371600"/>
                </a:lnTo>
                <a:lnTo>
                  <a:pt x="1341120" y="1280160"/>
                </a:lnTo>
                <a:lnTo>
                  <a:pt x="1219200" y="1272540"/>
                </a:lnTo>
                <a:lnTo>
                  <a:pt x="1028700" y="1363980"/>
                </a:lnTo>
                <a:lnTo>
                  <a:pt x="830580" y="1524000"/>
                </a:lnTo>
                <a:lnTo>
                  <a:pt x="678180" y="1623060"/>
                </a:lnTo>
                <a:lnTo>
                  <a:pt x="464820" y="1661160"/>
                </a:lnTo>
                <a:lnTo>
                  <a:pt x="213360" y="1623060"/>
                </a:lnTo>
                <a:lnTo>
                  <a:pt x="0" y="1607820"/>
                </a:lnTo>
                <a:lnTo>
                  <a:pt x="0" y="0"/>
                </a:lnTo>
                <a:close/>
              </a:path>
            </a:pathLst>
          </a:custGeom>
          <a:solidFill>
            <a:srgbClr val="F2F2F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50" name="Пряма сполучна лінія 149">
            <a:extLst>
              <a:ext uri="{FF2B5EF4-FFF2-40B4-BE49-F238E27FC236}">
                <a16:creationId xmlns:a16="http://schemas.microsoft.com/office/drawing/2014/main" id="{9E3E79ED-4F9B-4F46-9731-62157DFB95EE}"/>
              </a:ext>
            </a:extLst>
          </p:cNvPr>
          <p:cNvCxnSpPr>
            <a:cxnSpLocks/>
          </p:cNvCxnSpPr>
          <p:nvPr>
            <p:custDataLst>
              <p:tags r:id="rId4"/>
            </p:custDataLst>
          </p:nvPr>
        </p:nvCxnSpPr>
        <p:spPr bwMode="auto">
          <a:xfrm flipH="1">
            <a:off x="736365" y="4254216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51" name="Пряма сполучна лінія 150">
            <a:extLst>
              <a:ext uri="{FF2B5EF4-FFF2-40B4-BE49-F238E27FC236}">
                <a16:creationId xmlns:a16="http://schemas.microsoft.com/office/drawing/2014/main" id="{B5D5D27F-FE15-4E20-A1D4-BAB2BDA2C740}"/>
              </a:ext>
            </a:extLst>
          </p:cNvPr>
          <p:cNvCxnSpPr/>
          <p:nvPr>
            <p:custDataLst>
              <p:tags r:id="rId5"/>
            </p:custDataLst>
          </p:nvPr>
        </p:nvCxnSpPr>
        <p:spPr bwMode="auto">
          <a:xfrm flipH="1">
            <a:off x="736365" y="5762341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3" name="Пряма сполучна лінія 152">
            <a:extLst>
              <a:ext uri="{FF2B5EF4-FFF2-40B4-BE49-F238E27FC236}">
                <a16:creationId xmlns:a16="http://schemas.microsoft.com/office/drawing/2014/main" id="{21E26E31-3488-4BEB-B536-AA2BB40CB112}"/>
              </a:ext>
            </a:extLst>
          </p:cNvPr>
          <p:cNvCxnSpPr/>
          <p:nvPr>
            <p:custDataLst>
              <p:tags r:id="rId6"/>
            </p:custDataLst>
          </p:nvPr>
        </p:nvCxnSpPr>
        <p:spPr bwMode="auto">
          <a:xfrm flipH="1">
            <a:off x="736365" y="2007904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4" name="Пряма сполучна лінія 153">
            <a:extLst>
              <a:ext uri="{FF2B5EF4-FFF2-40B4-BE49-F238E27FC236}">
                <a16:creationId xmlns:a16="http://schemas.microsoft.com/office/drawing/2014/main" id="{432D2AD1-99B6-4440-8D4B-232CFB0079D4}"/>
              </a:ext>
            </a:extLst>
          </p:cNvPr>
          <p:cNvCxnSpPr/>
          <p:nvPr>
            <p:custDataLst>
              <p:tags r:id="rId7"/>
            </p:custDataLst>
          </p:nvPr>
        </p:nvCxnSpPr>
        <p:spPr bwMode="auto">
          <a:xfrm flipH="1">
            <a:off x="736365" y="2288891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5" name="Пряма сполучна лінія 154">
            <a:extLst>
              <a:ext uri="{FF2B5EF4-FFF2-40B4-BE49-F238E27FC236}">
                <a16:creationId xmlns:a16="http://schemas.microsoft.com/office/drawing/2014/main" id="{6A807109-020B-4B9C-8069-B594C24732F2}"/>
              </a:ext>
            </a:extLst>
          </p:cNvPr>
          <p:cNvCxnSpPr/>
          <p:nvPr>
            <p:custDataLst>
              <p:tags r:id="rId8"/>
            </p:custDataLst>
          </p:nvPr>
        </p:nvCxnSpPr>
        <p:spPr bwMode="auto">
          <a:xfrm flipH="1">
            <a:off x="736365" y="5097179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6" name="Пряма сполучна лінія 155">
            <a:extLst>
              <a:ext uri="{FF2B5EF4-FFF2-40B4-BE49-F238E27FC236}">
                <a16:creationId xmlns:a16="http://schemas.microsoft.com/office/drawing/2014/main" id="{4E736F15-B01E-4252-88A8-FA97F1D72CE7}"/>
              </a:ext>
            </a:extLst>
          </p:cNvPr>
          <p:cNvCxnSpPr/>
          <p:nvPr>
            <p:custDataLst>
              <p:tags r:id="rId9"/>
            </p:custDataLst>
          </p:nvPr>
        </p:nvCxnSpPr>
        <p:spPr bwMode="auto">
          <a:xfrm flipH="1">
            <a:off x="736365" y="3131854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7" name="Пряма сполучна лінія 156">
            <a:extLst>
              <a:ext uri="{FF2B5EF4-FFF2-40B4-BE49-F238E27FC236}">
                <a16:creationId xmlns:a16="http://schemas.microsoft.com/office/drawing/2014/main" id="{58C9163F-4CD0-47A5-B63D-FBAFBE516015}"/>
              </a:ext>
            </a:extLst>
          </p:cNvPr>
          <p:cNvCxnSpPr/>
          <p:nvPr>
            <p:custDataLst>
              <p:tags r:id="rId10"/>
            </p:custDataLst>
          </p:nvPr>
        </p:nvCxnSpPr>
        <p:spPr bwMode="auto">
          <a:xfrm flipH="1">
            <a:off x="736365" y="3973229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59" name="Пряма сполучна лінія 158">
            <a:extLst>
              <a:ext uri="{FF2B5EF4-FFF2-40B4-BE49-F238E27FC236}">
                <a16:creationId xmlns:a16="http://schemas.microsoft.com/office/drawing/2014/main" id="{E627845F-161B-4024-B83F-78CABFE98B03}"/>
              </a:ext>
            </a:extLst>
          </p:cNvPr>
          <p:cNvCxnSpPr/>
          <p:nvPr>
            <p:custDataLst>
              <p:tags r:id="rId11"/>
            </p:custDataLst>
          </p:nvPr>
        </p:nvCxnSpPr>
        <p:spPr bwMode="auto">
          <a:xfrm flipH="1">
            <a:off x="736365" y="2850866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0" name="Пряма сполучна лінія 159">
            <a:extLst>
              <a:ext uri="{FF2B5EF4-FFF2-40B4-BE49-F238E27FC236}">
                <a16:creationId xmlns:a16="http://schemas.microsoft.com/office/drawing/2014/main" id="{FA9EB416-CECD-4D72-A580-45CF9A141ABE}"/>
              </a:ext>
            </a:extLst>
          </p:cNvPr>
          <p:cNvCxnSpPr/>
          <p:nvPr>
            <p:custDataLst>
              <p:tags r:id="rId12"/>
            </p:custDataLst>
          </p:nvPr>
        </p:nvCxnSpPr>
        <p:spPr bwMode="auto">
          <a:xfrm flipH="1">
            <a:off x="736365" y="3693829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1" name="Пряма сполучна лінія 160">
            <a:extLst>
              <a:ext uri="{FF2B5EF4-FFF2-40B4-BE49-F238E27FC236}">
                <a16:creationId xmlns:a16="http://schemas.microsoft.com/office/drawing/2014/main" id="{54286C35-DE4F-4CED-ADB3-F1D2EB6D4A4B}"/>
              </a:ext>
            </a:extLst>
          </p:cNvPr>
          <p:cNvCxnSpPr/>
          <p:nvPr>
            <p:custDataLst>
              <p:tags r:id="rId13"/>
            </p:custDataLst>
          </p:nvPr>
        </p:nvCxnSpPr>
        <p:spPr bwMode="auto">
          <a:xfrm flipH="1">
            <a:off x="736365" y="3412841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2" name="Пряма сполучна лінія 161">
            <a:extLst>
              <a:ext uri="{FF2B5EF4-FFF2-40B4-BE49-F238E27FC236}">
                <a16:creationId xmlns:a16="http://schemas.microsoft.com/office/drawing/2014/main" id="{5B5203FD-C131-42F7-B6EC-11EE30D0D7F6}"/>
              </a:ext>
            </a:extLst>
          </p:cNvPr>
          <p:cNvCxnSpPr/>
          <p:nvPr>
            <p:custDataLst>
              <p:tags r:id="rId14"/>
            </p:custDataLst>
          </p:nvPr>
        </p:nvCxnSpPr>
        <p:spPr bwMode="auto">
          <a:xfrm flipH="1">
            <a:off x="736365" y="4535204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4" name="Пряма сполучна лінія 163">
            <a:extLst>
              <a:ext uri="{FF2B5EF4-FFF2-40B4-BE49-F238E27FC236}">
                <a16:creationId xmlns:a16="http://schemas.microsoft.com/office/drawing/2014/main" id="{7C2011FE-85A1-4A56-8D0C-179CF8FD3140}"/>
              </a:ext>
            </a:extLst>
          </p:cNvPr>
          <p:cNvCxnSpPr/>
          <p:nvPr>
            <p:custDataLst>
              <p:tags r:id="rId15"/>
            </p:custDataLst>
          </p:nvPr>
        </p:nvCxnSpPr>
        <p:spPr bwMode="auto">
          <a:xfrm flipH="1">
            <a:off x="736365" y="2569879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7" name="Пряма сполучна лінія 166">
            <a:extLst>
              <a:ext uri="{FF2B5EF4-FFF2-40B4-BE49-F238E27FC236}">
                <a16:creationId xmlns:a16="http://schemas.microsoft.com/office/drawing/2014/main" id="{BDF8F9CE-FD70-43B4-A0A9-3DF3765E80D0}"/>
              </a:ext>
            </a:extLst>
          </p:cNvPr>
          <p:cNvCxnSpPr/>
          <p:nvPr>
            <p:custDataLst>
              <p:tags r:id="rId16"/>
            </p:custDataLst>
          </p:nvPr>
        </p:nvCxnSpPr>
        <p:spPr bwMode="auto">
          <a:xfrm flipH="1">
            <a:off x="736365" y="5378166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68" name="Пряма сполучна лінія 167">
            <a:extLst>
              <a:ext uri="{FF2B5EF4-FFF2-40B4-BE49-F238E27FC236}">
                <a16:creationId xmlns:a16="http://schemas.microsoft.com/office/drawing/2014/main" id="{5CC109D0-17BA-4E4E-9CD9-2948E3709DE8}"/>
              </a:ext>
            </a:extLst>
          </p:cNvPr>
          <p:cNvCxnSpPr/>
          <p:nvPr>
            <p:custDataLst>
              <p:tags r:id="rId17"/>
            </p:custDataLst>
          </p:nvPr>
        </p:nvCxnSpPr>
        <p:spPr bwMode="auto">
          <a:xfrm flipH="1">
            <a:off x="736365" y="4816191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169" name="Chart 3">
            <a:extLst>
              <a:ext uri="{FF2B5EF4-FFF2-40B4-BE49-F238E27FC236}">
                <a16:creationId xmlns:a16="http://schemas.microsoft.com/office/drawing/2014/main" id="{0F682908-4116-438D-BCF6-F6BA91E849E4}"/>
              </a:ext>
            </a:extLst>
          </p:cNvPr>
          <p:cNvGraphicFramePr/>
          <p:nvPr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1683552120"/>
              </p:ext>
            </p:extLst>
          </p:nvPr>
        </p:nvGraphicFramePr>
        <p:xfrm>
          <a:off x="696677" y="1925354"/>
          <a:ext cx="4054475" cy="39195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8"/>
          </a:graphicData>
        </a:graphic>
      </p:graphicFrame>
      <p:sp>
        <p:nvSpPr>
          <p:cNvPr id="170" name="Holder 3">
            <a:extLst>
              <a:ext uri="{FF2B5EF4-FFF2-40B4-BE49-F238E27FC236}">
                <a16:creationId xmlns:a16="http://schemas.microsoft.com/office/drawing/2014/main" id="{72AE5477-3C94-4B44-8F47-9C787D2EE8BF}"/>
              </a:ext>
            </a:extLst>
          </p:cNvPr>
          <p:cNvSpPr>
            <a:spLocks noGrp="1"/>
          </p:cNvSpPr>
          <p:nvPr>
            <p:custDataLst>
              <p:tags r:id="rId19"/>
            </p:custDataLst>
          </p:nvPr>
        </p:nvSpPr>
        <p:spPr bwMode="gray">
          <a:xfrm>
            <a:off x="488715" y="5033679"/>
            <a:ext cx="1619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>
              <a:defRPr>
                <a:latin typeface="+mn-lt"/>
                <a:ea typeface="+mn-ea"/>
                <a:cs typeface="+mn-cs"/>
              </a:defRPr>
            </a:lvl2pPr>
            <a:lvl3pPr marL="685800">
              <a:defRPr>
                <a:latin typeface="+mn-lt"/>
                <a:ea typeface="+mn-ea"/>
                <a:cs typeface="+mn-cs"/>
              </a:defRPr>
            </a:lvl3pPr>
            <a:lvl4pPr marL="1028700">
              <a:defRPr>
                <a:latin typeface="+mn-lt"/>
                <a:ea typeface="+mn-ea"/>
                <a:cs typeface="+mn-cs"/>
              </a:defRPr>
            </a:lvl4pPr>
            <a:lvl5pPr marL="1371600">
              <a:defRPr>
                <a:latin typeface="+mn-lt"/>
                <a:ea typeface="+mn-ea"/>
                <a:cs typeface="+mn-cs"/>
              </a:defRPr>
            </a:lvl5pPr>
            <a:lvl6pPr marL="1714500">
              <a:defRPr>
                <a:latin typeface="+mn-lt"/>
                <a:ea typeface="+mn-ea"/>
                <a:cs typeface="+mn-cs"/>
              </a:defRPr>
            </a:lvl6pPr>
            <a:lvl7pPr marL="2057400">
              <a:defRPr>
                <a:latin typeface="+mn-lt"/>
                <a:ea typeface="+mn-ea"/>
                <a:cs typeface="+mn-cs"/>
              </a:defRPr>
            </a:lvl7pPr>
            <a:lvl8pPr marL="2400300">
              <a:defRPr>
                <a:latin typeface="+mn-lt"/>
                <a:ea typeface="+mn-ea"/>
                <a:cs typeface="+mn-cs"/>
              </a:defRPr>
            </a:lvl8pPr>
            <a:lvl9pPr marL="2743200">
              <a:defRPr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DD2C967-299B-41C8-A311-B7D75ABFE734}" type="datetime'''''3'''''''''''''''''''''',''''''''5'''''''''''''">
              <a:rPr lang="en-US" altLang="en-US" sz="1000" smtClean="0">
                <a:solidFill>
                  <a:srgbClr val="000000"/>
                </a:solidFill>
                <a:effectLst/>
                <a:sym typeface="+mn-lt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,5</a:t>
            </a:fld>
            <a:endParaRPr lang="en-US" sz="10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71" name="Holder 3">
            <a:extLst>
              <a:ext uri="{FF2B5EF4-FFF2-40B4-BE49-F238E27FC236}">
                <a16:creationId xmlns:a16="http://schemas.microsoft.com/office/drawing/2014/main" id="{7385FC91-2038-4AFE-8A46-5557089DE918}"/>
              </a:ext>
            </a:extLst>
          </p:cNvPr>
          <p:cNvSpPr>
            <a:spLocks noGrp="1"/>
          </p:cNvSpPr>
          <p:nvPr>
            <p:custDataLst>
              <p:tags r:id="rId20"/>
            </p:custDataLst>
          </p:nvPr>
        </p:nvSpPr>
        <p:spPr bwMode="gray">
          <a:xfrm>
            <a:off x="488715" y="5698841"/>
            <a:ext cx="1619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>
              <a:defRPr>
                <a:latin typeface="+mn-lt"/>
                <a:ea typeface="+mn-ea"/>
                <a:cs typeface="+mn-cs"/>
              </a:defRPr>
            </a:lvl2pPr>
            <a:lvl3pPr marL="685800">
              <a:defRPr>
                <a:latin typeface="+mn-lt"/>
                <a:ea typeface="+mn-ea"/>
                <a:cs typeface="+mn-cs"/>
              </a:defRPr>
            </a:lvl3pPr>
            <a:lvl4pPr marL="1028700">
              <a:defRPr>
                <a:latin typeface="+mn-lt"/>
                <a:ea typeface="+mn-ea"/>
                <a:cs typeface="+mn-cs"/>
              </a:defRPr>
            </a:lvl4pPr>
            <a:lvl5pPr marL="1371600">
              <a:defRPr>
                <a:latin typeface="+mn-lt"/>
                <a:ea typeface="+mn-ea"/>
                <a:cs typeface="+mn-cs"/>
              </a:defRPr>
            </a:lvl5pPr>
            <a:lvl6pPr marL="1714500">
              <a:defRPr>
                <a:latin typeface="+mn-lt"/>
                <a:ea typeface="+mn-ea"/>
                <a:cs typeface="+mn-cs"/>
              </a:defRPr>
            </a:lvl6pPr>
            <a:lvl7pPr marL="2057400">
              <a:defRPr>
                <a:latin typeface="+mn-lt"/>
                <a:ea typeface="+mn-ea"/>
                <a:cs typeface="+mn-cs"/>
              </a:defRPr>
            </a:lvl7pPr>
            <a:lvl8pPr marL="2400300">
              <a:defRPr>
                <a:latin typeface="+mn-lt"/>
                <a:ea typeface="+mn-ea"/>
                <a:cs typeface="+mn-cs"/>
              </a:defRPr>
            </a:lvl8pPr>
            <a:lvl9pPr marL="2743200">
              <a:defRPr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1532552-0512-43A5-87D1-1C1A7533ACF9}" type="datetime'''''''''''''''0'''',''''0'''''''''''''''''''">
              <a:rPr lang="en-US" altLang="en-US" sz="1000" smtClean="0">
                <a:solidFill>
                  <a:srgbClr val="000000"/>
                </a:solidFill>
              </a:rPr>
              <a:pPr/>
              <a:t>0,0</a:t>
            </a:fld>
            <a:endParaRPr lang="en-US" sz="10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72" name="Holder 3">
            <a:extLst>
              <a:ext uri="{FF2B5EF4-FFF2-40B4-BE49-F238E27FC236}">
                <a16:creationId xmlns:a16="http://schemas.microsoft.com/office/drawing/2014/main" id="{043F4D2C-D774-4840-8A05-C37744FDC90B}"/>
              </a:ext>
            </a:extLst>
          </p:cNvPr>
          <p:cNvSpPr>
            <a:spLocks noGrp="1"/>
          </p:cNvSpPr>
          <p:nvPr>
            <p:custDataLst>
              <p:tags r:id="rId21"/>
            </p:custDataLst>
          </p:nvPr>
        </p:nvSpPr>
        <p:spPr bwMode="gray">
          <a:xfrm>
            <a:off x="488715" y="1944404"/>
            <a:ext cx="1619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>
              <a:defRPr>
                <a:latin typeface="+mn-lt"/>
                <a:ea typeface="+mn-ea"/>
                <a:cs typeface="+mn-cs"/>
              </a:defRPr>
            </a:lvl2pPr>
            <a:lvl3pPr marL="685800">
              <a:defRPr>
                <a:latin typeface="+mn-lt"/>
                <a:ea typeface="+mn-ea"/>
                <a:cs typeface="+mn-cs"/>
              </a:defRPr>
            </a:lvl3pPr>
            <a:lvl4pPr marL="1028700">
              <a:defRPr>
                <a:latin typeface="+mn-lt"/>
                <a:ea typeface="+mn-ea"/>
                <a:cs typeface="+mn-cs"/>
              </a:defRPr>
            </a:lvl4pPr>
            <a:lvl5pPr marL="1371600">
              <a:defRPr>
                <a:latin typeface="+mn-lt"/>
                <a:ea typeface="+mn-ea"/>
                <a:cs typeface="+mn-cs"/>
              </a:defRPr>
            </a:lvl5pPr>
            <a:lvl6pPr marL="1714500">
              <a:defRPr>
                <a:latin typeface="+mn-lt"/>
                <a:ea typeface="+mn-ea"/>
                <a:cs typeface="+mn-cs"/>
              </a:defRPr>
            </a:lvl6pPr>
            <a:lvl7pPr marL="2057400">
              <a:defRPr>
                <a:latin typeface="+mn-lt"/>
                <a:ea typeface="+mn-ea"/>
                <a:cs typeface="+mn-cs"/>
              </a:defRPr>
            </a:lvl7pPr>
            <a:lvl8pPr marL="2400300">
              <a:defRPr>
                <a:latin typeface="+mn-lt"/>
                <a:ea typeface="+mn-ea"/>
                <a:cs typeface="+mn-cs"/>
              </a:defRPr>
            </a:lvl8pPr>
            <a:lvl9pPr marL="2743200">
              <a:defRPr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3107CA4-8F8F-493F-87E6-AEB26C86EBD0}" type="datetime'''''''9'''''''''''',''''0'''''''''''">
              <a:rPr lang="en-US" altLang="en-US" sz="1000" smtClean="0">
                <a:solidFill>
                  <a:srgbClr val="000000"/>
                </a:solidFill>
                <a:effectLst/>
                <a:sym typeface="+mn-lt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9,0</a:t>
            </a:fld>
            <a:endParaRPr lang="en-US" sz="10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73" name="Holder 3">
            <a:extLst>
              <a:ext uri="{FF2B5EF4-FFF2-40B4-BE49-F238E27FC236}">
                <a16:creationId xmlns:a16="http://schemas.microsoft.com/office/drawing/2014/main" id="{B9E53B15-29C3-476F-8FFD-98076E25E986}"/>
              </a:ext>
            </a:extLst>
          </p:cNvPr>
          <p:cNvSpPr>
            <a:spLocks noGrp="1"/>
          </p:cNvSpPr>
          <p:nvPr>
            <p:custDataLst>
              <p:tags r:id="rId22"/>
            </p:custDataLst>
          </p:nvPr>
        </p:nvSpPr>
        <p:spPr bwMode="gray">
          <a:xfrm>
            <a:off x="488715" y="4471704"/>
            <a:ext cx="1619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>
              <a:defRPr>
                <a:latin typeface="+mn-lt"/>
                <a:ea typeface="+mn-ea"/>
                <a:cs typeface="+mn-cs"/>
              </a:defRPr>
            </a:lvl2pPr>
            <a:lvl3pPr marL="685800">
              <a:defRPr>
                <a:latin typeface="+mn-lt"/>
                <a:ea typeface="+mn-ea"/>
                <a:cs typeface="+mn-cs"/>
              </a:defRPr>
            </a:lvl3pPr>
            <a:lvl4pPr marL="1028700">
              <a:defRPr>
                <a:latin typeface="+mn-lt"/>
                <a:ea typeface="+mn-ea"/>
                <a:cs typeface="+mn-cs"/>
              </a:defRPr>
            </a:lvl4pPr>
            <a:lvl5pPr marL="1371600">
              <a:defRPr>
                <a:latin typeface="+mn-lt"/>
                <a:ea typeface="+mn-ea"/>
                <a:cs typeface="+mn-cs"/>
              </a:defRPr>
            </a:lvl5pPr>
            <a:lvl6pPr marL="1714500">
              <a:defRPr>
                <a:latin typeface="+mn-lt"/>
                <a:ea typeface="+mn-ea"/>
                <a:cs typeface="+mn-cs"/>
              </a:defRPr>
            </a:lvl6pPr>
            <a:lvl7pPr marL="2057400">
              <a:defRPr>
                <a:latin typeface="+mn-lt"/>
                <a:ea typeface="+mn-ea"/>
                <a:cs typeface="+mn-cs"/>
              </a:defRPr>
            </a:lvl7pPr>
            <a:lvl8pPr marL="2400300">
              <a:defRPr>
                <a:latin typeface="+mn-lt"/>
                <a:ea typeface="+mn-ea"/>
                <a:cs typeface="+mn-cs"/>
              </a:defRPr>
            </a:lvl8pPr>
            <a:lvl9pPr marL="2743200">
              <a:defRPr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A6130AA-FFD7-4B1F-B123-F47B980ACA84}" type="datetime'''''''4'''''''''''''''''''''''''',''''''''''''''''''5'''">
              <a:rPr lang="en-US" altLang="en-US" sz="1000" smtClean="0">
                <a:solidFill>
                  <a:srgbClr val="000000"/>
                </a:solidFill>
                <a:effectLst/>
                <a:sym typeface="+mn-lt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4,5</a:t>
            </a:fld>
            <a:endParaRPr lang="en-US" sz="10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74" name="Holder 3">
            <a:extLst>
              <a:ext uri="{FF2B5EF4-FFF2-40B4-BE49-F238E27FC236}">
                <a16:creationId xmlns:a16="http://schemas.microsoft.com/office/drawing/2014/main" id="{C552F5EC-11F3-4B5C-BFBE-27F6FA4BE9B2}"/>
              </a:ext>
            </a:extLst>
          </p:cNvPr>
          <p:cNvSpPr>
            <a:spLocks noGrp="1"/>
          </p:cNvSpPr>
          <p:nvPr>
            <p:custDataLst>
              <p:tags r:id="rId23"/>
            </p:custDataLst>
          </p:nvPr>
        </p:nvSpPr>
        <p:spPr bwMode="gray">
          <a:xfrm>
            <a:off x="488715" y="2225391"/>
            <a:ext cx="1619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>
              <a:defRPr>
                <a:latin typeface="+mn-lt"/>
                <a:ea typeface="+mn-ea"/>
                <a:cs typeface="+mn-cs"/>
              </a:defRPr>
            </a:lvl2pPr>
            <a:lvl3pPr marL="685800">
              <a:defRPr>
                <a:latin typeface="+mn-lt"/>
                <a:ea typeface="+mn-ea"/>
                <a:cs typeface="+mn-cs"/>
              </a:defRPr>
            </a:lvl3pPr>
            <a:lvl4pPr marL="1028700">
              <a:defRPr>
                <a:latin typeface="+mn-lt"/>
                <a:ea typeface="+mn-ea"/>
                <a:cs typeface="+mn-cs"/>
              </a:defRPr>
            </a:lvl4pPr>
            <a:lvl5pPr marL="1371600">
              <a:defRPr>
                <a:latin typeface="+mn-lt"/>
                <a:ea typeface="+mn-ea"/>
                <a:cs typeface="+mn-cs"/>
              </a:defRPr>
            </a:lvl5pPr>
            <a:lvl6pPr marL="1714500">
              <a:defRPr>
                <a:latin typeface="+mn-lt"/>
                <a:ea typeface="+mn-ea"/>
                <a:cs typeface="+mn-cs"/>
              </a:defRPr>
            </a:lvl6pPr>
            <a:lvl7pPr marL="2057400">
              <a:defRPr>
                <a:latin typeface="+mn-lt"/>
                <a:ea typeface="+mn-ea"/>
                <a:cs typeface="+mn-cs"/>
              </a:defRPr>
            </a:lvl7pPr>
            <a:lvl8pPr marL="2400300">
              <a:defRPr>
                <a:latin typeface="+mn-lt"/>
                <a:ea typeface="+mn-ea"/>
                <a:cs typeface="+mn-cs"/>
              </a:defRPr>
            </a:lvl8pPr>
            <a:lvl9pPr marL="2743200">
              <a:defRPr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20426B1-7A16-46DD-A86B-9DAFF6129423}" type="datetime'''''''''''''''8'',''''''''''''''''''''''''''''''''5'''">
              <a:rPr lang="en-US" altLang="en-US" sz="1000" smtClean="0">
                <a:solidFill>
                  <a:srgbClr val="000000"/>
                </a:solidFill>
                <a:effectLst/>
                <a:sym typeface="+mn-lt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8,5</a:t>
            </a:fld>
            <a:endParaRPr lang="en-US" sz="10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75" name="Прямокутник 174">
            <a:extLst>
              <a:ext uri="{FF2B5EF4-FFF2-40B4-BE49-F238E27FC236}">
                <a16:creationId xmlns:a16="http://schemas.microsoft.com/office/drawing/2014/main" id="{B668A1CE-E9DD-44E1-9BF7-B8415ECC8608}"/>
              </a:ext>
            </a:extLst>
          </p:cNvPr>
          <p:cNvSpPr/>
          <p:nvPr>
            <p:custDataLst>
              <p:tags r:id="rId24"/>
            </p:custDataLst>
          </p:nvPr>
        </p:nvSpPr>
        <p:spPr bwMode="gray">
          <a:xfrm>
            <a:off x="488715" y="4190716"/>
            <a:ext cx="161925" cy="1365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lvl="0" algn="r" defTabSz="91440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fld id="{3AAED846-9D69-42CE-A66B-C0BA89B9CC13}" type="datetime'''''5'''''''''''''''''''''''''',''''''''0'''''''">
              <a:rPr lang="en-US" altLang="en-US" sz="1000" smtClean="0">
                <a:solidFill>
                  <a:srgbClr val="000000"/>
                </a:solidFill>
              </a:rPr>
              <a:pPr/>
              <a:t>5,0</a:t>
            </a:fld>
            <a:endParaRPr lang="uk-UA" sz="1000" strike="noStrike" normalizeH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176" name="Holder 3">
            <a:extLst>
              <a:ext uri="{FF2B5EF4-FFF2-40B4-BE49-F238E27FC236}">
                <a16:creationId xmlns:a16="http://schemas.microsoft.com/office/drawing/2014/main" id="{D56D5A0E-B0CC-41FD-88D4-34BD319882DA}"/>
              </a:ext>
            </a:extLst>
          </p:cNvPr>
          <p:cNvSpPr>
            <a:spLocks noGrp="1"/>
          </p:cNvSpPr>
          <p:nvPr>
            <p:custDataLst>
              <p:tags r:id="rId25"/>
            </p:custDataLst>
          </p:nvPr>
        </p:nvSpPr>
        <p:spPr bwMode="gray">
          <a:xfrm>
            <a:off x="488715" y="2787366"/>
            <a:ext cx="1619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>
              <a:defRPr>
                <a:latin typeface="+mn-lt"/>
                <a:ea typeface="+mn-ea"/>
                <a:cs typeface="+mn-cs"/>
              </a:defRPr>
            </a:lvl2pPr>
            <a:lvl3pPr marL="685800">
              <a:defRPr>
                <a:latin typeface="+mn-lt"/>
                <a:ea typeface="+mn-ea"/>
                <a:cs typeface="+mn-cs"/>
              </a:defRPr>
            </a:lvl3pPr>
            <a:lvl4pPr marL="1028700">
              <a:defRPr>
                <a:latin typeface="+mn-lt"/>
                <a:ea typeface="+mn-ea"/>
                <a:cs typeface="+mn-cs"/>
              </a:defRPr>
            </a:lvl4pPr>
            <a:lvl5pPr marL="1371600">
              <a:defRPr>
                <a:latin typeface="+mn-lt"/>
                <a:ea typeface="+mn-ea"/>
                <a:cs typeface="+mn-cs"/>
              </a:defRPr>
            </a:lvl5pPr>
            <a:lvl6pPr marL="1714500">
              <a:defRPr>
                <a:latin typeface="+mn-lt"/>
                <a:ea typeface="+mn-ea"/>
                <a:cs typeface="+mn-cs"/>
              </a:defRPr>
            </a:lvl6pPr>
            <a:lvl7pPr marL="2057400">
              <a:defRPr>
                <a:latin typeface="+mn-lt"/>
                <a:ea typeface="+mn-ea"/>
                <a:cs typeface="+mn-cs"/>
              </a:defRPr>
            </a:lvl7pPr>
            <a:lvl8pPr marL="2400300">
              <a:defRPr>
                <a:latin typeface="+mn-lt"/>
                <a:ea typeface="+mn-ea"/>
                <a:cs typeface="+mn-cs"/>
              </a:defRPr>
            </a:lvl8pPr>
            <a:lvl9pPr marL="2743200">
              <a:defRPr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57BB5A4-1C43-4D28-BB6E-49EC717505A0}" type="datetime'''''''''''''''''''''''''''''''7,''''''''''''''''''''''''''5'''">
              <a:rPr lang="en-US" altLang="en-US" sz="1000" smtClean="0">
                <a:solidFill>
                  <a:srgbClr val="000000"/>
                </a:solidFill>
                <a:effectLst/>
                <a:sym typeface="+mn-lt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7,5</a:t>
            </a:fld>
            <a:endParaRPr lang="en-US" sz="10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77" name="Holder 3">
            <a:extLst>
              <a:ext uri="{FF2B5EF4-FFF2-40B4-BE49-F238E27FC236}">
                <a16:creationId xmlns:a16="http://schemas.microsoft.com/office/drawing/2014/main" id="{085232D7-22AE-4873-AF70-C1B60E45C9F6}"/>
              </a:ext>
            </a:extLst>
          </p:cNvPr>
          <p:cNvSpPr>
            <a:spLocks noGrp="1"/>
          </p:cNvSpPr>
          <p:nvPr>
            <p:custDataLst>
              <p:tags r:id="rId26"/>
            </p:custDataLst>
          </p:nvPr>
        </p:nvSpPr>
        <p:spPr bwMode="gray">
          <a:xfrm>
            <a:off x="488715" y="2506379"/>
            <a:ext cx="1619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>
              <a:defRPr>
                <a:latin typeface="+mn-lt"/>
                <a:ea typeface="+mn-ea"/>
                <a:cs typeface="+mn-cs"/>
              </a:defRPr>
            </a:lvl2pPr>
            <a:lvl3pPr marL="685800">
              <a:defRPr>
                <a:latin typeface="+mn-lt"/>
                <a:ea typeface="+mn-ea"/>
                <a:cs typeface="+mn-cs"/>
              </a:defRPr>
            </a:lvl3pPr>
            <a:lvl4pPr marL="1028700">
              <a:defRPr>
                <a:latin typeface="+mn-lt"/>
                <a:ea typeface="+mn-ea"/>
                <a:cs typeface="+mn-cs"/>
              </a:defRPr>
            </a:lvl4pPr>
            <a:lvl5pPr marL="1371600">
              <a:defRPr>
                <a:latin typeface="+mn-lt"/>
                <a:ea typeface="+mn-ea"/>
                <a:cs typeface="+mn-cs"/>
              </a:defRPr>
            </a:lvl5pPr>
            <a:lvl6pPr marL="1714500">
              <a:defRPr>
                <a:latin typeface="+mn-lt"/>
                <a:ea typeface="+mn-ea"/>
                <a:cs typeface="+mn-cs"/>
              </a:defRPr>
            </a:lvl6pPr>
            <a:lvl7pPr marL="2057400">
              <a:defRPr>
                <a:latin typeface="+mn-lt"/>
                <a:ea typeface="+mn-ea"/>
                <a:cs typeface="+mn-cs"/>
              </a:defRPr>
            </a:lvl7pPr>
            <a:lvl8pPr marL="2400300">
              <a:defRPr>
                <a:latin typeface="+mn-lt"/>
                <a:ea typeface="+mn-ea"/>
                <a:cs typeface="+mn-cs"/>
              </a:defRPr>
            </a:lvl8pPr>
            <a:lvl9pPr marL="2743200">
              <a:defRPr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8085FAF-E3B9-42C8-ACBA-1B7EDFE3C0A1}" type="datetime'''''''8'''''''''''''''',''''''''''''''''''''0'''''''''''''">
              <a:rPr lang="en-US" altLang="en-US" sz="1000" smtClean="0">
                <a:solidFill>
                  <a:srgbClr val="000000"/>
                </a:solidFill>
                <a:effectLst/>
                <a:sym typeface="+mn-lt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8,0</a:t>
            </a:fld>
            <a:endParaRPr lang="en-US" sz="10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78" name="Holder 3">
            <a:extLst>
              <a:ext uri="{FF2B5EF4-FFF2-40B4-BE49-F238E27FC236}">
                <a16:creationId xmlns:a16="http://schemas.microsoft.com/office/drawing/2014/main" id="{149402C6-9C47-4877-BCB4-2ECD68266720}"/>
              </a:ext>
            </a:extLst>
          </p:cNvPr>
          <p:cNvSpPr>
            <a:spLocks noGrp="1"/>
          </p:cNvSpPr>
          <p:nvPr>
            <p:custDataLst>
              <p:tags r:id="rId27"/>
            </p:custDataLst>
          </p:nvPr>
        </p:nvSpPr>
        <p:spPr bwMode="gray">
          <a:xfrm>
            <a:off x="488715" y="4752691"/>
            <a:ext cx="1619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>
              <a:defRPr>
                <a:latin typeface="+mn-lt"/>
                <a:ea typeface="+mn-ea"/>
                <a:cs typeface="+mn-cs"/>
              </a:defRPr>
            </a:lvl2pPr>
            <a:lvl3pPr marL="685800">
              <a:defRPr>
                <a:latin typeface="+mn-lt"/>
                <a:ea typeface="+mn-ea"/>
                <a:cs typeface="+mn-cs"/>
              </a:defRPr>
            </a:lvl3pPr>
            <a:lvl4pPr marL="1028700">
              <a:defRPr>
                <a:latin typeface="+mn-lt"/>
                <a:ea typeface="+mn-ea"/>
                <a:cs typeface="+mn-cs"/>
              </a:defRPr>
            </a:lvl4pPr>
            <a:lvl5pPr marL="1371600">
              <a:defRPr>
                <a:latin typeface="+mn-lt"/>
                <a:ea typeface="+mn-ea"/>
                <a:cs typeface="+mn-cs"/>
              </a:defRPr>
            </a:lvl5pPr>
            <a:lvl6pPr marL="1714500">
              <a:defRPr>
                <a:latin typeface="+mn-lt"/>
                <a:ea typeface="+mn-ea"/>
                <a:cs typeface="+mn-cs"/>
              </a:defRPr>
            </a:lvl6pPr>
            <a:lvl7pPr marL="2057400">
              <a:defRPr>
                <a:latin typeface="+mn-lt"/>
                <a:ea typeface="+mn-ea"/>
                <a:cs typeface="+mn-cs"/>
              </a:defRPr>
            </a:lvl7pPr>
            <a:lvl8pPr marL="2400300">
              <a:defRPr>
                <a:latin typeface="+mn-lt"/>
                <a:ea typeface="+mn-ea"/>
                <a:cs typeface="+mn-cs"/>
              </a:defRPr>
            </a:lvl8pPr>
            <a:lvl9pPr marL="2743200">
              <a:defRPr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66F1D88-F784-4524-9249-E42409D61CBE}" type="datetime'''''''''''''''''''''''4'',''0'''">
              <a:rPr lang="en-US" altLang="en-US" sz="1000" smtClean="0">
                <a:solidFill>
                  <a:srgbClr val="000000"/>
                </a:solidFill>
                <a:effectLst/>
                <a:sym typeface="+mn-lt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4,0</a:t>
            </a:fld>
            <a:endParaRPr lang="en-US" sz="10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81" name="Holder 3">
            <a:extLst>
              <a:ext uri="{FF2B5EF4-FFF2-40B4-BE49-F238E27FC236}">
                <a16:creationId xmlns:a16="http://schemas.microsoft.com/office/drawing/2014/main" id="{8E42C3A0-470E-43F1-8D30-C5C3E4C622DF}"/>
              </a:ext>
            </a:extLst>
          </p:cNvPr>
          <p:cNvSpPr>
            <a:spLocks noGrp="1"/>
          </p:cNvSpPr>
          <p:nvPr>
            <p:custDataLst>
              <p:tags r:id="rId28"/>
            </p:custDataLst>
          </p:nvPr>
        </p:nvSpPr>
        <p:spPr bwMode="gray">
          <a:xfrm>
            <a:off x="488715" y="3909729"/>
            <a:ext cx="1619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>
              <a:defRPr>
                <a:latin typeface="+mn-lt"/>
                <a:ea typeface="+mn-ea"/>
                <a:cs typeface="+mn-cs"/>
              </a:defRPr>
            </a:lvl2pPr>
            <a:lvl3pPr marL="685800">
              <a:defRPr>
                <a:latin typeface="+mn-lt"/>
                <a:ea typeface="+mn-ea"/>
                <a:cs typeface="+mn-cs"/>
              </a:defRPr>
            </a:lvl3pPr>
            <a:lvl4pPr marL="1028700">
              <a:defRPr>
                <a:latin typeface="+mn-lt"/>
                <a:ea typeface="+mn-ea"/>
                <a:cs typeface="+mn-cs"/>
              </a:defRPr>
            </a:lvl4pPr>
            <a:lvl5pPr marL="1371600">
              <a:defRPr>
                <a:latin typeface="+mn-lt"/>
                <a:ea typeface="+mn-ea"/>
                <a:cs typeface="+mn-cs"/>
              </a:defRPr>
            </a:lvl5pPr>
            <a:lvl6pPr marL="1714500">
              <a:defRPr>
                <a:latin typeface="+mn-lt"/>
                <a:ea typeface="+mn-ea"/>
                <a:cs typeface="+mn-cs"/>
              </a:defRPr>
            </a:lvl6pPr>
            <a:lvl7pPr marL="2057400">
              <a:defRPr>
                <a:latin typeface="+mn-lt"/>
                <a:ea typeface="+mn-ea"/>
                <a:cs typeface="+mn-cs"/>
              </a:defRPr>
            </a:lvl7pPr>
            <a:lvl8pPr marL="2400300">
              <a:defRPr>
                <a:latin typeface="+mn-lt"/>
                <a:ea typeface="+mn-ea"/>
                <a:cs typeface="+mn-cs"/>
              </a:defRPr>
            </a:lvl8pPr>
            <a:lvl9pPr marL="2743200">
              <a:defRPr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09EEEDE-16AE-4351-99E7-4E56B6DBDD45}" type="datetime'''''''''''''''5'',5'''">
              <a:rPr lang="en-US" altLang="en-US" sz="1000" smtClean="0">
                <a:solidFill>
                  <a:srgbClr val="000000"/>
                </a:solidFill>
                <a:effectLst/>
                <a:sym typeface="+mn-lt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5,5</a:t>
            </a:fld>
            <a:endParaRPr lang="en-US" sz="10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82" name="Holder 3">
            <a:extLst>
              <a:ext uri="{FF2B5EF4-FFF2-40B4-BE49-F238E27FC236}">
                <a16:creationId xmlns:a16="http://schemas.microsoft.com/office/drawing/2014/main" id="{AA0E5F1F-D944-4E3E-933C-435B62669927}"/>
              </a:ext>
            </a:extLst>
          </p:cNvPr>
          <p:cNvSpPr>
            <a:spLocks noGrp="1"/>
          </p:cNvSpPr>
          <p:nvPr>
            <p:custDataLst>
              <p:tags r:id="rId29"/>
            </p:custDataLst>
          </p:nvPr>
        </p:nvSpPr>
        <p:spPr bwMode="gray">
          <a:xfrm>
            <a:off x="488715" y="3630329"/>
            <a:ext cx="1619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>
              <a:defRPr>
                <a:latin typeface="+mn-lt"/>
                <a:ea typeface="+mn-ea"/>
                <a:cs typeface="+mn-cs"/>
              </a:defRPr>
            </a:lvl2pPr>
            <a:lvl3pPr marL="685800">
              <a:defRPr>
                <a:latin typeface="+mn-lt"/>
                <a:ea typeface="+mn-ea"/>
                <a:cs typeface="+mn-cs"/>
              </a:defRPr>
            </a:lvl3pPr>
            <a:lvl4pPr marL="1028700">
              <a:defRPr>
                <a:latin typeface="+mn-lt"/>
                <a:ea typeface="+mn-ea"/>
                <a:cs typeface="+mn-cs"/>
              </a:defRPr>
            </a:lvl4pPr>
            <a:lvl5pPr marL="1371600">
              <a:defRPr>
                <a:latin typeface="+mn-lt"/>
                <a:ea typeface="+mn-ea"/>
                <a:cs typeface="+mn-cs"/>
              </a:defRPr>
            </a:lvl5pPr>
            <a:lvl6pPr marL="1714500">
              <a:defRPr>
                <a:latin typeface="+mn-lt"/>
                <a:ea typeface="+mn-ea"/>
                <a:cs typeface="+mn-cs"/>
              </a:defRPr>
            </a:lvl6pPr>
            <a:lvl7pPr marL="2057400">
              <a:defRPr>
                <a:latin typeface="+mn-lt"/>
                <a:ea typeface="+mn-ea"/>
                <a:cs typeface="+mn-cs"/>
              </a:defRPr>
            </a:lvl7pPr>
            <a:lvl8pPr marL="2400300">
              <a:defRPr>
                <a:latin typeface="+mn-lt"/>
                <a:ea typeface="+mn-ea"/>
                <a:cs typeface="+mn-cs"/>
              </a:defRPr>
            </a:lvl8pPr>
            <a:lvl9pPr marL="2743200">
              <a:defRPr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34B4F1A-8889-44D6-AA9A-7B94409581F3}" type="datetime'6'''''''''''',''''''''''''''''''0'">
              <a:rPr lang="en-US" altLang="en-US" sz="1000" smtClean="0">
                <a:solidFill>
                  <a:srgbClr val="000000"/>
                </a:solidFill>
                <a:effectLst/>
                <a:sym typeface="+mn-lt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6,0</a:t>
            </a:fld>
            <a:endParaRPr lang="en-US" sz="10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83" name="Holder 3">
            <a:extLst>
              <a:ext uri="{FF2B5EF4-FFF2-40B4-BE49-F238E27FC236}">
                <a16:creationId xmlns:a16="http://schemas.microsoft.com/office/drawing/2014/main" id="{A1AE8413-8F9D-4229-89C4-CF936A191C06}"/>
              </a:ext>
            </a:extLst>
          </p:cNvPr>
          <p:cNvSpPr>
            <a:spLocks noGrp="1"/>
          </p:cNvSpPr>
          <p:nvPr>
            <p:custDataLst>
              <p:tags r:id="rId30"/>
            </p:custDataLst>
          </p:nvPr>
        </p:nvSpPr>
        <p:spPr bwMode="gray">
          <a:xfrm>
            <a:off x="488715" y="5314666"/>
            <a:ext cx="1619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>
              <a:defRPr>
                <a:latin typeface="+mn-lt"/>
                <a:ea typeface="+mn-ea"/>
                <a:cs typeface="+mn-cs"/>
              </a:defRPr>
            </a:lvl2pPr>
            <a:lvl3pPr marL="685800">
              <a:defRPr>
                <a:latin typeface="+mn-lt"/>
                <a:ea typeface="+mn-ea"/>
                <a:cs typeface="+mn-cs"/>
              </a:defRPr>
            </a:lvl3pPr>
            <a:lvl4pPr marL="1028700">
              <a:defRPr>
                <a:latin typeface="+mn-lt"/>
                <a:ea typeface="+mn-ea"/>
                <a:cs typeface="+mn-cs"/>
              </a:defRPr>
            </a:lvl4pPr>
            <a:lvl5pPr marL="1371600">
              <a:defRPr>
                <a:latin typeface="+mn-lt"/>
                <a:ea typeface="+mn-ea"/>
                <a:cs typeface="+mn-cs"/>
              </a:defRPr>
            </a:lvl5pPr>
            <a:lvl6pPr marL="1714500">
              <a:defRPr>
                <a:latin typeface="+mn-lt"/>
                <a:ea typeface="+mn-ea"/>
                <a:cs typeface="+mn-cs"/>
              </a:defRPr>
            </a:lvl6pPr>
            <a:lvl7pPr marL="2057400">
              <a:defRPr>
                <a:latin typeface="+mn-lt"/>
                <a:ea typeface="+mn-ea"/>
                <a:cs typeface="+mn-cs"/>
              </a:defRPr>
            </a:lvl7pPr>
            <a:lvl8pPr marL="2400300">
              <a:defRPr>
                <a:latin typeface="+mn-lt"/>
                <a:ea typeface="+mn-ea"/>
                <a:cs typeface="+mn-cs"/>
              </a:defRPr>
            </a:lvl8pPr>
            <a:lvl9pPr marL="2743200">
              <a:defRPr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C263482-83F8-4427-ADF6-0E691B81768D}" type="datetime'''''3'''''''''''''''''''''''',''''''''''''''0'''''''''''''''''">
              <a:rPr lang="en-US" altLang="en-US" sz="1000" smtClean="0">
                <a:solidFill>
                  <a:srgbClr val="000000"/>
                </a:solidFill>
                <a:effectLst/>
                <a:sym typeface="+mn-lt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3,0</a:t>
            </a:fld>
            <a:endParaRPr lang="en-US" sz="10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84" name="Holder 3">
            <a:extLst>
              <a:ext uri="{FF2B5EF4-FFF2-40B4-BE49-F238E27FC236}">
                <a16:creationId xmlns:a16="http://schemas.microsoft.com/office/drawing/2014/main" id="{315FE5A1-373B-4E58-977B-C73E486554EE}"/>
              </a:ext>
            </a:extLst>
          </p:cNvPr>
          <p:cNvSpPr>
            <a:spLocks noGrp="1"/>
          </p:cNvSpPr>
          <p:nvPr>
            <p:custDataLst>
              <p:tags r:id="rId31"/>
            </p:custDataLst>
          </p:nvPr>
        </p:nvSpPr>
        <p:spPr bwMode="gray">
          <a:xfrm>
            <a:off x="488715" y="3349341"/>
            <a:ext cx="1619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>
              <a:defRPr>
                <a:latin typeface="+mn-lt"/>
                <a:ea typeface="+mn-ea"/>
                <a:cs typeface="+mn-cs"/>
              </a:defRPr>
            </a:lvl2pPr>
            <a:lvl3pPr marL="685800">
              <a:defRPr>
                <a:latin typeface="+mn-lt"/>
                <a:ea typeface="+mn-ea"/>
                <a:cs typeface="+mn-cs"/>
              </a:defRPr>
            </a:lvl3pPr>
            <a:lvl4pPr marL="1028700">
              <a:defRPr>
                <a:latin typeface="+mn-lt"/>
                <a:ea typeface="+mn-ea"/>
                <a:cs typeface="+mn-cs"/>
              </a:defRPr>
            </a:lvl4pPr>
            <a:lvl5pPr marL="1371600">
              <a:defRPr>
                <a:latin typeface="+mn-lt"/>
                <a:ea typeface="+mn-ea"/>
                <a:cs typeface="+mn-cs"/>
              </a:defRPr>
            </a:lvl5pPr>
            <a:lvl6pPr marL="1714500">
              <a:defRPr>
                <a:latin typeface="+mn-lt"/>
                <a:ea typeface="+mn-ea"/>
                <a:cs typeface="+mn-cs"/>
              </a:defRPr>
            </a:lvl6pPr>
            <a:lvl7pPr marL="2057400">
              <a:defRPr>
                <a:latin typeface="+mn-lt"/>
                <a:ea typeface="+mn-ea"/>
                <a:cs typeface="+mn-cs"/>
              </a:defRPr>
            </a:lvl7pPr>
            <a:lvl8pPr marL="2400300">
              <a:defRPr>
                <a:latin typeface="+mn-lt"/>
                <a:ea typeface="+mn-ea"/>
                <a:cs typeface="+mn-cs"/>
              </a:defRPr>
            </a:lvl8pPr>
            <a:lvl9pPr marL="2743200">
              <a:defRPr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934FE2E-E355-41B6-A3FB-E910C78A224E}" type="datetime'6'''''''''''''''''''''''''',''''''5'''''''''''''''''''''''''">
              <a:rPr lang="en-US" altLang="en-US" sz="1000" smtClean="0">
                <a:solidFill>
                  <a:srgbClr val="000000"/>
                </a:solidFill>
                <a:effectLst/>
                <a:sym typeface="+mn-lt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6,5</a:t>
            </a:fld>
            <a:endParaRPr lang="en-US" sz="10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185" name="Holder 3">
            <a:extLst>
              <a:ext uri="{FF2B5EF4-FFF2-40B4-BE49-F238E27FC236}">
                <a16:creationId xmlns:a16="http://schemas.microsoft.com/office/drawing/2014/main" id="{B03A49DE-35BC-47CD-B6C7-ED96E1A754E0}"/>
              </a:ext>
            </a:extLst>
          </p:cNvPr>
          <p:cNvSpPr>
            <a:spLocks noGrp="1"/>
          </p:cNvSpPr>
          <p:nvPr>
            <p:custDataLst>
              <p:tags r:id="rId32"/>
            </p:custDataLst>
          </p:nvPr>
        </p:nvSpPr>
        <p:spPr bwMode="gray">
          <a:xfrm>
            <a:off x="488715" y="3068354"/>
            <a:ext cx="161925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>
              <a:defRPr>
                <a:latin typeface="+mn-lt"/>
                <a:ea typeface="+mn-ea"/>
                <a:cs typeface="+mn-cs"/>
              </a:defRPr>
            </a:lvl2pPr>
            <a:lvl3pPr marL="685800">
              <a:defRPr>
                <a:latin typeface="+mn-lt"/>
                <a:ea typeface="+mn-ea"/>
                <a:cs typeface="+mn-cs"/>
              </a:defRPr>
            </a:lvl3pPr>
            <a:lvl4pPr marL="1028700">
              <a:defRPr>
                <a:latin typeface="+mn-lt"/>
                <a:ea typeface="+mn-ea"/>
                <a:cs typeface="+mn-cs"/>
              </a:defRPr>
            </a:lvl4pPr>
            <a:lvl5pPr marL="1371600">
              <a:defRPr>
                <a:latin typeface="+mn-lt"/>
                <a:ea typeface="+mn-ea"/>
                <a:cs typeface="+mn-cs"/>
              </a:defRPr>
            </a:lvl5pPr>
            <a:lvl6pPr marL="1714500">
              <a:defRPr>
                <a:latin typeface="+mn-lt"/>
                <a:ea typeface="+mn-ea"/>
                <a:cs typeface="+mn-cs"/>
              </a:defRPr>
            </a:lvl6pPr>
            <a:lvl7pPr marL="2057400">
              <a:defRPr>
                <a:latin typeface="+mn-lt"/>
                <a:ea typeface="+mn-ea"/>
                <a:cs typeface="+mn-cs"/>
              </a:defRPr>
            </a:lvl7pPr>
            <a:lvl8pPr marL="2400300">
              <a:defRPr>
                <a:latin typeface="+mn-lt"/>
                <a:ea typeface="+mn-ea"/>
                <a:cs typeface="+mn-cs"/>
              </a:defRPr>
            </a:lvl8pPr>
            <a:lvl9pPr marL="2743200">
              <a:defRPr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F2D7E83-5A67-4BE7-88F7-B1EC7AA4FDE7}" type="datetime'''''''''''''''''''''''7'''''''''',''''''''0'">
              <a:rPr lang="en-US" altLang="en-US" sz="1000" smtClean="0">
                <a:solidFill>
                  <a:srgbClr val="000000"/>
                </a:solidFill>
                <a:effectLst/>
                <a:sym typeface="+mn-lt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7,0</a:t>
            </a:fld>
            <a:endParaRPr lang="en-US" sz="1000" dirty="0">
              <a:solidFill>
                <a:srgbClr val="000000"/>
              </a:solidFill>
              <a:sym typeface="+mn-lt"/>
            </a:endParaRPr>
          </a:p>
        </p:txBody>
      </p:sp>
      <p:sp useBgFill="1">
        <p:nvSpPr>
          <p:cNvPr id="186" name="Полілінія: фігура 185">
            <a:extLst>
              <a:ext uri="{FF2B5EF4-FFF2-40B4-BE49-F238E27FC236}">
                <a16:creationId xmlns:a16="http://schemas.microsoft.com/office/drawing/2014/main" id="{D3263AF8-62E7-46E3-8657-8C027902A964}"/>
              </a:ext>
            </a:extLst>
          </p:cNvPr>
          <p:cNvSpPr/>
          <p:nvPr>
            <p:custDataLst>
              <p:tags r:id="rId33"/>
            </p:custDataLst>
          </p:nvPr>
        </p:nvSpPr>
        <p:spPr bwMode="auto">
          <a:xfrm>
            <a:off x="706202" y="5649629"/>
            <a:ext cx="146051" cy="96838"/>
          </a:xfrm>
          <a:custGeom>
            <a:avLst/>
            <a:gdLst/>
            <a:ahLst/>
            <a:cxnLst/>
            <a:rect l="0" t="0" r="0" b="0"/>
            <a:pathLst>
              <a:path w="146051" h="96838">
                <a:moveTo>
                  <a:pt x="0" y="39687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7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7" name="Полілінія: фігура 186">
            <a:extLst>
              <a:ext uri="{FF2B5EF4-FFF2-40B4-BE49-F238E27FC236}">
                <a16:creationId xmlns:a16="http://schemas.microsoft.com/office/drawing/2014/main" id="{849A27FB-7CD7-4E2A-A6D2-8493215B0195}"/>
              </a:ext>
            </a:extLst>
          </p:cNvPr>
          <p:cNvSpPr/>
          <p:nvPr>
            <p:custDataLst>
              <p:tags r:id="rId34"/>
            </p:custDataLst>
          </p:nvPr>
        </p:nvSpPr>
        <p:spPr bwMode="auto">
          <a:xfrm>
            <a:off x="706202" y="5649629"/>
            <a:ext cx="146051" cy="39688"/>
          </a:xfrm>
          <a:custGeom>
            <a:avLst/>
            <a:gdLst/>
            <a:ahLst/>
            <a:cxnLst/>
            <a:rect l="0" t="0" r="0" b="0"/>
            <a:pathLst>
              <a:path w="146051" h="39688">
                <a:moveTo>
                  <a:pt x="0" y="39687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89" name="Полілінія: фігура 188">
            <a:extLst>
              <a:ext uri="{FF2B5EF4-FFF2-40B4-BE49-F238E27FC236}">
                <a16:creationId xmlns:a16="http://schemas.microsoft.com/office/drawing/2014/main" id="{D51CD6B4-6815-41F5-AECA-39AB714175F9}"/>
              </a:ext>
            </a:extLst>
          </p:cNvPr>
          <p:cNvSpPr/>
          <p:nvPr>
            <p:custDataLst>
              <p:tags r:id="rId35"/>
            </p:custDataLst>
          </p:nvPr>
        </p:nvSpPr>
        <p:spPr bwMode="auto">
          <a:xfrm>
            <a:off x="706202" y="5706779"/>
            <a:ext cx="146051" cy="39688"/>
          </a:xfrm>
          <a:custGeom>
            <a:avLst/>
            <a:gdLst/>
            <a:ahLst/>
            <a:cxnLst/>
            <a:rect l="0" t="0" r="0" b="0"/>
            <a:pathLst>
              <a:path w="146051" h="39688">
                <a:moveTo>
                  <a:pt x="0" y="39687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192" name="Пряма сполучна лінія 191">
            <a:extLst>
              <a:ext uri="{FF2B5EF4-FFF2-40B4-BE49-F238E27FC236}">
                <a16:creationId xmlns:a16="http://schemas.microsoft.com/office/drawing/2014/main" id="{53DF95EE-840A-4738-90CA-3D9A7EBAED63}"/>
              </a:ext>
            </a:extLst>
          </p:cNvPr>
          <p:cNvCxnSpPr/>
          <p:nvPr>
            <p:custDataLst>
              <p:tags r:id="rId36"/>
            </p:custDataLst>
          </p:nvPr>
        </p:nvCxnSpPr>
        <p:spPr bwMode="auto">
          <a:xfrm>
            <a:off x="3962165" y="5482941"/>
            <a:ext cx="0" cy="103188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193" name="Пряма сполучна лінія 192">
            <a:extLst>
              <a:ext uri="{FF2B5EF4-FFF2-40B4-BE49-F238E27FC236}">
                <a16:creationId xmlns:a16="http://schemas.microsoft.com/office/drawing/2014/main" id="{6E50582E-1DAA-4387-85EF-D94904A5646A}"/>
              </a:ext>
            </a:extLst>
          </p:cNvPr>
          <p:cNvCxnSpPr/>
          <p:nvPr>
            <p:custDataLst>
              <p:tags r:id="rId37"/>
            </p:custDataLst>
          </p:nvPr>
        </p:nvCxnSpPr>
        <p:spPr bwMode="auto">
          <a:xfrm>
            <a:off x="3962165" y="3968465"/>
            <a:ext cx="0" cy="1390650"/>
          </a:xfrm>
          <a:prstGeom prst="line">
            <a:avLst/>
          </a:prstGeom>
          <a:ln w="2857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196" name="Holder 3">
            <a:extLst>
              <a:ext uri="{FF2B5EF4-FFF2-40B4-BE49-F238E27FC236}">
                <a16:creationId xmlns:a16="http://schemas.microsoft.com/office/drawing/2014/main" id="{C3AF6C98-27C0-423C-936E-C5FD046BB080}"/>
              </a:ext>
            </a:extLst>
          </p:cNvPr>
          <p:cNvSpPr>
            <a:spLocks noGrp="1"/>
          </p:cNvSpPr>
          <p:nvPr>
            <p:custDataLst>
              <p:tags r:id="rId38"/>
            </p:custDataLst>
          </p:nvPr>
        </p:nvSpPr>
        <p:spPr bwMode="gray">
          <a:xfrm>
            <a:off x="2106377" y="4671729"/>
            <a:ext cx="174625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5875" tIns="0" rIns="15875" bIns="0" numCol="1" spcCol="0" anchor="b" anchorCtr="0">
            <a:noAutofit/>
          </a:bodyPr>
          <a:lstStyle>
            <a:lvl1pPr marL="0"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>
              <a:defRPr>
                <a:latin typeface="+mn-lt"/>
                <a:ea typeface="+mn-ea"/>
                <a:cs typeface="+mn-cs"/>
              </a:defRPr>
            </a:lvl2pPr>
            <a:lvl3pPr marL="685800">
              <a:defRPr>
                <a:latin typeface="+mn-lt"/>
                <a:ea typeface="+mn-ea"/>
                <a:cs typeface="+mn-cs"/>
              </a:defRPr>
            </a:lvl3pPr>
            <a:lvl4pPr marL="1028700">
              <a:defRPr>
                <a:latin typeface="+mn-lt"/>
                <a:ea typeface="+mn-ea"/>
                <a:cs typeface="+mn-cs"/>
              </a:defRPr>
            </a:lvl4pPr>
            <a:lvl5pPr marL="1371600">
              <a:defRPr>
                <a:latin typeface="+mn-lt"/>
                <a:ea typeface="+mn-ea"/>
                <a:cs typeface="+mn-cs"/>
              </a:defRPr>
            </a:lvl5pPr>
            <a:lvl6pPr marL="1714500">
              <a:defRPr>
                <a:latin typeface="+mn-lt"/>
                <a:ea typeface="+mn-ea"/>
                <a:cs typeface="+mn-cs"/>
              </a:defRPr>
            </a:lvl6pPr>
            <a:lvl7pPr marL="2057400">
              <a:defRPr>
                <a:latin typeface="+mn-lt"/>
                <a:ea typeface="+mn-ea"/>
                <a:cs typeface="+mn-cs"/>
              </a:defRPr>
            </a:lvl7pPr>
            <a:lvl8pPr marL="2400300">
              <a:defRPr>
                <a:latin typeface="+mn-lt"/>
                <a:ea typeface="+mn-ea"/>
                <a:cs typeface="+mn-cs"/>
              </a:defRPr>
            </a:lvl8pPr>
            <a:lvl9pPr marL="2743200">
              <a:defRPr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2912ADA-7493-4814-97BD-6AC9E3CB8F82}" type="datetime'''''''''''''''''''3'''''''',''''''''''''9'">
              <a:rPr lang="en-US" altLang="en-US" sz="900" smtClean="0">
                <a:solidFill>
                  <a:schemeClr val="tx1"/>
                </a:solidFill>
                <a:sym typeface="+mn-lt"/>
              </a:rPr>
              <a:pPr/>
              <a:t>3,9</a:t>
            </a:fld>
            <a:endParaRPr lang="en-US" sz="9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97" name="Holder 3">
            <a:extLst>
              <a:ext uri="{FF2B5EF4-FFF2-40B4-BE49-F238E27FC236}">
                <a16:creationId xmlns:a16="http://schemas.microsoft.com/office/drawing/2014/main" id="{A4F6C17F-E84E-4576-B1F8-D564C9258DFE}"/>
              </a:ext>
            </a:extLst>
          </p:cNvPr>
          <p:cNvSpPr>
            <a:spLocks noGrp="1"/>
          </p:cNvSpPr>
          <p:nvPr>
            <p:custDataLst>
              <p:tags r:id="rId39"/>
            </p:custDataLst>
          </p:nvPr>
        </p:nvSpPr>
        <p:spPr bwMode="gray">
          <a:xfrm>
            <a:off x="1752365" y="4357404"/>
            <a:ext cx="174625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anchor="b" anchorCtr="0">
            <a:noAutofit/>
          </a:bodyPr>
          <a:lstStyle>
            <a:lvl1pPr marL="0"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>
              <a:defRPr>
                <a:latin typeface="+mn-lt"/>
                <a:ea typeface="+mn-ea"/>
                <a:cs typeface="+mn-cs"/>
              </a:defRPr>
            </a:lvl2pPr>
            <a:lvl3pPr marL="685800">
              <a:defRPr>
                <a:latin typeface="+mn-lt"/>
                <a:ea typeface="+mn-ea"/>
                <a:cs typeface="+mn-cs"/>
              </a:defRPr>
            </a:lvl3pPr>
            <a:lvl4pPr marL="1028700">
              <a:defRPr>
                <a:latin typeface="+mn-lt"/>
                <a:ea typeface="+mn-ea"/>
                <a:cs typeface="+mn-cs"/>
              </a:defRPr>
            </a:lvl4pPr>
            <a:lvl5pPr marL="1371600">
              <a:defRPr>
                <a:latin typeface="+mn-lt"/>
                <a:ea typeface="+mn-ea"/>
                <a:cs typeface="+mn-cs"/>
              </a:defRPr>
            </a:lvl5pPr>
            <a:lvl6pPr marL="1714500">
              <a:defRPr>
                <a:latin typeface="+mn-lt"/>
                <a:ea typeface="+mn-ea"/>
                <a:cs typeface="+mn-cs"/>
              </a:defRPr>
            </a:lvl6pPr>
            <a:lvl7pPr marL="2057400">
              <a:defRPr>
                <a:latin typeface="+mn-lt"/>
                <a:ea typeface="+mn-ea"/>
                <a:cs typeface="+mn-cs"/>
              </a:defRPr>
            </a:lvl7pPr>
            <a:lvl8pPr marL="2400300">
              <a:defRPr>
                <a:latin typeface="+mn-lt"/>
                <a:ea typeface="+mn-ea"/>
                <a:cs typeface="+mn-cs"/>
              </a:defRPr>
            </a:lvl8pPr>
            <a:lvl9pPr marL="2743200">
              <a:defRPr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3861634-61AA-4EBD-B0C3-409EA3B8528F}" type="datetime'''4'''''''''''''''''''''''''''''''''',''''''''4'''''''''''''''">
              <a:rPr lang="en-US" altLang="en-US" sz="900" smtClean="0">
                <a:solidFill>
                  <a:schemeClr val="tx1"/>
                </a:solidFill>
                <a:sym typeface="+mn-lt"/>
              </a:rPr>
              <a:pPr/>
              <a:t>4,4</a:t>
            </a:fld>
            <a:endParaRPr lang="en-US" sz="9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198" name="Holder 3">
            <a:extLst>
              <a:ext uri="{FF2B5EF4-FFF2-40B4-BE49-F238E27FC236}">
                <a16:creationId xmlns:a16="http://schemas.microsoft.com/office/drawing/2014/main" id="{D73C52EC-0A98-4339-8A23-6908645ACB76}"/>
              </a:ext>
            </a:extLst>
          </p:cNvPr>
          <p:cNvSpPr>
            <a:spLocks noGrp="1"/>
          </p:cNvSpPr>
          <p:nvPr>
            <p:custDataLst>
              <p:tags r:id="rId40"/>
            </p:custDataLst>
          </p:nvPr>
        </p:nvSpPr>
        <p:spPr bwMode="gray">
          <a:xfrm>
            <a:off x="4227277" y="2406366"/>
            <a:ext cx="174625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txBody>
          <a:bodyPr vert="horz" wrap="none" lIns="15875" tIns="0" rIns="15875" bIns="0" numCol="1" spcCol="0" anchor="b" anchorCtr="0">
            <a:noAutofit/>
          </a:bodyPr>
          <a:lstStyle>
            <a:lvl1pPr marL="0"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>
              <a:defRPr>
                <a:latin typeface="+mn-lt"/>
                <a:ea typeface="+mn-ea"/>
                <a:cs typeface="+mn-cs"/>
              </a:defRPr>
            </a:lvl2pPr>
            <a:lvl3pPr marL="685800">
              <a:defRPr>
                <a:latin typeface="+mn-lt"/>
                <a:ea typeface="+mn-ea"/>
                <a:cs typeface="+mn-cs"/>
              </a:defRPr>
            </a:lvl3pPr>
            <a:lvl4pPr marL="1028700">
              <a:defRPr>
                <a:latin typeface="+mn-lt"/>
                <a:ea typeface="+mn-ea"/>
                <a:cs typeface="+mn-cs"/>
              </a:defRPr>
            </a:lvl4pPr>
            <a:lvl5pPr marL="1371600">
              <a:defRPr>
                <a:latin typeface="+mn-lt"/>
                <a:ea typeface="+mn-ea"/>
                <a:cs typeface="+mn-cs"/>
              </a:defRPr>
            </a:lvl5pPr>
            <a:lvl6pPr marL="1714500">
              <a:defRPr>
                <a:latin typeface="+mn-lt"/>
                <a:ea typeface="+mn-ea"/>
                <a:cs typeface="+mn-cs"/>
              </a:defRPr>
            </a:lvl6pPr>
            <a:lvl7pPr marL="2057400">
              <a:defRPr>
                <a:latin typeface="+mn-lt"/>
                <a:ea typeface="+mn-ea"/>
                <a:cs typeface="+mn-cs"/>
              </a:defRPr>
            </a:lvl7pPr>
            <a:lvl8pPr marL="2400300">
              <a:defRPr>
                <a:latin typeface="+mn-lt"/>
                <a:ea typeface="+mn-ea"/>
                <a:cs typeface="+mn-cs"/>
              </a:defRPr>
            </a:lvl8pPr>
            <a:lvl9pPr marL="2743200">
              <a:defRPr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8673A09-4A55-4C54-89C9-EDD863C087F0}" type="datetime'''''''''''''8'''''',0'''''''''''''''''''''''''">
              <a:rPr lang="en-US" altLang="en-US" sz="900" smtClean="0">
                <a:solidFill>
                  <a:schemeClr val="tx1"/>
                </a:solidFill>
                <a:sym typeface="+mn-lt"/>
              </a:rPr>
              <a:pPr/>
              <a:t>8,0</a:t>
            </a:fld>
            <a:endParaRPr lang="en-US" sz="9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00" name="Місце для тексту 2">
            <a:extLst>
              <a:ext uri="{FF2B5EF4-FFF2-40B4-BE49-F238E27FC236}">
                <a16:creationId xmlns:a16="http://schemas.microsoft.com/office/drawing/2014/main" id="{E08FFF04-2C69-4E49-968A-3AFC892F36BC}"/>
              </a:ext>
            </a:extLst>
          </p:cNvPr>
          <p:cNvSpPr>
            <a:spLocks noGrp="1"/>
          </p:cNvSpPr>
          <p:nvPr>
            <p:custDataLst>
              <p:tags r:id="rId41"/>
            </p:custDataLst>
          </p:nvPr>
        </p:nvSpPr>
        <p:spPr bwMode="auto">
          <a:xfrm>
            <a:off x="1755540" y="5805204"/>
            <a:ext cx="16986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000" dirty="0">
                <a:solidFill>
                  <a:srgbClr val="000000"/>
                </a:solidFill>
              </a:rPr>
              <a:t>Apr</a:t>
            </a:r>
            <a:endParaRPr kumimoji="0" lang="uk-UA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203" name="Holder 3">
            <a:extLst>
              <a:ext uri="{FF2B5EF4-FFF2-40B4-BE49-F238E27FC236}">
                <a16:creationId xmlns:a16="http://schemas.microsoft.com/office/drawing/2014/main" id="{3DE46D43-B262-4469-BB4F-8D7AA61B926D}"/>
              </a:ext>
            </a:extLst>
          </p:cNvPr>
          <p:cNvSpPr>
            <a:spLocks noGrp="1"/>
          </p:cNvSpPr>
          <p:nvPr>
            <p:custDataLst>
              <p:tags r:id="rId42"/>
            </p:custDataLst>
          </p:nvPr>
        </p:nvSpPr>
        <p:spPr bwMode="gray">
          <a:xfrm>
            <a:off x="1398352" y="4243104"/>
            <a:ext cx="174625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5875" tIns="0" rIns="15875" bIns="0" numCol="1" spcCol="0" anchor="b" anchorCtr="0">
            <a:noAutofit/>
          </a:bodyPr>
          <a:lstStyle>
            <a:lvl1pPr marL="0"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>
              <a:defRPr>
                <a:latin typeface="+mn-lt"/>
                <a:ea typeface="+mn-ea"/>
                <a:cs typeface="+mn-cs"/>
              </a:defRPr>
            </a:lvl2pPr>
            <a:lvl3pPr marL="685800">
              <a:defRPr>
                <a:latin typeface="+mn-lt"/>
                <a:ea typeface="+mn-ea"/>
                <a:cs typeface="+mn-cs"/>
              </a:defRPr>
            </a:lvl3pPr>
            <a:lvl4pPr marL="1028700">
              <a:defRPr>
                <a:latin typeface="+mn-lt"/>
                <a:ea typeface="+mn-ea"/>
                <a:cs typeface="+mn-cs"/>
              </a:defRPr>
            </a:lvl4pPr>
            <a:lvl5pPr marL="1371600">
              <a:defRPr>
                <a:latin typeface="+mn-lt"/>
                <a:ea typeface="+mn-ea"/>
                <a:cs typeface="+mn-cs"/>
              </a:defRPr>
            </a:lvl5pPr>
            <a:lvl6pPr marL="1714500">
              <a:defRPr>
                <a:latin typeface="+mn-lt"/>
                <a:ea typeface="+mn-ea"/>
                <a:cs typeface="+mn-cs"/>
              </a:defRPr>
            </a:lvl6pPr>
            <a:lvl7pPr marL="2057400">
              <a:defRPr>
                <a:latin typeface="+mn-lt"/>
                <a:ea typeface="+mn-ea"/>
                <a:cs typeface="+mn-cs"/>
              </a:defRPr>
            </a:lvl7pPr>
            <a:lvl8pPr marL="2400300">
              <a:defRPr>
                <a:latin typeface="+mn-lt"/>
                <a:ea typeface="+mn-ea"/>
                <a:cs typeface="+mn-cs"/>
              </a:defRPr>
            </a:lvl8pPr>
            <a:lvl9pPr marL="2743200">
              <a:defRPr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DF99537-2E8F-452B-B554-9598C2756BAE}" type="datetime'''4'''''''''''''',''''''''''''6'''''''''''''''">
              <a:rPr lang="en-US" altLang="en-US" sz="900" smtClean="0">
                <a:solidFill>
                  <a:schemeClr val="tx1"/>
                </a:solidFill>
                <a:sym typeface="+mn-lt"/>
              </a:rPr>
              <a:pPr/>
              <a:t>4,6</a:t>
            </a:fld>
            <a:endParaRPr lang="en-US" sz="900" dirty="0">
              <a:solidFill>
                <a:schemeClr val="tx1"/>
              </a:solidFill>
              <a:sym typeface="+mn-lt"/>
            </a:endParaRPr>
          </a:p>
        </p:txBody>
      </p:sp>
      <p:sp useBgFill="1">
        <p:nvSpPr>
          <p:cNvPr id="207" name="Holder 3">
            <a:extLst>
              <a:ext uri="{FF2B5EF4-FFF2-40B4-BE49-F238E27FC236}">
                <a16:creationId xmlns:a16="http://schemas.microsoft.com/office/drawing/2014/main" id="{C3DC98B8-385F-4544-8141-BCDE3A0CFA90}"/>
              </a:ext>
            </a:extLst>
          </p:cNvPr>
          <p:cNvSpPr>
            <a:spLocks noGrp="1"/>
          </p:cNvSpPr>
          <p:nvPr>
            <p:custDataLst>
              <p:tags r:id="rId43"/>
            </p:custDataLst>
          </p:nvPr>
        </p:nvSpPr>
        <p:spPr bwMode="gray">
          <a:xfrm>
            <a:off x="807802" y="5414679"/>
            <a:ext cx="174625" cy="1238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5875" tIns="0" rIns="15875" bIns="0" numCol="1" spcCol="0" anchor="b" anchorCtr="0">
            <a:noAutofit/>
          </a:bodyPr>
          <a:lstStyle>
            <a:lvl1pPr marL="0"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>
              <a:defRPr>
                <a:latin typeface="+mn-lt"/>
                <a:ea typeface="+mn-ea"/>
                <a:cs typeface="+mn-cs"/>
              </a:defRPr>
            </a:lvl2pPr>
            <a:lvl3pPr marL="685800">
              <a:defRPr>
                <a:latin typeface="+mn-lt"/>
                <a:ea typeface="+mn-ea"/>
                <a:cs typeface="+mn-cs"/>
              </a:defRPr>
            </a:lvl3pPr>
            <a:lvl4pPr marL="1028700">
              <a:defRPr>
                <a:latin typeface="+mn-lt"/>
                <a:ea typeface="+mn-ea"/>
                <a:cs typeface="+mn-cs"/>
              </a:defRPr>
            </a:lvl4pPr>
            <a:lvl5pPr marL="1371600">
              <a:defRPr>
                <a:latin typeface="+mn-lt"/>
                <a:ea typeface="+mn-ea"/>
                <a:cs typeface="+mn-cs"/>
              </a:defRPr>
            </a:lvl5pPr>
            <a:lvl6pPr marL="1714500">
              <a:defRPr>
                <a:latin typeface="+mn-lt"/>
                <a:ea typeface="+mn-ea"/>
                <a:cs typeface="+mn-cs"/>
              </a:defRPr>
            </a:lvl6pPr>
            <a:lvl7pPr marL="2057400">
              <a:defRPr>
                <a:latin typeface="+mn-lt"/>
                <a:ea typeface="+mn-ea"/>
                <a:cs typeface="+mn-cs"/>
              </a:defRPr>
            </a:lvl7pPr>
            <a:lvl8pPr marL="2400300">
              <a:defRPr>
                <a:latin typeface="+mn-lt"/>
                <a:ea typeface="+mn-ea"/>
                <a:cs typeface="+mn-cs"/>
              </a:defRPr>
            </a:lvl8pPr>
            <a:lvl9pPr marL="2743200">
              <a:defRPr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FE00360-CFA0-4F0E-A8A4-6D749DE98E9F}" type="datetime'''''''''2'''''''''''''''''''''''',''''''''''5'''''''">
              <a:rPr lang="en-US" altLang="en-US" sz="900" smtClean="0">
                <a:solidFill>
                  <a:schemeClr val="tx1"/>
                </a:solidFill>
                <a:sym typeface="+mn-lt"/>
              </a:rPr>
              <a:pPr/>
              <a:t>2,5</a:t>
            </a:fld>
            <a:endParaRPr lang="en-US" sz="9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09" name="Holder 3">
            <a:extLst>
              <a:ext uri="{FF2B5EF4-FFF2-40B4-BE49-F238E27FC236}">
                <a16:creationId xmlns:a16="http://schemas.microsoft.com/office/drawing/2014/main" id="{1151CD2B-46C2-484B-9B6A-99D1D7798E05}"/>
              </a:ext>
            </a:extLst>
          </p:cNvPr>
          <p:cNvSpPr>
            <a:spLocks noGrp="1"/>
          </p:cNvSpPr>
          <p:nvPr>
            <p:custDataLst>
              <p:tags r:id="rId44"/>
            </p:custDataLst>
          </p:nvPr>
        </p:nvSpPr>
        <p:spPr bwMode="gray">
          <a:xfrm>
            <a:off x="1752365" y="2849279"/>
            <a:ext cx="174625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5875" tIns="0" rIns="15875" bIns="0" numCol="1" spcCol="0" anchor="b" anchorCtr="0">
            <a:noAutofit/>
          </a:bodyPr>
          <a:lstStyle>
            <a:lvl1pPr marL="0"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>
              <a:defRPr>
                <a:latin typeface="+mn-lt"/>
                <a:ea typeface="+mn-ea"/>
                <a:cs typeface="+mn-cs"/>
              </a:defRPr>
            </a:lvl2pPr>
            <a:lvl3pPr marL="685800">
              <a:defRPr>
                <a:latin typeface="+mn-lt"/>
                <a:ea typeface="+mn-ea"/>
                <a:cs typeface="+mn-cs"/>
              </a:defRPr>
            </a:lvl3pPr>
            <a:lvl4pPr marL="1028700">
              <a:defRPr>
                <a:latin typeface="+mn-lt"/>
                <a:ea typeface="+mn-ea"/>
                <a:cs typeface="+mn-cs"/>
              </a:defRPr>
            </a:lvl4pPr>
            <a:lvl5pPr marL="1371600">
              <a:defRPr>
                <a:latin typeface="+mn-lt"/>
                <a:ea typeface="+mn-ea"/>
                <a:cs typeface="+mn-cs"/>
              </a:defRPr>
            </a:lvl5pPr>
            <a:lvl6pPr marL="1714500">
              <a:defRPr>
                <a:latin typeface="+mn-lt"/>
                <a:ea typeface="+mn-ea"/>
                <a:cs typeface="+mn-cs"/>
              </a:defRPr>
            </a:lvl6pPr>
            <a:lvl7pPr marL="2057400">
              <a:defRPr>
                <a:latin typeface="+mn-lt"/>
                <a:ea typeface="+mn-ea"/>
                <a:cs typeface="+mn-cs"/>
              </a:defRPr>
            </a:lvl7pPr>
            <a:lvl8pPr marL="2400300">
              <a:defRPr>
                <a:latin typeface="+mn-lt"/>
                <a:ea typeface="+mn-ea"/>
                <a:cs typeface="+mn-cs"/>
              </a:defRPr>
            </a:lvl8pPr>
            <a:lvl9pPr marL="2743200">
              <a:defRPr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0BC5ABB-FBB8-4437-86A0-AF886129864C}" type="datetime'''''''''''''''''''''7'''''''''''',''''''''2'''''''''''''''">
              <a:rPr lang="en-US" altLang="en-US" sz="900" smtClean="0">
                <a:solidFill>
                  <a:schemeClr val="tx1"/>
                </a:solidFill>
                <a:sym typeface="+mn-lt"/>
              </a:rPr>
              <a:pPr/>
              <a:t>7,2</a:t>
            </a:fld>
            <a:endParaRPr lang="en-US" sz="9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10" name="Holder 3">
            <a:extLst>
              <a:ext uri="{FF2B5EF4-FFF2-40B4-BE49-F238E27FC236}">
                <a16:creationId xmlns:a16="http://schemas.microsoft.com/office/drawing/2014/main" id="{5CC90350-1CA2-4BDF-83FC-63AD1170100D}"/>
              </a:ext>
            </a:extLst>
          </p:cNvPr>
          <p:cNvSpPr>
            <a:spLocks noGrp="1"/>
          </p:cNvSpPr>
          <p:nvPr>
            <p:custDataLst>
              <p:tags r:id="rId45"/>
            </p:custDataLst>
          </p:nvPr>
        </p:nvSpPr>
        <p:spPr bwMode="gray">
          <a:xfrm>
            <a:off x="2812815" y="4063716"/>
            <a:ext cx="174625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5875" tIns="0" rIns="15875" bIns="0" numCol="1" spcCol="0" anchor="b" anchorCtr="0">
            <a:noAutofit/>
          </a:bodyPr>
          <a:lstStyle>
            <a:lvl1pPr marL="0"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>
              <a:defRPr>
                <a:latin typeface="+mn-lt"/>
                <a:ea typeface="+mn-ea"/>
                <a:cs typeface="+mn-cs"/>
              </a:defRPr>
            </a:lvl2pPr>
            <a:lvl3pPr marL="685800">
              <a:defRPr>
                <a:latin typeface="+mn-lt"/>
                <a:ea typeface="+mn-ea"/>
                <a:cs typeface="+mn-cs"/>
              </a:defRPr>
            </a:lvl3pPr>
            <a:lvl4pPr marL="1028700">
              <a:defRPr>
                <a:latin typeface="+mn-lt"/>
                <a:ea typeface="+mn-ea"/>
                <a:cs typeface="+mn-cs"/>
              </a:defRPr>
            </a:lvl4pPr>
            <a:lvl5pPr marL="1371600">
              <a:defRPr>
                <a:latin typeface="+mn-lt"/>
                <a:ea typeface="+mn-ea"/>
                <a:cs typeface="+mn-cs"/>
              </a:defRPr>
            </a:lvl5pPr>
            <a:lvl6pPr marL="1714500">
              <a:defRPr>
                <a:latin typeface="+mn-lt"/>
                <a:ea typeface="+mn-ea"/>
                <a:cs typeface="+mn-cs"/>
              </a:defRPr>
            </a:lvl6pPr>
            <a:lvl7pPr marL="2057400">
              <a:defRPr>
                <a:latin typeface="+mn-lt"/>
                <a:ea typeface="+mn-ea"/>
                <a:cs typeface="+mn-cs"/>
              </a:defRPr>
            </a:lvl7pPr>
            <a:lvl8pPr marL="2400300">
              <a:defRPr>
                <a:latin typeface="+mn-lt"/>
                <a:ea typeface="+mn-ea"/>
                <a:cs typeface="+mn-cs"/>
              </a:defRPr>
            </a:lvl8pPr>
            <a:lvl9pPr marL="2743200">
              <a:defRPr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16BC368-A009-458A-A114-8C61667D9C70}" type="datetime'''''''''''''''''''''''5'''''''''''''''''''''''''',''0'''">
              <a:rPr lang="en-US" altLang="en-US" sz="900" smtClean="0">
                <a:solidFill>
                  <a:schemeClr val="tx1"/>
                </a:solidFill>
                <a:sym typeface="+mn-lt"/>
              </a:rPr>
              <a:pPr/>
              <a:t>5,0</a:t>
            </a:fld>
            <a:endParaRPr lang="en-US" sz="9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11" name="Місце для тексту 2">
            <a:extLst>
              <a:ext uri="{FF2B5EF4-FFF2-40B4-BE49-F238E27FC236}">
                <a16:creationId xmlns:a16="http://schemas.microsoft.com/office/drawing/2014/main" id="{0C021D5A-82FF-4B55-933A-D76A4B0520D7}"/>
              </a:ext>
            </a:extLst>
          </p:cNvPr>
          <p:cNvSpPr>
            <a:spLocks noGrp="1"/>
          </p:cNvSpPr>
          <p:nvPr>
            <p:custDataLst>
              <p:tags r:id="rId46"/>
            </p:custDataLst>
          </p:nvPr>
        </p:nvSpPr>
        <p:spPr bwMode="auto">
          <a:xfrm>
            <a:off x="2093677" y="5805204"/>
            <a:ext cx="2016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000" dirty="0">
                <a:solidFill>
                  <a:srgbClr val="000000"/>
                </a:solidFill>
              </a:rPr>
              <a:t>May</a:t>
            </a:r>
            <a:endParaRPr kumimoji="0" lang="uk-UA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212" name="Holder 3">
            <a:extLst>
              <a:ext uri="{FF2B5EF4-FFF2-40B4-BE49-F238E27FC236}">
                <a16:creationId xmlns:a16="http://schemas.microsoft.com/office/drawing/2014/main" id="{A7A847DD-F86F-42A3-B91D-EE88B53AE788}"/>
              </a:ext>
            </a:extLst>
          </p:cNvPr>
          <p:cNvSpPr>
            <a:spLocks noGrp="1"/>
          </p:cNvSpPr>
          <p:nvPr>
            <p:custDataLst>
              <p:tags r:id="rId47"/>
            </p:custDataLst>
          </p:nvPr>
        </p:nvSpPr>
        <p:spPr bwMode="gray">
          <a:xfrm>
            <a:off x="3166827" y="4678079"/>
            <a:ext cx="174625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5875" tIns="0" rIns="15875" bIns="0" numCol="1" spcCol="0" anchor="b" anchorCtr="0">
            <a:noAutofit/>
          </a:bodyPr>
          <a:lstStyle>
            <a:lvl1pPr marL="0"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>
              <a:defRPr>
                <a:latin typeface="+mn-lt"/>
                <a:ea typeface="+mn-ea"/>
                <a:cs typeface="+mn-cs"/>
              </a:defRPr>
            </a:lvl2pPr>
            <a:lvl3pPr marL="685800">
              <a:defRPr>
                <a:latin typeface="+mn-lt"/>
                <a:ea typeface="+mn-ea"/>
                <a:cs typeface="+mn-cs"/>
              </a:defRPr>
            </a:lvl3pPr>
            <a:lvl4pPr marL="1028700">
              <a:defRPr>
                <a:latin typeface="+mn-lt"/>
                <a:ea typeface="+mn-ea"/>
                <a:cs typeface="+mn-cs"/>
              </a:defRPr>
            </a:lvl4pPr>
            <a:lvl5pPr marL="1371600">
              <a:defRPr>
                <a:latin typeface="+mn-lt"/>
                <a:ea typeface="+mn-ea"/>
                <a:cs typeface="+mn-cs"/>
              </a:defRPr>
            </a:lvl5pPr>
            <a:lvl6pPr marL="1714500">
              <a:defRPr>
                <a:latin typeface="+mn-lt"/>
                <a:ea typeface="+mn-ea"/>
                <a:cs typeface="+mn-cs"/>
              </a:defRPr>
            </a:lvl6pPr>
            <a:lvl7pPr marL="2057400">
              <a:defRPr>
                <a:latin typeface="+mn-lt"/>
                <a:ea typeface="+mn-ea"/>
                <a:cs typeface="+mn-cs"/>
              </a:defRPr>
            </a:lvl7pPr>
            <a:lvl8pPr marL="2400300">
              <a:defRPr>
                <a:latin typeface="+mn-lt"/>
                <a:ea typeface="+mn-ea"/>
                <a:cs typeface="+mn-cs"/>
              </a:defRPr>
            </a:lvl8pPr>
            <a:lvl9pPr marL="2743200">
              <a:defRPr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BB836B8-5D34-413F-BC88-6BEDDBE1F637}" type="datetime'''''''''3'''''',''''''''''''''''''''''''''''''8'''''''''">
              <a:rPr lang="en-US" altLang="en-US" sz="900" smtClean="0">
                <a:solidFill>
                  <a:schemeClr val="tx1"/>
                </a:solidFill>
                <a:sym typeface="+mn-lt"/>
              </a:rPr>
              <a:pPr/>
              <a:t>3,8</a:t>
            </a:fld>
            <a:endParaRPr lang="en-US" sz="9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15" name="Holder 3">
            <a:extLst>
              <a:ext uri="{FF2B5EF4-FFF2-40B4-BE49-F238E27FC236}">
                <a16:creationId xmlns:a16="http://schemas.microsoft.com/office/drawing/2014/main" id="{69C16E8B-2F1D-49CF-BBDD-20D00C86292F}"/>
              </a:ext>
            </a:extLst>
          </p:cNvPr>
          <p:cNvSpPr>
            <a:spLocks noGrp="1"/>
          </p:cNvSpPr>
          <p:nvPr>
            <p:custDataLst>
              <p:tags r:id="rId48"/>
            </p:custDataLst>
          </p:nvPr>
        </p:nvSpPr>
        <p:spPr bwMode="gray">
          <a:xfrm>
            <a:off x="3166827" y="2768316"/>
            <a:ext cx="174625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5875" tIns="0" rIns="15875" bIns="0" numCol="1" spcCol="0" anchor="b" anchorCtr="0">
            <a:noAutofit/>
          </a:bodyPr>
          <a:lstStyle>
            <a:lvl1pPr marL="0"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>
              <a:defRPr>
                <a:latin typeface="+mn-lt"/>
                <a:ea typeface="+mn-ea"/>
                <a:cs typeface="+mn-cs"/>
              </a:defRPr>
            </a:lvl2pPr>
            <a:lvl3pPr marL="685800">
              <a:defRPr>
                <a:latin typeface="+mn-lt"/>
                <a:ea typeface="+mn-ea"/>
                <a:cs typeface="+mn-cs"/>
              </a:defRPr>
            </a:lvl3pPr>
            <a:lvl4pPr marL="1028700">
              <a:defRPr>
                <a:latin typeface="+mn-lt"/>
                <a:ea typeface="+mn-ea"/>
                <a:cs typeface="+mn-cs"/>
              </a:defRPr>
            </a:lvl4pPr>
            <a:lvl5pPr marL="1371600">
              <a:defRPr>
                <a:latin typeface="+mn-lt"/>
                <a:ea typeface="+mn-ea"/>
                <a:cs typeface="+mn-cs"/>
              </a:defRPr>
            </a:lvl5pPr>
            <a:lvl6pPr marL="1714500">
              <a:defRPr>
                <a:latin typeface="+mn-lt"/>
                <a:ea typeface="+mn-ea"/>
                <a:cs typeface="+mn-cs"/>
              </a:defRPr>
            </a:lvl6pPr>
            <a:lvl7pPr marL="2057400">
              <a:defRPr>
                <a:latin typeface="+mn-lt"/>
                <a:ea typeface="+mn-ea"/>
                <a:cs typeface="+mn-cs"/>
              </a:defRPr>
            </a:lvl7pPr>
            <a:lvl8pPr marL="2400300">
              <a:defRPr>
                <a:latin typeface="+mn-lt"/>
                <a:ea typeface="+mn-ea"/>
                <a:cs typeface="+mn-cs"/>
              </a:defRPr>
            </a:lvl8pPr>
            <a:lvl9pPr marL="2743200">
              <a:defRPr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0CF6D8E-0583-4843-B6C3-FE2DF4FC7119}" type="datetime'''''''''''''''7'''''',''''''''3'''">
              <a:rPr lang="en-US" altLang="en-US" sz="900" smtClean="0">
                <a:solidFill>
                  <a:schemeClr val="tx1"/>
                </a:solidFill>
                <a:sym typeface="+mn-lt"/>
              </a:rPr>
              <a:pPr/>
              <a:t>7,3</a:t>
            </a:fld>
            <a:endParaRPr lang="en-US" sz="9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16" name="Holder 3">
            <a:extLst>
              <a:ext uri="{FF2B5EF4-FFF2-40B4-BE49-F238E27FC236}">
                <a16:creationId xmlns:a16="http://schemas.microsoft.com/office/drawing/2014/main" id="{70CA159A-C2AC-4331-A7E1-DBCFFB16562D}"/>
              </a:ext>
            </a:extLst>
          </p:cNvPr>
          <p:cNvSpPr>
            <a:spLocks noGrp="1"/>
          </p:cNvSpPr>
          <p:nvPr>
            <p:custDataLst>
              <p:tags r:id="rId49"/>
            </p:custDataLst>
          </p:nvPr>
        </p:nvSpPr>
        <p:spPr bwMode="gray">
          <a:xfrm>
            <a:off x="1045927" y="3242979"/>
            <a:ext cx="174625" cy="12382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15875" tIns="0" rIns="15875" bIns="0" numCol="1" spcCol="0" anchor="b" anchorCtr="0">
            <a:noAutofit/>
          </a:bodyPr>
          <a:lstStyle>
            <a:lvl1pPr marL="0"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>
              <a:defRPr>
                <a:latin typeface="+mn-lt"/>
                <a:ea typeface="+mn-ea"/>
                <a:cs typeface="+mn-cs"/>
              </a:defRPr>
            </a:lvl2pPr>
            <a:lvl3pPr marL="685800">
              <a:defRPr>
                <a:latin typeface="+mn-lt"/>
                <a:ea typeface="+mn-ea"/>
                <a:cs typeface="+mn-cs"/>
              </a:defRPr>
            </a:lvl3pPr>
            <a:lvl4pPr marL="1028700">
              <a:defRPr>
                <a:latin typeface="+mn-lt"/>
                <a:ea typeface="+mn-ea"/>
                <a:cs typeface="+mn-cs"/>
              </a:defRPr>
            </a:lvl4pPr>
            <a:lvl5pPr marL="1371600">
              <a:defRPr>
                <a:latin typeface="+mn-lt"/>
                <a:ea typeface="+mn-ea"/>
                <a:cs typeface="+mn-cs"/>
              </a:defRPr>
            </a:lvl5pPr>
            <a:lvl6pPr marL="1714500">
              <a:defRPr>
                <a:latin typeface="+mn-lt"/>
                <a:ea typeface="+mn-ea"/>
                <a:cs typeface="+mn-cs"/>
              </a:defRPr>
            </a:lvl6pPr>
            <a:lvl7pPr marL="2057400">
              <a:defRPr>
                <a:latin typeface="+mn-lt"/>
                <a:ea typeface="+mn-ea"/>
                <a:cs typeface="+mn-cs"/>
              </a:defRPr>
            </a:lvl7pPr>
            <a:lvl8pPr marL="2400300">
              <a:defRPr>
                <a:latin typeface="+mn-lt"/>
                <a:ea typeface="+mn-ea"/>
                <a:cs typeface="+mn-cs"/>
              </a:defRPr>
            </a:lvl8pPr>
            <a:lvl9pPr marL="2743200">
              <a:defRPr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59928B3-95C7-44FE-AFD4-3CAD85984ABA}" type="datetime'''''''''''''6'''''',''''''''''''''5'''''''''''">
              <a:rPr lang="en-US" altLang="en-US" sz="900" smtClean="0">
                <a:solidFill>
                  <a:schemeClr val="tx1"/>
                </a:solidFill>
                <a:sym typeface="+mn-lt"/>
              </a:rPr>
              <a:pPr/>
              <a:t>6,5</a:t>
            </a:fld>
            <a:endParaRPr lang="en-US" sz="9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27" name="Holder 3">
            <a:extLst>
              <a:ext uri="{FF2B5EF4-FFF2-40B4-BE49-F238E27FC236}">
                <a16:creationId xmlns:a16="http://schemas.microsoft.com/office/drawing/2014/main" id="{C4AC0796-0385-416C-BA36-907A72A67752}"/>
              </a:ext>
            </a:extLst>
          </p:cNvPr>
          <p:cNvSpPr>
            <a:spLocks noGrp="1"/>
          </p:cNvSpPr>
          <p:nvPr>
            <p:custDataLst>
              <p:tags r:id="rId50"/>
            </p:custDataLst>
          </p:nvPr>
        </p:nvSpPr>
        <p:spPr bwMode="gray">
          <a:xfrm>
            <a:off x="807802" y="2812766"/>
            <a:ext cx="174625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5875" tIns="0" rIns="15875" bIns="0" numCol="1" spcCol="0" anchor="b" anchorCtr="0">
            <a:noAutofit/>
          </a:bodyPr>
          <a:lstStyle>
            <a:lvl1pPr marL="0"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>
              <a:defRPr>
                <a:latin typeface="+mn-lt"/>
                <a:ea typeface="+mn-ea"/>
                <a:cs typeface="+mn-cs"/>
              </a:defRPr>
            </a:lvl2pPr>
            <a:lvl3pPr marL="685800">
              <a:defRPr>
                <a:latin typeface="+mn-lt"/>
                <a:ea typeface="+mn-ea"/>
                <a:cs typeface="+mn-cs"/>
              </a:defRPr>
            </a:lvl3pPr>
            <a:lvl4pPr marL="1028700">
              <a:defRPr>
                <a:latin typeface="+mn-lt"/>
                <a:ea typeface="+mn-ea"/>
                <a:cs typeface="+mn-cs"/>
              </a:defRPr>
            </a:lvl4pPr>
            <a:lvl5pPr marL="1371600">
              <a:defRPr>
                <a:latin typeface="+mn-lt"/>
                <a:ea typeface="+mn-ea"/>
                <a:cs typeface="+mn-cs"/>
              </a:defRPr>
            </a:lvl5pPr>
            <a:lvl6pPr marL="1714500">
              <a:defRPr>
                <a:latin typeface="+mn-lt"/>
                <a:ea typeface="+mn-ea"/>
                <a:cs typeface="+mn-cs"/>
              </a:defRPr>
            </a:lvl6pPr>
            <a:lvl7pPr marL="2057400">
              <a:defRPr>
                <a:latin typeface="+mn-lt"/>
                <a:ea typeface="+mn-ea"/>
                <a:cs typeface="+mn-cs"/>
              </a:defRPr>
            </a:lvl7pPr>
            <a:lvl8pPr marL="2400300">
              <a:defRPr>
                <a:latin typeface="+mn-lt"/>
                <a:ea typeface="+mn-ea"/>
                <a:cs typeface="+mn-cs"/>
              </a:defRPr>
            </a:lvl8pPr>
            <a:lvl9pPr marL="2743200">
              <a:defRPr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137ABF94-A886-4676-AFB6-9515B9F1D95D}" type="datetime'''''''''''''''''''''''''''''''7,''''''''3'''''''''''">
              <a:rPr lang="en-US" altLang="en-US" sz="900" smtClean="0">
                <a:solidFill>
                  <a:schemeClr val="tx1"/>
                </a:solidFill>
                <a:sym typeface="+mn-lt"/>
              </a:rPr>
              <a:pPr/>
              <a:t>7,3</a:t>
            </a:fld>
            <a:endParaRPr lang="en-US" sz="9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28" name="Місце для тексту 2">
            <a:extLst>
              <a:ext uri="{FF2B5EF4-FFF2-40B4-BE49-F238E27FC236}">
                <a16:creationId xmlns:a16="http://schemas.microsoft.com/office/drawing/2014/main" id="{9F6ACFC4-82EC-4234-A553-2C740B08729A}"/>
              </a:ext>
            </a:extLst>
          </p:cNvPr>
          <p:cNvSpPr>
            <a:spLocks noGrp="1"/>
          </p:cNvSpPr>
          <p:nvPr>
            <p:custDataLst>
              <p:tags r:id="rId51"/>
            </p:custDataLst>
          </p:nvPr>
        </p:nvSpPr>
        <p:spPr bwMode="auto">
          <a:xfrm>
            <a:off x="2787415" y="5805204"/>
            <a:ext cx="2254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000" dirty="0">
                <a:solidFill>
                  <a:srgbClr val="000000"/>
                </a:solidFill>
              </a:rPr>
              <a:t>Jul</a:t>
            </a:r>
            <a:endParaRPr kumimoji="0" lang="uk-UA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229" name="Holder 3">
            <a:extLst>
              <a:ext uri="{FF2B5EF4-FFF2-40B4-BE49-F238E27FC236}">
                <a16:creationId xmlns:a16="http://schemas.microsoft.com/office/drawing/2014/main" id="{3EA441C7-0AB8-42A3-8E51-72DFC7CDEBA6}"/>
              </a:ext>
            </a:extLst>
          </p:cNvPr>
          <p:cNvSpPr>
            <a:spLocks noGrp="1"/>
          </p:cNvSpPr>
          <p:nvPr>
            <p:custDataLst>
              <p:tags r:id="rId52"/>
            </p:custDataLst>
          </p:nvPr>
        </p:nvSpPr>
        <p:spPr bwMode="gray">
          <a:xfrm>
            <a:off x="807802" y="4670141"/>
            <a:ext cx="174625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5875" tIns="0" rIns="15875" bIns="0" numCol="1" spcCol="0" anchor="b" anchorCtr="0">
            <a:noAutofit/>
          </a:bodyPr>
          <a:lstStyle>
            <a:lvl1pPr marL="0"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>
              <a:defRPr>
                <a:latin typeface="+mn-lt"/>
                <a:ea typeface="+mn-ea"/>
                <a:cs typeface="+mn-cs"/>
              </a:defRPr>
            </a:lvl2pPr>
            <a:lvl3pPr marL="685800">
              <a:defRPr>
                <a:latin typeface="+mn-lt"/>
                <a:ea typeface="+mn-ea"/>
                <a:cs typeface="+mn-cs"/>
              </a:defRPr>
            </a:lvl3pPr>
            <a:lvl4pPr marL="1028700">
              <a:defRPr>
                <a:latin typeface="+mn-lt"/>
                <a:ea typeface="+mn-ea"/>
                <a:cs typeface="+mn-cs"/>
              </a:defRPr>
            </a:lvl4pPr>
            <a:lvl5pPr marL="1371600">
              <a:defRPr>
                <a:latin typeface="+mn-lt"/>
                <a:ea typeface="+mn-ea"/>
                <a:cs typeface="+mn-cs"/>
              </a:defRPr>
            </a:lvl5pPr>
            <a:lvl6pPr marL="1714500">
              <a:defRPr>
                <a:latin typeface="+mn-lt"/>
                <a:ea typeface="+mn-ea"/>
                <a:cs typeface="+mn-cs"/>
              </a:defRPr>
            </a:lvl6pPr>
            <a:lvl7pPr marL="2057400">
              <a:defRPr>
                <a:latin typeface="+mn-lt"/>
                <a:ea typeface="+mn-ea"/>
                <a:cs typeface="+mn-cs"/>
              </a:defRPr>
            </a:lvl7pPr>
            <a:lvl8pPr marL="2400300">
              <a:defRPr>
                <a:latin typeface="+mn-lt"/>
                <a:ea typeface="+mn-ea"/>
                <a:cs typeface="+mn-cs"/>
              </a:defRPr>
            </a:lvl8pPr>
            <a:lvl9pPr marL="2743200">
              <a:defRPr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37C85F2-C7D9-4D8D-8038-7EF42176E941}" type="datetime'''''''''''3'''',''''''''''''''''''''9'''''''">
              <a:rPr lang="en-US" altLang="en-US" sz="900" smtClean="0">
                <a:solidFill>
                  <a:schemeClr val="tx1"/>
                </a:solidFill>
                <a:sym typeface="+mn-lt"/>
              </a:rPr>
              <a:pPr/>
              <a:t>3,9</a:t>
            </a:fld>
            <a:endParaRPr lang="en-US" sz="9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30" name="Місце для тексту 2">
            <a:extLst>
              <a:ext uri="{FF2B5EF4-FFF2-40B4-BE49-F238E27FC236}">
                <a16:creationId xmlns:a16="http://schemas.microsoft.com/office/drawing/2014/main" id="{00DD1CE4-5622-4816-986A-72527B78B409}"/>
              </a:ext>
            </a:extLst>
          </p:cNvPr>
          <p:cNvSpPr>
            <a:spLocks noGrp="1"/>
          </p:cNvSpPr>
          <p:nvPr>
            <p:custDataLst>
              <p:tags r:id="rId53"/>
            </p:custDataLst>
          </p:nvPr>
        </p:nvSpPr>
        <p:spPr bwMode="auto">
          <a:xfrm>
            <a:off x="695090" y="5805204"/>
            <a:ext cx="16986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000" dirty="0">
                <a:solidFill>
                  <a:srgbClr val="000000"/>
                </a:solidFill>
              </a:rPr>
              <a:t>Jan</a:t>
            </a:r>
            <a:endParaRPr kumimoji="0" lang="uk-UA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231" name="Holder 3">
            <a:extLst>
              <a:ext uri="{FF2B5EF4-FFF2-40B4-BE49-F238E27FC236}">
                <a16:creationId xmlns:a16="http://schemas.microsoft.com/office/drawing/2014/main" id="{935C2D26-FA3C-4404-96A6-7FE2150DB05C}"/>
              </a:ext>
            </a:extLst>
          </p:cNvPr>
          <p:cNvSpPr>
            <a:spLocks noGrp="1"/>
          </p:cNvSpPr>
          <p:nvPr>
            <p:custDataLst>
              <p:tags r:id="rId54"/>
            </p:custDataLst>
          </p:nvPr>
        </p:nvSpPr>
        <p:spPr bwMode="gray">
          <a:xfrm>
            <a:off x="1398352" y="2863566"/>
            <a:ext cx="174625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5875" tIns="0" rIns="15875" bIns="0" numCol="1" spcCol="0" anchor="b" anchorCtr="0">
            <a:noAutofit/>
          </a:bodyPr>
          <a:lstStyle>
            <a:lvl1pPr marL="0"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>
              <a:defRPr>
                <a:latin typeface="+mn-lt"/>
                <a:ea typeface="+mn-ea"/>
                <a:cs typeface="+mn-cs"/>
              </a:defRPr>
            </a:lvl2pPr>
            <a:lvl3pPr marL="685800">
              <a:defRPr>
                <a:latin typeface="+mn-lt"/>
                <a:ea typeface="+mn-ea"/>
                <a:cs typeface="+mn-cs"/>
              </a:defRPr>
            </a:lvl3pPr>
            <a:lvl4pPr marL="1028700">
              <a:defRPr>
                <a:latin typeface="+mn-lt"/>
                <a:ea typeface="+mn-ea"/>
                <a:cs typeface="+mn-cs"/>
              </a:defRPr>
            </a:lvl4pPr>
            <a:lvl5pPr marL="1371600">
              <a:defRPr>
                <a:latin typeface="+mn-lt"/>
                <a:ea typeface="+mn-ea"/>
                <a:cs typeface="+mn-cs"/>
              </a:defRPr>
            </a:lvl5pPr>
            <a:lvl6pPr marL="1714500">
              <a:defRPr>
                <a:latin typeface="+mn-lt"/>
                <a:ea typeface="+mn-ea"/>
                <a:cs typeface="+mn-cs"/>
              </a:defRPr>
            </a:lvl6pPr>
            <a:lvl7pPr marL="2057400">
              <a:defRPr>
                <a:latin typeface="+mn-lt"/>
                <a:ea typeface="+mn-ea"/>
                <a:cs typeface="+mn-cs"/>
              </a:defRPr>
            </a:lvl7pPr>
            <a:lvl8pPr marL="2400300">
              <a:defRPr>
                <a:latin typeface="+mn-lt"/>
                <a:ea typeface="+mn-ea"/>
                <a:cs typeface="+mn-cs"/>
              </a:defRPr>
            </a:lvl8pPr>
            <a:lvl9pPr marL="2743200">
              <a:defRPr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86D327A-225E-487D-964E-1FBF3EA90D47}" type="datetime'''''''''''''''''''7'''''''''''''''''''''''''''''''''',''2'''''">
              <a:rPr lang="en-US" altLang="en-US" sz="900" smtClean="0">
                <a:solidFill>
                  <a:schemeClr val="tx1"/>
                </a:solidFill>
                <a:sym typeface="+mn-lt"/>
              </a:rPr>
              <a:pPr/>
              <a:t>7,2</a:t>
            </a:fld>
            <a:endParaRPr lang="en-US" sz="9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32" name="Holder 3">
            <a:extLst>
              <a:ext uri="{FF2B5EF4-FFF2-40B4-BE49-F238E27FC236}">
                <a16:creationId xmlns:a16="http://schemas.microsoft.com/office/drawing/2014/main" id="{5DA29C08-7BCB-47E1-8EF5-63BE9EE86B6A}"/>
              </a:ext>
            </a:extLst>
          </p:cNvPr>
          <p:cNvSpPr>
            <a:spLocks noGrp="1"/>
          </p:cNvSpPr>
          <p:nvPr>
            <p:custDataLst>
              <p:tags r:id="rId55"/>
            </p:custDataLst>
          </p:nvPr>
        </p:nvSpPr>
        <p:spPr bwMode="gray">
          <a:xfrm>
            <a:off x="3874852" y="5359116"/>
            <a:ext cx="174625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5875" tIns="0" rIns="15875" bIns="0" numCol="1" spcCol="0" anchor="b" anchorCtr="0">
            <a:noAutofit/>
          </a:bodyPr>
          <a:lstStyle>
            <a:lvl1pPr marL="0"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>
              <a:defRPr>
                <a:latin typeface="+mn-lt"/>
                <a:ea typeface="+mn-ea"/>
                <a:cs typeface="+mn-cs"/>
              </a:defRPr>
            </a:lvl2pPr>
            <a:lvl3pPr marL="685800">
              <a:defRPr>
                <a:latin typeface="+mn-lt"/>
                <a:ea typeface="+mn-ea"/>
                <a:cs typeface="+mn-cs"/>
              </a:defRPr>
            </a:lvl3pPr>
            <a:lvl4pPr marL="1028700">
              <a:defRPr>
                <a:latin typeface="+mn-lt"/>
                <a:ea typeface="+mn-ea"/>
                <a:cs typeface="+mn-cs"/>
              </a:defRPr>
            </a:lvl4pPr>
            <a:lvl5pPr marL="1371600">
              <a:defRPr>
                <a:latin typeface="+mn-lt"/>
                <a:ea typeface="+mn-ea"/>
                <a:cs typeface="+mn-cs"/>
              </a:defRPr>
            </a:lvl5pPr>
            <a:lvl6pPr marL="1714500">
              <a:defRPr>
                <a:latin typeface="+mn-lt"/>
                <a:ea typeface="+mn-ea"/>
                <a:cs typeface="+mn-cs"/>
              </a:defRPr>
            </a:lvl6pPr>
            <a:lvl7pPr marL="2057400">
              <a:defRPr>
                <a:latin typeface="+mn-lt"/>
                <a:ea typeface="+mn-ea"/>
                <a:cs typeface="+mn-cs"/>
              </a:defRPr>
            </a:lvl7pPr>
            <a:lvl8pPr marL="2400300">
              <a:defRPr>
                <a:latin typeface="+mn-lt"/>
                <a:ea typeface="+mn-ea"/>
                <a:cs typeface="+mn-cs"/>
              </a:defRPr>
            </a:lvl8pPr>
            <a:lvl9pPr marL="2743200">
              <a:defRPr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E60D8FF-3BD6-40A8-858D-BED9E0DC7FCB}" type="datetime'''''2,''''''''''''''''''''''''''''''''''''''6'''''">
              <a:rPr lang="en-US" altLang="en-US" sz="900" smtClean="0">
                <a:solidFill>
                  <a:schemeClr val="tx1"/>
                </a:solidFill>
                <a:sym typeface="+mn-lt"/>
              </a:rPr>
              <a:pPr/>
              <a:t>2,6</a:t>
            </a:fld>
            <a:endParaRPr lang="en-US" sz="9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33" name="Holder 3">
            <a:extLst>
              <a:ext uri="{FF2B5EF4-FFF2-40B4-BE49-F238E27FC236}">
                <a16:creationId xmlns:a16="http://schemas.microsoft.com/office/drawing/2014/main" id="{CD7AD34B-1B04-41D8-B38B-C27664F9AB7B}"/>
              </a:ext>
            </a:extLst>
          </p:cNvPr>
          <p:cNvSpPr>
            <a:spLocks noGrp="1"/>
          </p:cNvSpPr>
          <p:nvPr>
            <p:custDataLst>
              <p:tags r:id="rId56"/>
            </p:custDataLst>
          </p:nvPr>
        </p:nvSpPr>
        <p:spPr bwMode="gray">
          <a:xfrm>
            <a:off x="1045927" y="5206716"/>
            <a:ext cx="174625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5875" tIns="0" rIns="15875" bIns="0" numCol="1" spcCol="0" anchor="b" anchorCtr="0">
            <a:noAutofit/>
          </a:bodyPr>
          <a:lstStyle>
            <a:lvl1pPr marL="0"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>
              <a:defRPr>
                <a:latin typeface="+mn-lt"/>
                <a:ea typeface="+mn-ea"/>
                <a:cs typeface="+mn-cs"/>
              </a:defRPr>
            </a:lvl2pPr>
            <a:lvl3pPr marL="685800">
              <a:defRPr>
                <a:latin typeface="+mn-lt"/>
                <a:ea typeface="+mn-ea"/>
                <a:cs typeface="+mn-cs"/>
              </a:defRPr>
            </a:lvl3pPr>
            <a:lvl4pPr marL="1028700">
              <a:defRPr>
                <a:latin typeface="+mn-lt"/>
                <a:ea typeface="+mn-ea"/>
                <a:cs typeface="+mn-cs"/>
              </a:defRPr>
            </a:lvl4pPr>
            <a:lvl5pPr marL="1371600">
              <a:defRPr>
                <a:latin typeface="+mn-lt"/>
                <a:ea typeface="+mn-ea"/>
                <a:cs typeface="+mn-cs"/>
              </a:defRPr>
            </a:lvl5pPr>
            <a:lvl6pPr marL="1714500">
              <a:defRPr>
                <a:latin typeface="+mn-lt"/>
                <a:ea typeface="+mn-ea"/>
                <a:cs typeface="+mn-cs"/>
              </a:defRPr>
            </a:lvl6pPr>
            <a:lvl7pPr marL="2057400">
              <a:defRPr>
                <a:latin typeface="+mn-lt"/>
                <a:ea typeface="+mn-ea"/>
                <a:cs typeface="+mn-cs"/>
              </a:defRPr>
            </a:lvl7pPr>
            <a:lvl8pPr marL="2400300">
              <a:defRPr>
                <a:latin typeface="+mn-lt"/>
                <a:ea typeface="+mn-ea"/>
                <a:cs typeface="+mn-cs"/>
              </a:defRPr>
            </a:lvl8pPr>
            <a:lvl9pPr marL="2743200">
              <a:defRPr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ED3D916-C192-46AB-BAAA-C3BB34E20022}" type="datetime'2'''''''''''',''''''9'''''''''">
              <a:rPr lang="en-US" altLang="en-US" sz="900" smtClean="0">
                <a:solidFill>
                  <a:schemeClr val="tx1"/>
                </a:solidFill>
                <a:sym typeface="+mn-lt"/>
              </a:rPr>
              <a:pPr/>
              <a:t>2,9</a:t>
            </a:fld>
            <a:endParaRPr lang="en-US" sz="9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34" name="Holder 3">
            <a:extLst>
              <a:ext uri="{FF2B5EF4-FFF2-40B4-BE49-F238E27FC236}">
                <a16:creationId xmlns:a16="http://schemas.microsoft.com/office/drawing/2014/main" id="{482701E6-05E4-4688-AF50-95B47C5AAA2D}"/>
              </a:ext>
            </a:extLst>
          </p:cNvPr>
          <p:cNvSpPr>
            <a:spLocks noGrp="1"/>
          </p:cNvSpPr>
          <p:nvPr>
            <p:custDataLst>
              <p:tags r:id="rId57"/>
            </p:custDataLst>
          </p:nvPr>
        </p:nvSpPr>
        <p:spPr bwMode="gray">
          <a:xfrm>
            <a:off x="2460390" y="4201829"/>
            <a:ext cx="174625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5875" tIns="0" rIns="15875" bIns="0" numCol="1" spcCol="0" anchor="b" anchorCtr="0">
            <a:noAutofit/>
          </a:bodyPr>
          <a:lstStyle>
            <a:lvl1pPr marL="0"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>
              <a:defRPr>
                <a:latin typeface="+mn-lt"/>
                <a:ea typeface="+mn-ea"/>
                <a:cs typeface="+mn-cs"/>
              </a:defRPr>
            </a:lvl2pPr>
            <a:lvl3pPr marL="685800">
              <a:defRPr>
                <a:latin typeface="+mn-lt"/>
                <a:ea typeface="+mn-ea"/>
                <a:cs typeface="+mn-cs"/>
              </a:defRPr>
            </a:lvl3pPr>
            <a:lvl4pPr marL="1028700">
              <a:defRPr>
                <a:latin typeface="+mn-lt"/>
                <a:ea typeface="+mn-ea"/>
                <a:cs typeface="+mn-cs"/>
              </a:defRPr>
            </a:lvl4pPr>
            <a:lvl5pPr marL="1371600">
              <a:defRPr>
                <a:latin typeface="+mn-lt"/>
                <a:ea typeface="+mn-ea"/>
                <a:cs typeface="+mn-cs"/>
              </a:defRPr>
            </a:lvl5pPr>
            <a:lvl6pPr marL="1714500">
              <a:defRPr>
                <a:latin typeface="+mn-lt"/>
                <a:ea typeface="+mn-ea"/>
                <a:cs typeface="+mn-cs"/>
              </a:defRPr>
            </a:lvl6pPr>
            <a:lvl7pPr marL="2057400">
              <a:defRPr>
                <a:latin typeface="+mn-lt"/>
                <a:ea typeface="+mn-ea"/>
                <a:cs typeface="+mn-cs"/>
              </a:defRPr>
            </a:lvl7pPr>
            <a:lvl8pPr marL="2400300">
              <a:defRPr>
                <a:latin typeface="+mn-lt"/>
                <a:ea typeface="+mn-ea"/>
                <a:cs typeface="+mn-cs"/>
              </a:defRPr>
            </a:lvl8pPr>
            <a:lvl9pPr marL="2743200">
              <a:defRPr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02E4F02-EA98-4138-82B8-86E9355C89BF}" type="datetime'''''''4'''''''''''''''',''7'''''">
              <a:rPr lang="en-US" altLang="en-US" sz="900" smtClean="0">
                <a:solidFill>
                  <a:schemeClr val="tx1"/>
                </a:solidFill>
                <a:sym typeface="+mn-lt"/>
              </a:rPr>
              <a:pPr/>
              <a:t>4,7</a:t>
            </a:fld>
            <a:endParaRPr lang="en-US" sz="9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35" name="Місце для тексту 2">
            <a:extLst>
              <a:ext uri="{FF2B5EF4-FFF2-40B4-BE49-F238E27FC236}">
                <a16:creationId xmlns:a16="http://schemas.microsoft.com/office/drawing/2014/main" id="{F1296443-330C-49FE-AACB-F399F84133EF}"/>
              </a:ext>
            </a:extLst>
          </p:cNvPr>
          <p:cNvSpPr>
            <a:spLocks noGrp="1"/>
          </p:cNvSpPr>
          <p:nvPr>
            <p:custDataLst>
              <p:tags r:id="rId58"/>
            </p:custDataLst>
          </p:nvPr>
        </p:nvSpPr>
        <p:spPr bwMode="auto">
          <a:xfrm>
            <a:off x="1017352" y="5805204"/>
            <a:ext cx="23177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000" dirty="0">
                <a:solidFill>
                  <a:srgbClr val="000000"/>
                </a:solidFill>
              </a:rPr>
              <a:t>Feb</a:t>
            </a:r>
            <a:endParaRPr kumimoji="0" lang="uk-UA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236" name="Місце для тексту 2">
            <a:extLst>
              <a:ext uri="{FF2B5EF4-FFF2-40B4-BE49-F238E27FC236}">
                <a16:creationId xmlns:a16="http://schemas.microsoft.com/office/drawing/2014/main" id="{53FC16B5-FEFC-4B8D-B8D7-413092BA209B}"/>
              </a:ext>
            </a:extLst>
          </p:cNvPr>
          <p:cNvSpPr>
            <a:spLocks noGrp="1"/>
          </p:cNvSpPr>
          <p:nvPr>
            <p:custDataLst>
              <p:tags r:id="rId59"/>
            </p:custDataLst>
          </p:nvPr>
        </p:nvSpPr>
        <p:spPr bwMode="auto">
          <a:xfrm>
            <a:off x="1380890" y="5805204"/>
            <a:ext cx="21113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000" dirty="0">
                <a:solidFill>
                  <a:srgbClr val="000000"/>
                </a:solidFill>
              </a:rPr>
              <a:t>Mar</a:t>
            </a:r>
            <a:endParaRPr kumimoji="0" lang="uk-UA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237" name="Holder 3">
            <a:extLst>
              <a:ext uri="{FF2B5EF4-FFF2-40B4-BE49-F238E27FC236}">
                <a16:creationId xmlns:a16="http://schemas.microsoft.com/office/drawing/2014/main" id="{DBD8B52C-A36F-46A8-A3CC-5D8063E4CD23}"/>
              </a:ext>
            </a:extLst>
          </p:cNvPr>
          <p:cNvSpPr>
            <a:spLocks noGrp="1"/>
          </p:cNvSpPr>
          <p:nvPr>
            <p:custDataLst>
              <p:tags r:id="rId60"/>
            </p:custDataLst>
          </p:nvPr>
        </p:nvSpPr>
        <p:spPr bwMode="gray">
          <a:xfrm>
            <a:off x="2106377" y="2711166"/>
            <a:ext cx="174625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5875" tIns="0" rIns="15875" bIns="0" numCol="1" spcCol="0" anchor="b" anchorCtr="0">
            <a:noAutofit/>
          </a:bodyPr>
          <a:lstStyle>
            <a:lvl1pPr marL="0"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>
              <a:defRPr>
                <a:latin typeface="+mn-lt"/>
                <a:ea typeface="+mn-ea"/>
                <a:cs typeface="+mn-cs"/>
              </a:defRPr>
            </a:lvl2pPr>
            <a:lvl3pPr marL="685800">
              <a:defRPr>
                <a:latin typeface="+mn-lt"/>
                <a:ea typeface="+mn-ea"/>
                <a:cs typeface="+mn-cs"/>
              </a:defRPr>
            </a:lvl3pPr>
            <a:lvl4pPr marL="1028700">
              <a:defRPr>
                <a:latin typeface="+mn-lt"/>
                <a:ea typeface="+mn-ea"/>
                <a:cs typeface="+mn-cs"/>
              </a:defRPr>
            </a:lvl4pPr>
            <a:lvl5pPr marL="1371600">
              <a:defRPr>
                <a:latin typeface="+mn-lt"/>
                <a:ea typeface="+mn-ea"/>
                <a:cs typeface="+mn-cs"/>
              </a:defRPr>
            </a:lvl5pPr>
            <a:lvl6pPr marL="1714500">
              <a:defRPr>
                <a:latin typeface="+mn-lt"/>
                <a:ea typeface="+mn-ea"/>
                <a:cs typeface="+mn-cs"/>
              </a:defRPr>
            </a:lvl6pPr>
            <a:lvl7pPr marL="2057400">
              <a:defRPr>
                <a:latin typeface="+mn-lt"/>
                <a:ea typeface="+mn-ea"/>
                <a:cs typeface="+mn-cs"/>
              </a:defRPr>
            </a:lvl7pPr>
            <a:lvl8pPr marL="2400300">
              <a:defRPr>
                <a:latin typeface="+mn-lt"/>
                <a:ea typeface="+mn-ea"/>
                <a:cs typeface="+mn-cs"/>
              </a:defRPr>
            </a:lvl8pPr>
            <a:lvl9pPr marL="2743200">
              <a:defRPr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A8E8C6B-17D4-46AF-A630-8A80ABFADCAF}" type="datetime'''''''7'''''''',''''''''4'''''''''''''''''''''''''''''''''''">
              <a:rPr lang="en-US" altLang="en-US" sz="900" smtClean="0">
                <a:solidFill>
                  <a:schemeClr val="tx1"/>
                </a:solidFill>
                <a:sym typeface="+mn-lt"/>
              </a:rPr>
              <a:pPr/>
              <a:t>7,4</a:t>
            </a:fld>
            <a:endParaRPr lang="en-US" sz="9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38" name="Holder 3">
            <a:extLst>
              <a:ext uri="{FF2B5EF4-FFF2-40B4-BE49-F238E27FC236}">
                <a16:creationId xmlns:a16="http://schemas.microsoft.com/office/drawing/2014/main" id="{142AB197-31FE-47FA-AECE-A5AAFC21AC1F}"/>
              </a:ext>
            </a:extLst>
          </p:cNvPr>
          <p:cNvSpPr>
            <a:spLocks noGrp="1"/>
          </p:cNvSpPr>
          <p:nvPr>
            <p:custDataLst>
              <p:tags r:id="rId61"/>
            </p:custDataLst>
          </p:nvPr>
        </p:nvSpPr>
        <p:spPr bwMode="gray">
          <a:xfrm>
            <a:off x="1752365" y="4751104"/>
            <a:ext cx="174625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5875" tIns="0" rIns="15875" bIns="0" numCol="1" spcCol="0" anchor="b" anchorCtr="0">
            <a:noAutofit/>
          </a:bodyPr>
          <a:lstStyle>
            <a:lvl1pPr marL="0"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>
              <a:defRPr>
                <a:latin typeface="+mn-lt"/>
                <a:ea typeface="+mn-ea"/>
                <a:cs typeface="+mn-cs"/>
              </a:defRPr>
            </a:lvl2pPr>
            <a:lvl3pPr marL="685800">
              <a:defRPr>
                <a:latin typeface="+mn-lt"/>
                <a:ea typeface="+mn-ea"/>
                <a:cs typeface="+mn-cs"/>
              </a:defRPr>
            </a:lvl3pPr>
            <a:lvl4pPr marL="1028700">
              <a:defRPr>
                <a:latin typeface="+mn-lt"/>
                <a:ea typeface="+mn-ea"/>
                <a:cs typeface="+mn-cs"/>
              </a:defRPr>
            </a:lvl4pPr>
            <a:lvl5pPr marL="1371600">
              <a:defRPr>
                <a:latin typeface="+mn-lt"/>
                <a:ea typeface="+mn-ea"/>
                <a:cs typeface="+mn-cs"/>
              </a:defRPr>
            </a:lvl5pPr>
            <a:lvl6pPr marL="1714500">
              <a:defRPr>
                <a:latin typeface="+mn-lt"/>
                <a:ea typeface="+mn-ea"/>
                <a:cs typeface="+mn-cs"/>
              </a:defRPr>
            </a:lvl6pPr>
            <a:lvl7pPr marL="2057400">
              <a:defRPr>
                <a:latin typeface="+mn-lt"/>
                <a:ea typeface="+mn-ea"/>
                <a:cs typeface="+mn-cs"/>
              </a:defRPr>
            </a:lvl7pPr>
            <a:lvl8pPr marL="2400300">
              <a:defRPr>
                <a:latin typeface="+mn-lt"/>
                <a:ea typeface="+mn-ea"/>
                <a:cs typeface="+mn-cs"/>
              </a:defRPr>
            </a:lvl8pPr>
            <a:lvl9pPr marL="2743200">
              <a:defRPr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6F7826B-F364-43F8-9D03-0D8CBDA2BF03}" type="datetime'''''''''''''''''''3'''''''',''''''''''''''7'''''''">
              <a:rPr lang="en-US" altLang="en-US" sz="900" smtClean="0">
                <a:solidFill>
                  <a:schemeClr val="tx1"/>
                </a:solidFill>
                <a:sym typeface="+mn-lt"/>
              </a:rPr>
              <a:pPr/>
              <a:t>3,7</a:t>
            </a:fld>
            <a:endParaRPr lang="en-US" sz="9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39" name="Holder 3">
            <a:extLst>
              <a:ext uri="{FF2B5EF4-FFF2-40B4-BE49-F238E27FC236}">
                <a16:creationId xmlns:a16="http://schemas.microsoft.com/office/drawing/2014/main" id="{80EA6C14-3739-48B4-B61F-187C780BFD6F}"/>
              </a:ext>
            </a:extLst>
          </p:cNvPr>
          <p:cNvSpPr>
            <a:spLocks noGrp="1"/>
          </p:cNvSpPr>
          <p:nvPr>
            <p:custDataLst>
              <p:tags r:id="rId62"/>
            </p:custDataLst>
          </p:nvPr>
        </p:nvSpPr>
        <p:spPr bwMode="gray">
          <a:xfrm>
            <a:off x="2812815" y="4676491"/>
            <a:ext cx="174625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5875" tIns="0" rIns="15875" bIns="0" numCol="1" spcCol="0" anchor="b" anchorCtr="0">
            <a:noAutofit/>
          </a:bodyPr>
          <a:lstStyle>
            <a:lvl1pPr marL="0"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>
              <a:defRPr>
                <a:latin typeface="+mn-lt"/>
                <a:ea typeface="+mn-ea"/>
                <a:cs typeface="+mn-cs"/>
              </a:defRPr>
            </a:lvl2pPr>
            <a:lvl3pPr marL="685800">
              <a:defRPr>
                <a:latin typeface="+mn-lt"/>
                <a:ea typeface="+mn-ea"/>
                <a:cs typeface="+mn-cs"/>
              </a:defRPr>
            </a:lvl3pPr>
            <a:lvl4pPr marL="1028700">
              <a:defRPr>
                <a:latin typeface="+mn-lt"/>
                <a:ea typeface="+mn-ea"/>
                <a:cs typeface="+mn-cs"/>
              </a:defRPr>
            </a:lvl4pPr>
            <a:lvl5pPr marL="1371600">
              <a:defRPr>
                <a:latin typeface="+mn-lt"/>
                <a:ea typeface="+mn-ea"/>
                <a:cs typeface="+mn-cs"/>
              </a:defRPr>
            </a:lvl5pPr>
            <a:lvl6pPr marL="1714500">
              <a:defRPr>
                <a:latin typeface="+mn-lt"/>
                <a:ea typeface="+mn-ea"/>
                <a:cs typeface="+mn-cs"/>
              </a:defRPr>
            </a:lvl6pPr>
            <a:lvl7pPr marL="2057400">
              <a:defRPr>
                <a:latin typeface="+mn-lt"/>
                <a:ea typeface="+mn-ea"/>
                <a:cs typeface="+mn-cs"/>
              </a:defRPr>
            </a:lvl7pPr>
            <a:lvl8pPr marL="2400300">
              <a:defRPr>
                <a:latin typeface="+mn-lt"/>
                <a:ea typeface="+mn-ea"/>
                <a:cs typeface="+mn-cs"/>
              </a:defRPr>
            </a:lvl8pPr>
            <a:lvl9pPr marL="2743200">
              <a:defRPr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2CE5F47-AC08-4B9B-BC69-939D269CD7FA}" type="datetime'''''''''''''''''''''''''''''3'''''''''''''''',''''9'''''">
              <a:rPr lang="en-US" altLang="en-US" sz="900" smtClean="0">
                <a:solidFill>
                  <a:schemeClr val="tx1"/>
                </a:solidFill>
                <a:sym typeface="+mn-lt"/>
              </a:rPr>
              <a:pPr/>
              <a:t>3,9</a:t>
            </a:fld>
            <a:endParaRPr lang="en-US" sz="9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40" name="Holder 3">
            <a:extLst>
              <a:ext uri="{FF2B5EF4-FFF2-40B4-BE49-F238E27FC236}">
                <a16:creationId xmlns:a16="http://schemas.microsoft.com/office/drawing/2014/main" id="{D8951D6B-3004-48D2-AEB7-9F1CE55EDE1B}"/>
              </a:ext>
            </a:extLst>
          </p:cNvPr>
          <p:cNvSpPr>
            <a:spLocks noGrp="1"/>
          </p:cNvSpPr>
          <p:nvPr>
            <p:custDataLst>
              <p:tags r:id="rId63"/>
            </p:custDataLst>
          </p:nvPr>
        </p:nvSpPr>
        <p:spPr bwMode="gray">
          <a:xfrm>
            <a:off x="2106377" y="4252629"/>
            <a:ext cx="174625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5875" tIns="0" rIns="15875" bIns="0" numCol="1" spcCol="0" anchor="b" anchorCtr="0">
            <a:noAutofit/>
          </a:bodyPr>
          <a:lstStyle>
            <a:lvl1pPr marL="0"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>
              <a:defRPr>
                <a:latin typeface="+mn-lt"/>
                <a:ea typeface="+mn-ea"/>
                <a:cs typeface="+mn-cs"/>
              </a:defRPr>
            </a:lvl2pPr>
            <a:lvl3pPr marL="685800">
              <a:defRPr>
                <a:latin typeface="+mn-lt"/>
                <a:ea typeface="+mn-ea"/>
                <a:cs typeface="+mn-cs"/>
              </a:defRPr>
            </a:lvl3pPr>
            <a:lvl4pPr marL="1028700">
              <a:defRPr>
                <a:latin typeface="+mn-lt"/>
                <a:ea typeface="+mn-ea"/>
                <a:cs typeface="+mn-cs"/>
              </a:defRPr>
            </a:lvl4pPr>
            <a:lvl5pPr marL="1371600">
              <a:defRPr>
                <a:latin typeface="+mn-lt"/>
                <a:ea typeface="+mn-ea"/>
                <a:cs typeface="+mn-cs"/>
              </a:defRPr>
            </a:lvl5pPr>
            <a:lvl6pPr marL="1714500">
              <a:defRPr>
                <a:latin typeface="+mn-lt"/>
                <a:ea typeface="+mn-ea"/>
                <a:cs typeface="+mn-cs"/>
              </a:defRPr>
            </a:lvl6pPr>
            <a:lvl7pPr marL="2057400">
              <a:defRPr>
                <a:latin typeface="+mn-lt"/>
                <a:ea typeface="+mn-ea"/>
                <a:cs typeface="+mn-cs"/>
              </a:defRPr>
            </a:lvl7pPr>
            <a:lvl8pPr marL="2400300">
              <a:defRPr>
                <a:latin typeface="+mn-lt"/>
                <a:ea typeface="+mn-ea"/>
                <a:cs typeface="+mn-cs"/>
              </a:defRPr>
            </a:lvl8pPr>
            <a:lvl9pPr marL="2743200">
              <a:defRPr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E945A59-F288-4F59-9563-0F0DC58BD4C5}" type="datetime'''''4'''''''''',''''''''''''''''''''''''''''6'''''''">
              <a:rPr lang="en-US" altLang="en-US" sz="900" smtClean="0">
                <a:solidFill>
                  <a:schemeClr val="tx1"/>
                </a:solidFill>
                <a:sym typeface="+mn-lt"/>
              </a:rPr>
              <a:pPr/>
              <a:t>4,6</a:t>
            </a:fld>
            <a:endParaRPr lang="en-US" sz="9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41" name="Holder 3">
            <a:extLst>
              <a:ext uri="{FF2B5EF4-FFF2-40B4-BE49-F238E27FC236}">
                <a16:creationId xmlns:a16="http://schemas.microsoft.com/office/drawing/2014/main" id="{00285284-B1D0-4035-84D2-20823B3DF95C}"/>
              </a:ext>
            </a:extLst>
          </p:cNvPr>
          <p:cNvSpPr>
            <a:spLocks noGrp="1"/>
          </p:cNvSpPr>
          <p:nvPr>
            <p:custDataLst>
              <p:tags r:id="rId64"/>
            </p:custDataLst>
          </p:nvPr>
        </p:nvSpPr>
        <p:spPr bwMode="gray">
          <a:xfrm>
            <a:off x="2812815" y="2722279"/>
            <a:ext cx="174625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5875" tIns="0" rIns="15875" bIns="0" numCol="1" spcCol="0" anchor="b" anchorCtr="0">
            <a:noAutofit/>
          </a:bodyPr>
          <a:lstStyle>
            <a:lvl1pPr marL="0"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>
              <a:defRPr>
                <a:latin typeface="+mn-lt"/>
                <a:ea typeface="+mn-ea"/>
                <a:cs typeface="+mn-cs"/>
              </a:defRPr>
            </a:lvl2pPr>
            <a:lvl3pPr marL="685800">
              <a:defRPr>
                <a:latin typeface="+mn-lt"/>
                <a:ea typeface="+mn-ea"/>
                <a:cs typeface="+mn-cs"/>
              </a:defRPr>
            </a:lvl3pPr>
            <a:lvl4pPr marL="1028700">
              <a:defRPr>
                <a:latin typeface="+mn-lt"/>
                <a:ea typeface="+mn-ea"/>
                <a:cs typeface="+mn-cs"/>
              </a:defRPr>
            </a:lvl4pPr>
            <a:lvl5pPr marL="1371600">
              <a:defRPr>
                <a:latin typeface="+mn-lt"/>
                <a:ea typeface="+mn-ea"/>
                <a:cs typeface="+mn-cs"/>
              </a:defRPr>
            </a:lvl5pPr>
            <a:lvl6pPr marL="1714500">
              <a:defRPr>
                <a:latin typeface="+mn-lt"/>
                <a:ea typeface="+mn-ea"/>
                <a:cs typeface="+mn-cs"/>
              </a:defRPr>
            </a:lvl6pPr>
            <a:lvl7pPr marL="2057400">
              <a:defRPr>
                <a:latin typeface="+mn-lt"/>
                <a:ea typeface="+mn-ea"/>
                <a:cs typeface="+mn-cs"/>
              </a:defRPr>
            </a:lvl7pPr>
            <a:lvl8pPr marL="2400300">
              <a:defRPr>
                <a:latin typeface="+mn-lt"/>
                <a:ea typeface="+mn-ea"/>
                <a:cs typeface="+mn-cs"/>
              </a:defRPr>
            </a:lvl8pPr>
            <a:lvl9pPr marL="2743200">
              <a:defRPr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1C16BEF-0FD0-426F-A3DC-CB2C3B3BFB7C}" type="datetime'''7'''''''''',''''''''''''''''''''''4'''''''''''''''''''''">
              <a:rPr lang="en-US" altLang="en-US" sz="900" smtClean="0">
                <a:solidFill>
                  <a:schemeClr val="tx1"/>
                </a:solidFill>
                <a:sym typeface="+mn-lt"/>
              </a:rPr>
              <a:pPr/>
              <a:t>7,4</a:t>
            </a:fld>
            <a:endParaRPr lang="en-US" sz="9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42" name="Holder 3">
            <a:extLst>
              <a:ext uri="{FF2B5EF4-FFF2-40B4-BE49-F238E27FC236}">
                <a16:creationId xmlns:a16="http://schemas.microsoft.com/office/drawing/2014/main" id="{8EB551B9-FDCA-47E3-86E5-2556D9197CAF}"/>
              </a:ext>
            </a:extLst>
          </p:cNvPr>
          <p:cNvSpPr>
            <a:spLocks noGrp="1"/>
          </p:cNvSpPr>
          <p:nvPr>
            <p:custDataLst>
              <p:tags r:id="rId65"/>
            </p:custDataLst>
          </p:nvPr>
        </p:nvSpPr>
        <p:spPr bwMode="gray">
          <a:xfrm>
            <a:off x="3874852" y="3754154"/>
            <a:ext cx="174625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5875" tIns="0" rIns="15875" bIns="0" numCol="1" spcCol="0" anchor="b" anchorCtr="0">
            <a:noAutofit/>
          </a:bodyPr>
          <a:lstStyle>
            <a:lvl1pPr marL="0"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>
              <a:defRPr>
                <a:latin typeface="+mn-lt"/>
                <a:ea typeface="+mn-ea"/>
                <a:cs typeface="+mn-cs"/>
              </a:defRPr>
            </a:lvl2pPr>
            <a:lvl3pPr marL="685800">
              <a:defRPr>
                <a:latin typeface="+mn-lt"/>
                <a:ea typeface="+mn-ea"/>
                <a:cs typeface="+mn-cs"/>
              </a:defRPr>
            </a:lvl3pPr>
            <a:lvl4pPr marL="1028700">
              <a:defRPr>
                <a:latin typeface="+mn-lt"/>
                <a:ea typeface="+mn-ea"/>
                <a:cs typeface="+mn-cs"/>
              </a:defRPr>
            </a:lvl4pPr>
            <a:lvl5pPr marL="1371600">
              <a:defRPr>
                <a:latin typeface="+mn-lt"/>
                <a:ea typeface="+mn-ea"/>
                <a:cs typeface="+mn-cs"/>
              </a:defRPr>
            </a:lvl5pPr>
            <a:lvl6pPr marL="1714500">
              <a:defRPr>
                <a:latin typeface="+mn-lt"/>
                <a:ea typeface="+mn-ea"/>
                <a:cs typeface="+mn-cs"/>
              </a:defRPr>
            </a:lvl6pPr>
            <a:lvl7pPr marL="2057400">
              <a:defRPr>
                <a:latin typeface="+mn-lt"/>
                <a:ea typeface="+mn-ea"/>
                <a:cs typeface="+mn-cs"/>
              </a:defRPr>
            </a:lvl7pPr>
            <a:lvl8pPr marL="2400300">
              <a:defRPr>
                <a:latin typeface="+mn-lt"/>
                <a:ea typeface="+mn-ea"/>
                <a:cs typeface="+mn-cs"/>
              </a:defRPr>
            </a:lvl8pPr>
            <a:lvl9pPr marL="2743200">
              <a:defRPr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3792C2B-D9B6-4B92-8142-C819BA9E5EED}" type="datetime'''''''''''''''''''''''5'''''''''''''''''''''',5'''''">
              <a:rPr lang="en-US" altLang="en-US" sz="900" smtClean="0">
                <a:solidFill>
                  <a:schemeClr val="tx1"/>
                </a:solidFill>
                <a:sym typeface="+mn-lt"/>
              </a:rPr>
              <a:pPr/>
              <a:t>5,5</a:t>
            </a:fld>
            <a:endParaRPr lang="en-US" sz="9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43" name="Holder 3">
            <a:extLst>
              <a:ext uri="{FF2B5EF4-FFF2-40B4-BE49-F238E27FC236}">
                <a16:creationId xmlns:a16="http://schemas.microsoft.com/office/drawing/2014/main" id="{62B2E094-6F34-4549-ACF2-0BD7F51FF105}"/>
              </a:ext>
            </a:extLst>
          </p:cNvPr>
          <p:cNvSpPr>
            <a:spLocks noGrp="1"/>
          </p:cNvSpPr>
          <p:nvPr>
            <p:custDataLst>
              <p:tags r:id="rId66"/>
            </p:custDataLst>
          </p:nvPr>
        </p:nvSpPr>
        <p:spPr bwMode="gray">
          <a:xfrm>
            <a:off x="1045927" y="4638391"/>
            <a:ext cx="174625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5875" tIns="0" rIns="15875" bIns="0" numCol="1" spcCol="0" anchor="b" anchorCtr="0">
            <a:noAutofit/>
          </a:bodyPr>
          <a:lstStyle>
            <a:lvl1pPr marL="0"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>
              <a:defRPr>
                <a:latin typeface="+mn-lt"/>
                <a:ea typeface="+mn-ea"/>
                <a:cs typeface="+mn-cs"/>
              </a:defRPr>
            </a:lvl2pPr>
            <a:lvl3pPr marL="685800">
              <a:defRPr>
                <a:latin typeface="+mn-lt"/>
                <a:ea typeface="+mn-ea"/>
                <a:cs typeface="+mn-cs"/>
              </a:defRPr>
            </a:lvl3pPr>
            <a:lvl4pPr marL="1028700">
              <a:defRPr>
                <a:latin typeface="+mn-lt"/>
                <a:ea typeface="+mn-ea"/>
                <a:cs typeface="+mn-cs"/>
              </a:defRPr>
            </a:lvl4pPr>
            <a:lvl5pPr marL="1371600">
              <a:defRPr>
                <a:latin typeface="+mn-lt"/>
                <a:ea typeface="+mn-ea"/>
                <a:cs typeface="+mn-cs"/>
              </a:defRPr>
            </a:lvl5pPr>
            <a:lvl6pPr marL="1714500">
              <a:defRPr>
                <a:latin typeface="+mn-lt"/>
                <a:ea typeface="+mn-ea"/>
                <a:cs typeface="+mn-cs"/>
              </a:defRPr>
            </a:lvl6pPr>
            <a:lvl7pPr marL="2057400">
              <a:defRPr>
                <a:latin typeface="+mn-lt"/>
                <a:ea typeface="+mn-ea"/>
                <a:cs typeface="+mn-cs"/>
              </a:defRPr>
            </a:lvl7pPr>
            <a:lvl8pPr marL="2400300">
              <a:defRPr>
                <a:latin typeface="+mn-lt"/>
                <a:ea typeface="+mn-ea"/>
                <a:cs typeface="+mn-cs"/>
              </a:defRPr>
            </a:lvl8pPr>
            <a:lvl9pPr marL="2743200">
              <a:defRPr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8ABA673-8362-4DC4-BEC1-EB2942527E4A}" type="datetime'''''''''''''3'''',''9'''''''''''">
              <a:rPr lang="en-US" altLang="en-US" sz="900" smtClean="0">
                <a:solidFill>
                  <a:schemeClr val="tx1"/>
                </a:solidFill>
                <a:sym typeface="+mn-lt"/>
              </a:rPr>
              <a:pPr/>
              <a:t>3,9</a:t>
            </a:fld>
            <a:endParaRPr lang="en-US" sz="9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44" name="Holder 3">
            <a:extLst>
              <a:ext uri="{FF2B5EF4-FFF2-40B4-BE49-F238E27FC236}">
                <a16:creationId xmlns:a16="http://schemas.microsoft.com/office/drawing/2014/main" id="{ECE83B74-8012-4918-8BCF-CEF095D181C8}"/>
              </a:ext>
            </a:extLst>
          </p:cNvPr>
          <p:cNvSpPr>
            <a:spLocks noGrp="1"/>
          </p:cNvSpPr>
          <p:nvPr>
            <p:custDataLst>
              <p:tags r:id="rId67"/>
            </p:custDataLst>
          </p:nvPr>
        </p:nvSpPr>
        <p:spPr bwMode="gray">
          <a:xfrm>
            <a:off x="2460390" y="4747929"/>
            <a:ext cx="174625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5875" tIns="0" rIns="15875" bIns="0" numCol="1" spcCol="0" anchor="b" anchorCtr="0">
            <a:noAutofit/>
          </a:bodyPr>
          <a:lstStyle>
            <a:lvl1pPr marL="0"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>
              <a:defRPr>
                <a:latin typeface="+mn-lt"/>
                <a:ea typeface="+mn-ea"/>
                <a:cs typeface="+mn-cs"/>
              </a:defRPr>
            </a:lvl2pPr>
            <a:lvl3pPr marL="685800">
              <a:defRPr>
                <a:latin typeface="+mn-lt"/>
                <a:ea typeface="+mn-ea"/>
                <a:cs typeface="+mn-cs"/>
              </a:defRPr>
            </a:lvl3pPr>
            <a:lvl4pPr marL="1028700">
              <a:defRPr>
                <a:latin typeface="+mn-lt"/>
                <a:ea typeface="+mn-ea"/>
                <a:cs typeface="+mn-cs"/>
              </a:defRPr>
            </a:lvl4pPr>
            <a:lvl5pPr marL="1371600">
              <a:defRPr>
                <a:latin typeface="+mn-lt"/>
                <a:ea typeface="+mn-ea"/>
                <a:cs typeface="+mn-cs"/>
              </a:defRPr>
            </a:lvl5pPr>
            <a:lvl6pPr marL="1714500">
              <a:defRPr>
                <a:latin typeface="+mn-lt"/>
                <a:ea typeface="+mn-ea"/>
                <a:cs typeface="+mn-cs"/>
              </a:defRPr>
            </a:lvl6pPr>
            <a:lvl7pPr marL="2057400">
              <a:defRPr>
                <a:latin typeface="+mn-lt"/>
                <a:ea typeface="+mn-ea"/>
                <a:cs typeface="+mn-cs"/>
              </a:defRPr>
            </a:lvl7pPr>
            <a:lvl8pPr marL="2400300">
              <a:defRPr>
                <a:latin typeface="+mn-lt"/>
                <a:ea typeface="+mn-ea"/>
                <a:cs typeface="+mn-cs"/>
              </a:defRPr>
            </a:lvl8pPr>
            <a:lvl9pPr marL="2743200">
              <a:defRPr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B385AE7-B23F-4A6F-9ACE-63AD79CF9DA2}" type="datetime'''3'',''''''''''''''''''''''''''''''''''''7'''''''''''''''''''">
              <a:rPr lang="en-US" altLang="en-US" sz="900" smtClean="0">
                <a:solidFill>
                  <a:schemeClr val="tx1"/>
                </a:solidFill>
                <a:sym typeface="+mn-lt"/>
              </a:rPr>
              <a:pPr/>
              <a:t>3,7</a:t>
            </a:fld>
            <a:endParaRPr lang="en-US" sz="9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45" name="Holder 3">
            <a:extLst>
              <a:ext uri="{FF2B5EF4-FFF2-40B4-BE49-F238E27FC236}">
                <a16:creationId xmlns:a16="http://schemas.microsoft.com/office/drawing/2014/main" id="{E5F30C3B-825C-4028-94D2-82202C3C4738}"/>
              </a:ext>
            </a:extLst>
          </p:cNvPr>
          <p:cNvSpPr>
            <a:spLocks noGrp="1"/>
          </p:cNvSpPr>
          <p:nvPr>
            <p:custDataLst>
              <p:tags r:id="rId68"/>
            </p:custDataLst>
          </p:nvPr>
        </p:nvSpPr>
        <p:spPr bwMode="gray">
          <a:xfrm>
            <a:off x="3166827" y="4073241"/>
            <a:ext cx="174625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5875" tIns="0" rIns="15875" bIns="0" numCol="1" spcCol="0" anchor="b" anchorCtr="0">
            <a:noAutofit/>
          </a:bodyPr>
          <a:lstStyle>
            <a:lvl1pPr marL="0"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>
              <a:defRPr>
                <a:latin typeface="+mn-lt"/>
                <a:ea typeface="+mn-ea"/>
                <a:cs typeface="+mn-cs"/>
              </a:defRPr>
            </a:lvl2pPr>
            <a:lvl3pPr marL="685800">
              <a:defRPr>
                <a:latin typeface="+mn-lt"/>
                <a:ea typeface="+mn-ea"/>
                <a:cs typeface="+mn-cs"/>
              </a:defRPr>
            </a:lvl3pPr>
            <a:lvl4pPr marL="1028700">
              <a:defRPr>
                <a:latin typeface="+mn-lt"/>
                <a:ea typeface="+mn-ea"/>
                <a:cs typeface="+mn-cs"/>
              </a:defRPr>
            </a:lvl4pPr>
            <a:lvl5pPr marL="1371600">
              <a:defRPr>
                <a:latin typeface="+mn-lt"/>
                <a:ea typeface="+mn-ea"/>
                <a:cs typeface="+mn-cs"/>
              </a:defRPr>
            </a:lvl5pPr>
            <a:lvl6pPr marL="1714500">
              <a:defRPr>
                <a:latin typeface="+mn-lt"/>
                <a:ea typeface="+mn-ea"/>
                <a:cs typeface="+mn-cs"/>
              </a:defRPr>
            </a:lvl6pPr>
            <a:lvl7pPr marL="2057400">
              <a:defRPr>
                <a:latin typeface="+mn-lt"/>
                <a:ea typeface="+mn-ea"/>
                <a:cs typeface="+mn-cs"/>
              </a:defRPr>
            </a:lvl7pPr>
            <a:lvl8pPr marL="2400300">
              <a:defRPr>
                <a:latin typeface="+mn-lt"/>
                <a:ea typeface="+mn-ea"/>
                <a:cs typeface="+mn-cs"/>
              </a:defRPr>
            </a:lvl8pPr>
            <a:lvl9pPr marL="2743200">
              <a:defRPr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5738BAA-30F2-4596-BAF3-CB556A1A6B13}" type="datetime'''4'''''''''''''''''',''''''''''''''''''''''''9'''''''''''''''">
              <a:rPr lang="en-US" altLang="en-US" sz="900" smtClean="0">
                <a:solidFill>
                  <a:schemeClr val="tx1"/>
                </a:solidFill>
                <a:sym typeface="+mn-lt"/>
              </a:rPr>
              <a:pPr/>
              <a:t>4,9</a:t>
            </a:fld>
            <a:endParaRPr lang="en-US" sz="9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46" name="Місце для тексту 2">
            <a:extLst>
              <a:ext uri="{FF2B5EF4-FFF2-40B4-BE49-F238E27FC236}">
                <a16:creationId xmlns:a16="http://schemas.microsoft.com/office/drawing/2014/main" id="{C7448470-D116-46E5-A4D9-A66F4EBCF486}"/>
              </a:ext>
            </a:extLst>
          </p:cNvPr>
          <p:cNvSpPr>
            <a:spLocks noGrp="1"/>
          </p:cNvSpPr>
          <p:nvPr>
            <p:custDataLst>
              <p:tags r:id="rId69"/>
            </p:custDataLst>
          </p:nvPr>
        </p:nvSpPr>
        <p:spPr bwMode="auto">
          <a:xfrm>
            <a:off x="2441340" y="5805204"/>
            <a:ext cx="2127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000" dirty="0">
                <a:solidFill>
                  <a:srgbClr val="000000"/>
                </a:solidFill>
              </a:rPr>
              <a:t>Jun</a:t>
            </a:r>
            <a:endParaRPr kumimoji="0" lang="uk-UA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247" name="Місце для тексту 2">
            <a:extLst>
              <a:ext uri="{FF2B5EF4-FFF2-40B4-BE49-F238E27FC236}">
                <a16:creationId xmlns:a16="http://schemas.microsoft.com/office/drawing/2014/main" id="{24AF8E85-9AED-42BA-9ACB-2BE2FC837500}"/>
              </a:ext>
            </a:extLst>
          </p:cNvPr>
          <p:cNvSpPr>
            <a:spLocks noGrp="1"/>
          </p:cNvSpPr>
          <p:nvPr>
            <p:custDataLst>
              <p:tags r:id="rId70"/>
            </p:custDataLst>
          </p:nvPr>
        </p:nvSpPr>
        <p:spPr bwMode="auto">
          <a:xfrm>
            <a:off x="3149365" y="5805204"/>
            <a:ext cx="21113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000" dirty="0">
                <a:solidFill>
                  <a:srgbClr val="000000"/>
                </a:solidFill>
              </a:rPr>
              <a:t>Aug</a:t>
            </a:r>
            <a:endParaRPr kumimoji="0" lang="uk-UA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248" name="Holder 3">
            <a:extLst>
              <a:ext uri="{FF2B5EF4-FFF2-40B4-BE49-F238E27FC236}">
                <a16:creationId xmlns:a16="http://schemas.microsoft.com/office/drawing/2014/main" id="{66BE1F30-06DB-4B46-BCB2-6B850F3139F9}"/>
              </a:ext>
            </a:extLst>
          </p:cNvPr>
          <p:cNvSpPr>
            <a:spLocks noGrp="1"/>
          </p:cNvSpPr>
          <p:nvPr>
            <p:custDataLst>
              <p:tags r:id="rId71"/>
            </p:custDataLst>
          </p:nvPr>
        </p:nvSpPr>
        <p:spPr bwMode="gray">
          <a:xfrm>
            <a:off x="3520840" y="2787366"/>
            <a:ext cx="174625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5875" tIns="0" rIns="15875" bIns="0" numCol="1" spcCol="0" anchor="b" anchorCtr="0">
            <a:noAutofit/>
          </a:bodyPr>
          <a:lstStyle>
            <a:lvl1pPr marL="0"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>
              <a:defRPr>
                <a:latin typeface="+mn-lt"/>
                <a:ea typeface="+mn-ea"/>
                <a:cs typeface="+mn-cs"/>
              </a:defRPr>
            </a:lvl2pPr>
            <a:lvl3pPr marL="685800">
              <a:defRPr>
                <a:latin typeface="+mn-lt"/>
                <a:ea typeface="+mn-ea"/>
                <a:cs typeface="+mn-cs"/>
              </a:defRPr>
            </a:lvl3pPr>
            <a:lvl4pPr marL="1028700">
              <a:defRPr>
                <a:latin typeface="+mn-lt"/>
                <a:ea typeface="+mn-ea"/>
                <a:cs typeface="+mn-cs"/>
              </a:defRPr>
            </a:lvl4pPr>
            <a:lvl5pPr marL="1371600">
              <a:defRPr>
                <a:latin typeface="+mn-lt"/>
                <a:ea typeface="+mn-ea"/>
                <a:cs typeface="+mn-cs"/>
              </a:defRPr>
            </a:lvl5pPr>
            <a:lvl6pPr marL="1714500">
              <a:defRPr>
                <a:latin typeface="+mn-lt"/>
                <a:ea typeface="+mn-ea"/>
                <a:cs typeface="+mn-cs"/>
              </a:defRPr>
            </a:lvl6pPr>
            <a:lvl7pPr marL="2057400">
              <a:defRPr>
                <a:latin typeface="+mn-lt"/>
                <a:ea typeface="+mn-ea"/>
                <a:cs typeface="+mn-cs"/>
              </a:defRPr>
            </a:lvl7pPr>
            <a:lvl8pPr marL="2400300">
              <a:defRPr>
                <a:latin typeface="+mn-lt"/>
                <a:ea typeface="+mn-ea"/>
                <a:cs typeface="+mn-cs"/>
              </a:defRPr>
            </a:lvl8pPr>
            <a:lvl9pPr marL="2743200">
              <a:defRPr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1E41569-4F2D-4413-BE62-BF5E34A83B56}" type="datetime'''''''''7'''''''''''''''',3'''''''''''''">
              <a:rPr lang="en-US" altLang="en-US" sz="900" smtClean="0">
                <a:solidFill>
                  <a:schemeClr val="tx1"/>
                </a:solidFill>
                <a:sym typeface="+mn-lt"/>
              </a:rPr>
              <a:pPr/>
              <a:t>7,3</a:t>
            </a:fld>
            <a:endParaRPr lang="en-US" sz="9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49" name="Holder 3">
            <a:extLst>
              <a:ext uri="{FF2B5EF4-FFF2-40B4-BE49-F238E27FC236}">
                <a16:creationId xmlns:a16="http://schemas.microsoft.com/office/drawing/2014/main" id="{DCDFF093-B72A-4A9E-87FF-EF108FCFD1AE}"/>
              </a:ext>
            </a:extLst>
          </p:cNvPr>
          <p:cNvSpPr>
            <a:spLocks noGrp="1"/>
          </p:cNvSpPr>
          <p:nvPr>
            <p:custDataLst>
              <p:tags r:id="rId72"/>
            </p:custDataLst>
          </p:nvPr>
        </p:nvSpPr>
        <p:spPr bwMode="gray">
          <a:xfrm>
            <a:off x="3520840" y="4214529"/>
            <a:ext cx="174625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5875" tIns="0" rIns="15875" bIns="0" numCol="1" spcCol="0" anchor="b" anchorCtr="0">
            <a:noAutofit/>
          </a:bodyPr>
          <a:lstStyle>
            <a:lvl1pPr marL="0"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>
              <a:defRPr>
                <a:latin typeface="+mn-lt"/>
                <a:ea typeface="+mn-ea"/>
                <a:cs typeface="+mn-cs"/>
              </a:defRPr>
            </a:lvl2pPr>
            <a:lvl3pPr marL="685800">
              <a:defRPr>
                <a:latin typeface="+mn-lt"/>
                <a:ea typeface="+mn-ea"/>
                <a:cs typeface="+mn-cs"/>
              </a:defRPr>
            </a:lvl3pPr>
            <a:lvl4pPr marL="1028700">
              <a:defRPr>
                <a:latin typeface="+mn-lt"/>
                <a:ea typeface="+mn-ea"/>
                <a:cs typeface="+mn-cs"/>
              </a:defRPr>
            </a:lvl4pPr>
            <a:lvl5pPr marL="1371600">
              <a:defRPr>
                <a:latin typeface="+mn-lt"/>
                <a:ea typeface="+mn-ea"/>
                <a:cs typeface="+mn-cs"/>
              </a:defRPr>
            </a:lvl5pPr>
            <a:lvl6pPr marL="1714500">
              <a:defRPr>
                <a:latin typeface="+mn-lt"/>
                <a:ea typeface="+mn-ea"/>
                <a:cs typeface="+mn-cs"/>
              </a:defRPr>
            </a:lvl6pPr>
            <a:lvl7pPr marL="2057400">
              <a:defRPr>
                <a:latin typeface="+mn-lt"/>
                <a:ea typeface="+mn-ea"/>
                <a:cs typeface="+mn-cs"/>
              </a:defRPr>
            </a:lvl7pPr>
            <a:lvl8pPr marL="2400300">
              <a:defRPr>
                <a:latin typeface="+mn-lt"/>
                <a:ea typeface="+mn-ea"/>
                <a:cs typeface="+mn-cs"/>
              </a:defRPr>
            </a:lvl8pPr>
            <a:lvl9pPr marL="2743200">
              <a:defRPr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3C88AE6-E1AD-4FEA-BC63-FD0359C0BBF3}" type="datetime'4'''''''''''''',''''''''7'''''''''''''''''''''''">
              <a:rPr lang="en-US" altLang="en-US" sz="900" smtClean="0">
                <a:solidFill>
                  <a:schemeClr val="tx1"/>
                </a:solidFill>
                <a:sym typeface="+mn-lt"/>
              </a:rPr>
              <a:pPr/>
              <a:t>4,7</a:t>
            </a:fld>
            <a:endParaRPr lang="en-US" sz="9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50" name="Holder 3">
            <a:extLst>
              <a:ext uri="{FF2B5EF4-FFF2-40B4-BE49-F238E27FC236}">
                <a16:creationId xmlns:a16="http://schemas.microsoft.com/office/drawing/2014/main" id="{40618163-F12D-4420-A60F-756A89A27008}"/>
              </a:ext>
            </a:extLst>
          </p:cNvPr>
          <p:cNvSpPr>
            <a:spLocks noGrp="1"/>
          </p:cNvSpPr>
          <p:nvPr>
            <p:custDataLst>
              <p:tags r:id="rId73"/>
            </p:custDataLst>
          </p:nvPr>
        </p:nvSpPr>
        <p:spPr bwMode="gray">
          <a:xfrm>
            <a:off x="3520840" y="5006691"/>
            <a:ext cx="174625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5875" tIns="0" rIns="15875" bIns="0" numCol="1" spcCol="0" anchor="b" anchorCtr="0">
            <a:noAutofit/>
          </a:bodyPr>
          <a:lstStyle>
            <a:lvl1pPr marL="0"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>
              <a:defRPr>
                <a:latin typeface="+mn-lt"/>
                <a:ea typeface="+mn-ea"/>
                <a:cs typeface="+mn-cs"/>
              </a:defRPr>
            </a:lvl2pPr>
            <a:lvl3pPr marL="685800">
              <a:defRPr>
                <a:latin typeface="+mn-lt"/>
                <a:ea typeface="+mn-ea"/>
                <a:cs typeface="+mn-cs"/>
              </a:defRPr>
            </a:lvl3pPr>
            <a:lvl4pPr marL="1028700">
              <a:defRPr>
                <a:latin typeface="+mn-lt"/>
                <a:ea typeface="+mn-ea"/>
                <a:cs typeface="+mn-cs"/>
              </a:defRPr>
            </a:lvl4pPr>
            <a:lvl5pPr marL="1371600">
              <a:defRPr>
                <a:latin typeface="+mn-lt"/>
                <a:ea typeface="+mn-ea"/>
                <a:cs typeface="+mn-cs"/>
              </a:defRPr>
            </a:lvl5pPr>
            <a:lvl6pPr marL="1714500">
              <a:defRPr>
                <a:latin typeface="+mn-lt"/>
                <a:ea typeface="+mn-ea"/>
                <a:cs typeface="+mn-cs"/>
              </a:defRPr>
            </a:lvl6pPr>
            <a:lvl7pPr marL="2057400">
              <a:defRPr>
                <a:latin typeface="+mn-lt"/>
                <a:ea typeface="+mn-ea"/>
                <a:cs typeface="+mn-cs"/>
              </a:defRPr>
            </a:lvl7pPr>
            <a:lvl8pPr marL="2400300">
              <a:defRPr>
                <a:latin typeface="+mn-lt"/>
                <a:ea typeface="+mn-ea"/>
                <a:cs typeface="+mn-cs"/>
              </a:defRPr>
            </a:lvl8pPr>
            <a:lvl9pPr marL="2743200">
              <a:defRPr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2D9BB54-F9C2-4616-BBBC-5491EC210BF3}" type="datetime'''''''''''''''''''''''3'',''''''''''''''3'">
              <a:rPr lang="en-US" altLang="en-US" sz="900" smtClean="0">
                <a:solidFill>
                  <a:schemeClr val="tx1"/>
                </a:solidFill>
              </a:rPr>
              <a:pPr/>
              <a:t>3,3</a:t>
            </a:fld>
            <a:endParaRPr lang="en-US" sz="9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51" name="Місце для тексту 2">
            <a:extLst>
              <a:ext uri="{FF2B5EF4-FFF2-40B4-BE49-F238E27FC236}">
                <a16:creationId xmlns:a16="http://schemas.microsoft.com/office/drawing/2014/main" id="{CF0BA18C-30D7-4DE3-9920-816D0A56E6B8}"/>
              </a:ext>
            </a:extLst>
          </p:cNvPr>
          <p:cNvSpPr>
            <a:spLocks noGrp="1"/>
          </p:cNvSpPr>
          <p:nvPr>
            <p:custDataLst>
              <p:tags r:id="rId74"/>
            </p:custDataLst>
          </p:nvPr>
        </p:nvSpPr>
        <p:spPr bwMode="auto">
          <a:xfrm>
            <a:off x="3501790" y="5805204"/>
            <a:ext cx="2127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000" dirty="0">
                <a:solidFill>
                  <a:srgbClr val="000000"/>
                </a:solidFill>
              </a:rPr>
              <a:t>Sept</a:t>
            </a:r>
            <a:endParaRPr kumimoji="0" lang="uk-UA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252" name="Holder 3">
            <a:extLst>
              <a:ext uri="{FF2B5EF4-FFF2-40B4-BE49-F238E27FC236}">
                <a16:creationId xmlns:a16="http://schemas.microsoft.com/office/drawing/2014/main" id="{A8A2A716-373E-41D7-A40B-A59A6921C07D}"/>
              </a:ext>
            </a:extLst>
          </p:cNvPr>
          <p:cNvSpPr>
            <a:spLocks noGrp="1"/>
          </p:cNvSpPr>
          <p:nvPr>
            <p:custDataLst>
              <p:tags r:id="rId75"/>
            </p:custDataLst>
          </p:nvPr>
        </p:nvSpPr>
        <p:spPr bwMode="gray">
          <a:xfrm>
            <a:off x="3874852" y="2831816"/>
            <a:ext cx="174625" cy="12382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15875" tIns="0" rIns="15875" bIns="0" numCol="1" spcCol="0" anchor="b" anchorCtr="0">
            <a:noAutofit/>
          </a:bodyPr>
          <a:lstStyle>
            <a:lvl1pPr marL="0"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>
              <a:defRPr>
                <a:latin typeface="+mn-lt"/>
                <a:ea typeface="+mn-ea"/>
                <a:cs typeface="+mn-cs"/>
              </a:defRPr>
            </a:lvl2pPr>
            <a:lvl3pPr marL="685800">
              <a:defRPr>
                <a:latin typeface="+mn-lt"/>
                <a:ea typeface="+mn-ea"/>
                <a:cs typeface="+mn-cs"/>
              </a:defRPr>
            </a:lvl3pPr>
            <a:lvl4pPr marL="1028700">
              <a:defRPr>
                <a:latin typeface="+mn-lt"/>
                <a:ea typeface="+mn-ea"/>
                <a:cs typeface="+mn-cs"/>
              </a:defRPr>
            </a:lvl4pPr>
            <a:lvl5pPr marL="1371600">
              <a:defRPr>
                <a:latin typeface="+mn-lt"/>
                <a:ea typeface="+mn-ea"/>
                <a:cs typeface="+mn-cs"/>
              </a:defRPr>
            </a:lvl5pPr>
            <a:lvl6pPr marL="1714500">
              <a:defRPr>
                <a:latin typeface="+mn-lt"/>
                <a:ea typeface="+mn-ea"/>
                <a:cs typeface="+mn-cs"/>
              </a:defRPr>
            </a:lvl6pPr>
            <a:lvl7pPr marL="2057400">
              <a:defRPr>
                <a:latin typeface="+mn-lt"/>
                <a:ea typeface="+mn-ea"/>
                <a:cs typeface="+mn-cs"/>
              </a:defRPr>
            </a:lvl7pPr>
            <a:lvl8pPr marL="2400300">
              <a:defRPr>
                <a:latin typeface="+mn-lt"/>
                <a:ea typeface="+mn-ea"/>
                <a:cs typeface="+mn-cs"/>
              </a:defRPr>
            </a:lvl8pPr>
            <a:lvl9pPr marL="2743200">
              <a:defRPr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62F308C-3C75-402F-964A-10AB8C1E6311}" type="datetime'''7'''''''''',''''''''''''''''''''''2'''''">
              <a:rPr lang="en-US" altLang="en-US" sz="900" smtClean="0">
                <a:solidFill>
                  <a:schemeClr val="tx1"/>
                </a:solidFill>
                <a:sym typeface="+mn-lt"/>
              </a:rPr>
              <a:pPr/>
              <a:t>7,2</a:t>
            </a:fld>
            <a:endParaRPr lang="en-US" sz="9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53" name="Holder 3">
            <a:extLst>
              <a:ext uri="{FF2B5EF4-FFF2-40B4-BE49-F238E27FC236}">
                <a16:creationId xmlns:a16="http://schemas.microsoft.com/office/drawing/2014/main" id="{AF6FEFCC-35E8-4A5A-B5AB-1D4CB3F5F505}"/>
              </a:ext>
            </a:extLst>
          </p:cNvPr>
          <p:cNvSpPr>
            <a:spLocks noGrp="1"/>
          </p:cNvSpPr>
          <p:nvPr>
            <p:custDataLst>
              <p:tags r:id="rId76"/>
            </p:custDataLst>
          </p:nvPr>
        </p:nvSpPr>
        <p:spPr bwMode="gray">
          <a:xfrm>
            <a:off x="2460390" y="2849279"/>
            <a:ext cx="174625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5875" tIns="0" rIns="15875" bIns="0" numCol="1" spcCol="0" anchor="b" anchorCtr="0">
            <a:noAutofit/>
          </a:bodyPr>
          <a:lstStyle>
            <a:lvl1pPr marL="0"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>
              <a:defRPr>
                <a:latin typeface="+mn-lt"/>
                <a:ea typeface="+mn-ea"/>
                <a:cs typeface="+mn-cs"/>
              </a:defRPr>
            </a:lvl2pPr>
            <a:lvl3pPr marL="685800">
              <a:defRPr>
                <a:latin typeface="+mn-lt"/>
                <a:ea typeface="+mn-ea"/>
                <a:cs typeface="+mn-cs"/>
              </a:defRPr>
            </a:lvl3pPr>
            <a:lvl4pPr marL="1028700">
              <a:defRPr>
                <a:latin typeface="+mn-lt"/>
                <a:ea typeface="+mn-ea"/>
                <a:cs typeface="+mn-cs"/>
              </a:defRPr>
            </a:lvl4pPr>
            <a:lvl5pPr marL="1371600">
              <a:defRPr>
                <a:latin typeface="+mn-lt"/>
                <a:ea typeface="+mn-ea"/>
                <a:cs typeface="+mn-cs"/>
              </a:defRPr>
            </a:lvl5pPr>
            <a:lvl6pPr marL="1714500">
              <a:defRPr>
                <a:latin typeface="+mn-lt"/>
                <a:ea typeface="+mn-ea"/>
                <a:cs typeface="+mn-cs"/>
              </a:defRPr>
            </a:lvl6pPr>
            <a:lvl7pPr marL="2057400">
              <a:defRPr>
                <a:latin typeface="+mn-lt"/>
                <a:ea typeface="+mn-ea"/>
                <a:cs typeface="+mn-cs"/>
              </a:defRPr>
            </a:lvl7pPr>
            <a:lvl8pPr marL="2400300">
              <a:defRPr>
                <a:latin typeface="+mn-lt"/>
                <a:ea typeface="+mn-ea"/>
                <a:cs typeface="+mn-cs"/>
              </a:defRPr>
            </a:lvl8pPr>
            <a:lvl9pPr marL="2743200">
              <a:defRPr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5DB3C7FB-81D6-485D-8AB1-87674C914F0E}" type="datetime'''''''''''''''7'''''',''''''2'''''">
              <a:rPr lang="en-US" altLang="en-US" sz="900" smtClean="0">
                <a:solidFill>
                  <a:schemeClr val="tx1"/>
                </a:solidFill>
                <a:sym typeface="+mn-lt"/>
              </a:rPr>
              <a:pPr/>
              <a:t>7,2</a:t>
            </a:fld>
            <a:endParaRPr lang="en-US" sz="9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54" name="Holder 3">
            <a:extLst>
              <a:ext uri="{FF2B5EF4-FFF2-40B4-BE49-F238E27FC236}">
                <a16:creationId xmlns:a16="http://schemas.microsoft.com/office/drawing/2014/main" id="{77159B82-954E-4CD6-A00C-0C1FC7964667}"/>
              </a:ext>
            </a:extLst>
          </p:cNvPr>
          <p:cNvSpPr>
            <a:spLocks noGrp="1"/>
          </p:cNvSpPr>
          <p:nvPr>
            <p:custDataLst>
              <p:tags r:id="rId77"/>
            </p:custDataLst>
          </p:nvPr>
        </p:nvSpPr>
        <p:spPr bwMode="gray">
          <a:xfrm>
            <a:off x="4227277" y="3882741"/>
            <a:ext cx="174625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5875" tIns="0" rIns="15875" bIns="0" numCol="1" spcCol="0" anchor="b" anchorCtr="0">
            <a:noAutofit/>
          </a:bodyPr>
          <a:lstStyle>
            <a:lvl1pPr marL="0"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>
              <a:defRPr>
                <a:latin typeface="+mn-lt"/>
                <a:ea typeface="+mn-ea"/>
                <a:cs typeface="+mn-cs"/>
              </a:defRPr>
            </a:lvl2pPr>
            <a:lvl3pPr marL="685800">
              <a:defRPr>
                <a:latin typeface="+mn-lt"/>
                <a:ea typeface="+mn-ea"/>
                <a:cs typeface="+mn-cs"/>
              </a:defRPr>
            </a:lvl3pPr>
            <a:lvl4pPr marL="1028700">
              <a:defRPr>
                <a:latin typeface="+mn-lt"/>
                <a:ea typeface="+mn-ea"/>
                <a:cs typeface="+mn-cs"/>
              </a:defRPr>
            </a:lvl4pPr>
            <a:lvl5pPr marL="1371600">
              <a:defRPr>
                <a:latin typeface="+mn-lt"/>
                <a:ea typeface="+mn-ea"/>
                <a:cs typeface="+mn-cs"/>
              </a:defRPr>
            </a:lvl5pPr>
            <a:lvl6pPr marL="1714500">
              <a:defRPr>
                <a:latin typeface="+mn-lt"/>
                <a:ea typeface="+mn-ea"/>
                <a:cs typeface="+mn-cs"/>
              </a:defRPr>
            </a:lvl6pPr>
            <a:lvl7pPr marL="2057400">
              <a:defRPr>
                <a:latin typeface="+mn-lt"/>
                <a:ea typeface="+mn-ea"/>
                <a:cs typeface="+mn-cs"/>
              </a:defRPr>
            </a:lvl7pPr>
            <a:lvl8pPr marL="2400300">
              <a:defRPr>
                <a:latin typeface="+mn-lt"/>
                <a:ea typeface="+mn-ea"/>
                <a:cs typeface="+mn-cs"/>
              </a:defRPr>
            </a:lvl8pPr>
            <a:lvl9pPr marL="2743200">
              <a:defRPr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3898234-9C0D-4B27-A9C4-A8CB951AC29A}" type="datetime'''''''''''''''''''''''5'''',''''''3'''''''''''''''''''''''">
              <a:rPr lang="en-US" altLang="en-US" sz="900" smtClean="0">
                <a:solidFill>
                  <a:schemeClr val="tx1"/>
                </a:solidFill>
                <a:sym typeface="+mn-lt"/>
              </a:rPr>
              <a:pPr/>
              <a:t>5,3</a:t>
            </a:fld>
            <a:endParaRPr lang="en-US" sz="9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55" name="Holder 3">
            <a:extLst>
              <a:ext uri="{FF2B5EF4-FFF2-40B4-BE49-F238E27FC236}">
                <a16:creationId xmlns:a16="http://schemas.microsoft.com/office/drawing/2014/main" id="{18B561DA-AE27-4539-A83E-987871031B05}"/>
              </a:ext>
            </a:extLst>
          </p:cNvPr>
          <p:cNvSpPr>
            <a:spLocks noGrp="1"/>
          </p:cNvSpPr>
          <p:nvPr>
            <p:custDataLst>
              <p:tags r:id="rId78"/>
            </p:custDataLst>
          </p:nvPr>
        </p:nvSpPr>
        <p:spPr bwMode="gray">
          <a:xfrm>
            <a:off x="4227277" y="5127341"/>
            <a:ext cx="174625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5875" tIns="0" rIns="15875" bIns="0" numCol="1" spcCol="0" anchor="b" anchorCtr="0">
            <a:noAutofit/>
          </a:bodyPr>
          <a:lstStyle>
            <a:lvl1pPr marL="0"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>
              <a:defRPr>
                <a:latin typeface="+mn-lt"/>
                <a:ea typeface="+mn-ea"/>
                <a:cs typeface="+mn-cs"/>
              </a:defRPr>
            </a:lvl2pPr>
            <a:lvl3pPr marL="685800">
              <a:defRPr>
                <a:latin typeface="+mn-lt"/>
                <a:ea typeface="+mn-ea"/>
                <a:cs typeface="+mn-cs"/>
              </a:defRPr>
            </a:lvl3pPr>
            <a:lvl4pPr marL="1028700">
              <a:defRPr>
                <a:latin typeface="+mn-lt"/>
                <a:ea typeface="+mn-ea"/>
                <a:cs typeface="+mn-cs"/>
              </a:defRPr>
            </a:lvl4pPr>
            <a:lvl5pPr marL="1371600">
              <a:defRPr>
                <a:latin typeface="+mn-lt"/>
                <a:ea typeface="+mn-ea"/>
                <a:cs typeface="+mn-cs"/>
              </a:defRPr>
            </a:lvl5pPr>
            <a:lvl6pPr marL="1714500">
              <a:defRPr>
                <a:latin typeface="+mn-lt"/>
                <a:ea typeface="+mn-ea"/>
                <a:cs typeface="+mn-cs"/>
              </a:defRPr>
            </a:lvl6pPr>
            <a:lvl7pPr marL="2057400">
              <a:defRPr>
                <a:latin typeface="+mn-lt"/>
                <a:ea typeface="+mn-ea"/>
                <a:cs typeface="+mn-cs"/>
              </a:defRPr>
            </a:lvl7pPr>
            <a:lvl8pPr marL="2400300">
              <a:defRPr>
                <a:latin typeface="+mn-lt"/>
                <a:ea typeface="+mn-ea"/>
                <a:cs typeface="+mn-cs"/>
              </a:defRPr>
            </a:lvl8pPr>
            <a:lvl9pPr marL="2743200">
              <a:defRPr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B92D10D-CF98-4235-8C63-180FC8BBA966}" type="datetime'''3'''''',''''''''''''0'''''''''''''''''''''''''''''''''''">
              <a:rPr lang="en-US" altLang="en-US" sz="900" smtClean="0">
                <a:solidFill>
                  <a:schemeClr val="tx1"/>
                </a:solidFill>
              </a:rPr>
              <a:pPr/>
              <a:t>3,0</a:t>
            </a:fld>
            <a:endParaRPr lang="en-US" sz="9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56" name="Місце для тексту 2">
            <a:extLst>
              <a:ext uri="{FF2B5EF4-FFF2-40B4-BE49-F238E27FC236}">
                <a16:creationId xmlns:a16="http://schemas.microsoft.com/office/drawing/2014/main" id="{98852950-CEE0-4AD1-9CBD-C0E98C0CAF28}"/>
              </a:ext>
            </a:extLst>
          </p:cNvPr>
          <p:cNvSpPr>
            <a:spLocks noGrp="1"/>
          </p:cNvSpPr>
          <p:nvPr>
            <p:custDataLst>
              <p:tags r:id="rId79"/>
            </p:custDataLst>
          </p:nvPr>
        </p:nvSpPr>
        <p:spPr bwMode="auto">
          <a:xfrm>
            <a:off x="4208227" y="5805204"/>
            <a:ext cx="2127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000" dirty="0">
                <a:solidFill>
                  <a:srgbClr val="000000"/>
                </a:solidFill>
              </a:rPr>
              <a:t>Nov</a:t>
            </a:r>
            <a:endParaRPr kumimoji="0" lang="uk-UA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257" name="Holder 3">
            <a:extLst>
              <a:ext uri="{FF2B5EF4-FFF2-40B4-BE49-F238E27FC236}">
                <a16:creationId xmlns:a16="http://schemas.microsoft.com/office/drawing/2014/main" id="{CD1F1F92-6E95-4B6B-AA25-A9B802A1D4B5}"/>
              </a:ext>
            </a:extLst>
          </p:cNvPr>
          <p:cNvSpPr>
            <a:spLocks noGrp="1"/>
          </p:cNvSpPr>
          <p:nvPr>
            <p:custDataLst>
              <p:tags r:id="rId80"/>
            </p:custDataLst>
          </p:nvPr>
        </p:nvSpPr>
        <p:spPr bwMode="gray">
          <a:xfrm>
            <a:off x="4581290" y="2384141"/>
            <a:ext cx="174625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5875" tIns="0" rIns="15875" bIns="0" numCol="1" spcCol="0" anchor="b" anchorCtr="0">
            <a:noAutofit/>
          </a:bodyPr>
          <a:lstStyle>
            <a:lvl1pPr marL="0"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>
              <a:defRPr>
                <a:latin typeface="+mn-lt"/>
                <a:ea typeface="+mn-ea"/>
                <a:cs typeface="+mn-cs"/>
              </a:defRPr>
            </a:lvl2pPr>
            <a:lvl3pPr marL="685800">
              <a:defRPr>
                <a:latin typeface="+mn-lt"/>
                <a:ea typeface="+mn-ea"/>
                <a:cs typeface="+mn-cs"/>
              </a:defRPr>
            </a:lvl3pPr>
            <a:lvl4pPr marL="1028700">
              <a:defRPr>
                <a:latin typeface="+mn-lt"/>
                <a:ea typeface="+mn-ea"/>
                <a:cs typeface="+mn-cs"/>
              </a:defRPr>
            </a:lvl4pPr>
            <a:lvl5pPr marL="1371600">
              <a:defRPr>
                <a:latin typeface="+mn-lt"/>
                <a:ea typeface="+mn-ea"/>
                <a:cs typeface="+mn-cs"/>
              </a:defRPr>
            </a:lvl5pPr>
            <a:lvl6pPr marL="1714500">
              <a:defRPr>
                <a:latin typeface="+mn-lt"/>
                <a:ea typeface="+mn-ea"/>
                <a:cs typeface="+mn-cs"/>
              </a:defRPr>
            </a:lvl6pPr>
            <a:lvl7pPr marL="2057400">
              <a:defRPr>
                <a:latin typeface="+mn-lt"/>
                <a:ea typeface="+mn-ea"/>
                <a:cs typeface="+mn-cs"/>
              </a:defRPr>
            </a:lvl7pPr>
            <a:lvl8pPr marL="2400300">
              <a:defRPr>
                <a:latin typeface="+mn-lt"/>
                <a:ea typeface="+mn-ea"/>
                <a:cs typeface="+mn-cs"/>
              </a:defRPr>
            </a:lvl8pPr>
            <a:lvl9pPr marL="2743200">
              <a:defRPr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6142866-397B-45A9-BE3C-CA1922F2088C}" type="datetime'''''''''''''''''''''''''''''8'''''''',''0'">
              <a:rPr lang="en-US" altLang="en-US" sz="900" smtClean="0">
                <a:solidFill>
                  <a:schemeClr val="tx1"/>
                </a:solidFill>
                <a:sym typeface="+mn-lt"/>
              </a:rPr>
              <a:pPr/>
              <a:t>8,0</a:t>
            </a:fld>
            <a:endParaRPr lang="en-US" sz="9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58" name="Holder 3">
            <a:extLst>
              <a:ext uri="{FF2B5EF4-FFF2-40B4-BE49-F238E27FC236}">
                <a16:creationId xmlns:a16="http://schemas.microsoft.com/office/drawing/2014/main" id="{844DB3B1-55A0-46C9-971E-5FC4C4101A26}"/>
              </a:ext>
            </a:extLst>
          </p:cNvPr>
          <p:cNvSpPr>
            <a:spLocks noGrp="1"/>
          </p:cNvSpPr>
          <p:nvPr>
            <p:custDataLst>
              <p:tags r:id="rId81"/>
            </p:custDataLst>
          </p:nvPr>
        </p:nvSpPr>
        <p:spPr bwMode="gray">
          <a:xfrm>
            <a:off x="4581290" y="3665254"/>
            <a:ext cx="174625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5875" tIns="0" rIns="15875" bIns="0" numCol="1" spcCol="0" anchor="b" anchorCtr="0">
            <a:noAutofit/>
          </a:bodyPr>
          <a:lstStyle>
            <a:lvl1pPr marL="0"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>
              <a:defRPr>
                <a:latin typeface="+mn-lt"/>
                <a:ea typeface="+mn-ea"/>
                <a:cs typeface="+mn-cs"/>
              </a:defRPr>
            </a:lvl2pPr>
            <a:lvl3pPr marL="685800">
              <a:defRPr>
                <a:latin typeface="+mn-lt"/>
                <a:ea typeface="+mn-ea"/>
                <a:cs typeface="+mn-cs"/>
              </a:defRPr>
            </a:lvl3pPr>
            <a:lvl4pPr marL="1028700">
              <a:defRPr>
                <a:latin typeface="+mn-lt"/>
                <a:ea typeface="+mn-ea"/>
                <a:cs typeface="+mn-cs"/>
              </a:defRPr>
            </a:lvl4pPr>
            <a:lvl5pPr marL="1371600">
              <a:defRPr>
                <a:latin typeface="+mn-lt"/>
                <a:ea typeface="+mn-ea"/>
                <a:cs typeface="+mn-cs"/>
              </a:defRPr>
            </a:lvl5pPr>
            <a:lvl6pPr marL="1714500">
              <a:defRPr>
                <a:latin typeface="+mn-lt"/>
                <a:ea typeface="+mn-ea"/>
                <a:cs typeface="+mn-cs"/>
              </a:defRPr>
            </a:lvl6pPr>
            <a:lvl7pPr marL="2057400">
              <a:defRPr>
                <a:latin typeface="+mn-lt"/>
                <a:ea typeface="+mn-ea"/>
                <a:cs typeface="+mn-cs"/>
              </a:defRPr>
            </a:lvl7pPr>
            <a:lvl8pPr marL="2400300">
              <a:defRPr>
                <a:latin typeface="+mn-lt"/>
                <a:ea typeface="+mn-ea"/>
                <a:cs typeface="+mn-cs"/>
              </a:defRPr>
            </a:lvl8pPr>
            <a:lvl9pPr marL="2743200">
              <a:defRPr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E61D9E4-27B5-40C2-B706-77F5F03FAA3C}" type="datetime'''''''''''''''''''5'''''''''''',''''''''7'''">
              <a:rPr lang="en-US" altLang="en-US" sz="900" smtClean="0">
                <a:solidFill>
                  <a:schemeClr val="tx1"/>
                </a:solidFill>
                <a:sym typeface="+mn-lt"/>
              </a:rPr>
              <a:pPr/>
              <a:t>5,7</a:t>
            </a:fld>
            <a:endParaRPr lang="en-US" sz="9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59" name="Holder 3">
            <a:extLst>
              <a:ext uri="{FF2B5EF4-FFF2-40B4-BE49-F238E27FC236}">
                <a16:creationId xmlns:a16="http://schemas.microsoft.com/office/drawing/2014/main" id="{018F030D-870C-4E32-994D-C4DD54A8CE42}"/>
              </a:ext>
            </a:extLst>
          </p:cNvPr>
          <p:cNvSpPr>
            <a:spLocks noGrp="1"/>
          </p:cNvSpPr>
          <p:nvPr>
            <p:custDataLst>
              <p:tags r:id="rId82"/>
            </p:custDataLst>
          </p:nvPr>
        </p:nvSpPr>
        <p:spPr bwMode="gray">
          <a:xfrm>
            <a:off x="4581290" y="5014629"/>
            <a:ext cx="174625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5875" tIns="0" rIns="15875" bIns="0" numCol="1" spcCol="0" anchor="b" anchorCtr="0">
            <a:noAutofit/>
          </a:bodyPr>
          <a:lstStyle>
            <a:lvl1pPr marL="0"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>
              <a:defRPr>
                <a:latin typeface="+mn-lt"/>
                <a:ea typeface="+mn-ea"/>
                <a:cs typeface="+mn-cs"/>
              </a:defRPr>
            </a:lvl2pPr>
            <a:lvl3pPr marL="685800">
              <a:defRPr>
                <a:latin typeface="+mn-lt"/>
                <a:ea typeface="+mn-ea"/>
                <a:cs typeface="+mn-cs"/>
              </a:defRPr>
            </a:lvl3pPr>
            <a:lvl4pPr marL="1028700">
              <a:defRPr>
                <a:latin typeface="+mn-lt"/>
                <a:ea typeface="+mn-ea"/>
                <a:cs typeface="+mn-cs"/>
              </a:defRPr>
            </a:lvl4pPr>
            <a:lvl5pPr marL="1371600">
              <a:defRPr>
                <a:latin typeface="+mn-lt"/>
                <a:ea typeface="+mn-ea"/>
                <a:cs typeface="+mn-cs"/>
              </a:defRPr>
            </a:lvl5pPr>
            <a:lvl6pPr marL="1714500">
              <a:defRPr>
                <a:latin typeface="+mn-lt"/>
                <a:ea typeface="+mn-ea"/>
                <a:cs typeface="+mn-cs"/>
              </a:defRPr>
            </a:lvl6pPr>
            <a:lvl7pPr marL="2057400">
              <a:defRPr>
                <a:latin typeface="+mn-lt"/>
                <a:ea typeface="+mn-ea"/>
                <a:cs typeface="+mn-cs"/>
              </a:defRPr>
            </a:lvl7pPr>
            <a:lvl8pPr marL="2400300">
              <a:defRPr>
                <a:latin typeface="+mn-lt"/>
                <a:ea typeface="+mn-ea"/>
                <a:cs typeface="+mn-cs"/>
              </a:defRPr>
            </a:lvl8pPr>
            <a:lvl9pPr marL="2743200">
              <a:defRPr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A76BDB5-4AD7-44D9-8C00-4FA580326C45}" type="datetime'3'''''''',''''''''''''''''''''''''''''''''''2'''''''''''">
              <a:rPr lang="en-US" altLang="en-US" sz="900" smtClean="0">
                <a:solidFill>
                  <a:schemeClr val="tx1"/>
                </a:solidFill>
                <a:sym typeface="+mn-lt"/>
              </a:rPr>
              <a:pPr/>
              <a:t>3,2</a:t>
            </a:fld>
            <a:endParaRPr lang="en-US" sz="9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60" name="Місце для тексту 2">
            <a:extLst>
              <a:ext uri="{FF2B5EF4-FFF2-40B4-BE49-F238E27FC236}">
                <a16:creationId xmlns:a16="http://schemas.microsoft.com/office/drawing/2014/main" id="{F25A3C15-03F1-407B-8F0F-FA3051C576A3}"/>
              </a:ext>
            </a:extLst>
          </p:cNvPr>
          <p:cNvSpPr>
            <a:spLocks noGrp="1"/>
          </p:cNvSpPr>
          <p:nvPr>
            <p:custDataLst>
              <p:tags r:id="rId83"/>
            </p:custDataLst>
          </p:nvPr>
        </p:nvSpPr>
        <p:spPr bwMode="auto">
          <a:xfrm>
            <a:off x="4573352" y="5805204"/>
            <a:ext cx="1905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000" dirty="0">
                <a:solidFill>
                  <a:srgbClr val="000000"/>
                </a:solidFill>
              </a:rPr>
              <a:t>Dec</a:t>
            </a:r>
            <a:endParaRPr kumimoji="0" lang="uk-UA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261" name="Holder 3">
            <a:extLst>
              <a:ext uri="{FF2B5EF4-FFF2-40B4-BE49-F238E27FC236}">
                <a16:creationId xmlns:a16="http://schemas.microsoft.com/office/drawing/2014/main" id="{0D01E9E5-762F-47D0-9EA3-336455F39123}"/>
              </a:ext>
            </a:extLst>
          </p:cNvPr>
          <p:cNvSpPr>
            <a:spLocks noGrp="1"/>
          </p:cNvSpPr>
          <p:nvPr>
            <p:custDataLst>
              <p:tags r:id="rId84"/>
            </p:custDataLst>
          </p:nvPr>
        </p:nvSpPr>
        <p:spPr bwMode="gray">
          <a:xfrm>
            <a:off x="1398352" y="4765391"/>
            <a:ext cx="174625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5875" tIns="0" rIns="15875" bIns="0" numCol="1" spcCol="0" anchor="b" anchorCtr="0">
            <a:noAutofit/>
          </a:bodyPr>
          <a:lstStyle>
            <a:lvl1pPr marL="0"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>
              <a:defRPr>
                <a:latin typeface="+mn-lt"/>
                <a:ea typeface="+mn-ea"/>
                <a:cs typeface="+mn-cs"/>
              </a:defRPr>
            </a:lvl2pPr>
            <a:lvl3pPr marL="685800">
              <a:defRPr>
                <a:latin typeface="+mn-lt"/>
                <a:ea typeface="+mn-ea"/>
                <a:cs typeface="+mn-cs"/>
              </a:defRPr>
            </a:lvl3pPr>
            <a:lvl4pPr marL="1028700">
              <a:defRPr>
                <a:latin typeface="+mn-lt"/>
                <a:ea typeface="+mn-ea"/>
                <a:cs typeface="+mn-cs"/>
              </a:defRPr>
            </a:lvl4pPr>
            <a:lvl5pPr marL="1371600">
              <a:defRPr>
                <a:latin typeface="+mn-lt"/>
                <a:ea typeface="+mn-ea"/>
                <a:cs typeface="+mn-cs"/>
              </a:defRPr>
            </a:lvl5pPr>
            <a:lvl6pPr marL="1714500">
              <a:defRPr>
                <a:latin typeface="+mn-lt"/>
                <a:ea typeface="+mn-ea"/>
                <a:cs typeface="+mn-cs"/>
              </a:defRPr>
            </a:lvl6pPr>
            <a:lvl7pPr marL="2057400">
              <a:defRPr>
                <a:latin typeface="+mn-lt"/>
                <a:ea typeface="+mn-ea"/>
                <a:cs typeface="+mn-cs"/>
              </a:defRPr>
            </a:lvl7pPr>
            <a:lvl8pPr marL="2400300">
              <a:defRPr>
                <a:latin typeface="+mn-lt"/>
                <a:ea typeface="+mn-ea"/>
                <a:cs typeface="+mn-cs"/>
              </a:defRPr>
            </a:lvl8pPr>
            <a:lvl9pPr marL="2743200">
              <a:defRPr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C72AF65-3C59-44B4-9981-B59566A99703}" type="datetime'3,''''''''''''''''''''''''7'''''''''''''''''''''''''''''">
              <a:rPr lang="en-US" altLang="en-US" sz="900" smtClean="0">
                <a:solidFill>
                  <a:schemeClr val="tx1"/>
                </a:solidFill>
                <a:sym typeface="+mn-lt"/>
              </a:rPr>
              <a:pPr/>
              <a:t>3,7</a:t>
            </a:fld>
            <a:endParaRPr lang="en-US" sz="9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62" name="Місце для тексту 2">
            <a:extLst>
              <a:ext uri="{FF2B5EF4-FFF2-40B4-BE49-F238E27FC236}">
                <a16:creationId xmlns:a16="http://schemas.microsoft.com/office/drawing/2014/main" id="{A7EFA899-C549-4409-8F4F-013ED0756075}"/>
              </a:ext>
            </a:extLst>
          </p:cNvPr>
          <p:cNvSpPr>
            <a:spLocks noGrp="1"/>
          </p:cNvSpPr>
          <p:nvPr>
            <p:custDataLst>
              <p:tags r:id="rId85"/>
            </p:custDataLst>
          </p:nvPr>
        </p:nvSpPr>
        <p:spPr bwMode="auto">
          <a:xfrm>
            <a:off x="3841515" y="5805204"/>
            <a:ext cx="2413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000" dirty="0">
                <a:solidFill>
                  <a:srgbClr val="000000"/>
                </a:solidFill>
              </a:rPr>
              <a:t>Oct</a:t>
            </a:r>
            <a:endParaRPr kumimoji="0" lang="uk-UA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263" name="Holder 3">
            <a:extLst>
              <a:ext uri="{FF2B5EF4-FFF2-40B4-BE49-F238E27FC236}">
                <a16:creationId xmlns:a16="http://schemas.microsoft.com/office/drawing/2014/main" id="{4D3A3309-3535-477C-8C60-5C33F4EEFA1C}"/>
              </a:ext>
            </a:extLst>
          </p:cNvPr>
          <p:cNvSpPr>
            <a:spLocks noGrp="1"/>
          </p:cNvSpPr>
          <p:nvPr>
            <p:custDataLst>
              <p:tags r:id="rId86"/>
            </p:custDataLst>
          </p:nvPr>
        </p:nvSpPr>
        <p:spPr bwMode="auto">
          <a:xfrm>
            <a:off x="3798652" y="4636804"/>
            <a:ext cx="328613" cy="193675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anchor="ctr" anchorCtr="0">
            <a:noAutofit/>
          </a:bodyPr>
          <a:lstStyle>
            <a:lvl1pPr marL="0"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>
              <a:defRPr>
                <a:latin typeface="+mn-lt"/>
                <a:ea typeface="+mn-ea"/>
                <a:cs typeface="+mn-cs"/>
              </a:defRPr>
            </a:lvl2pPr>
            <a:lvl3pPr marL="685800">
              <a:defRPr>
                <a:latin typeface="+mn-lt"/>
                <a:ea typeface="+mn-ea"/>
                <a:cs typeface="+mn-cs"/>
              </a:defRPr>
            </a:lvl3pPr>
            <a:lvl4pPr marL="1028700">
              <a:defRPr>
                <a:latin typeface="+mn-lt"/>
                <a:ea typeface="+mn-ea"/>
                <a:cs typeface="+mn-cs"/>
              </a:defRPr>
            </a:lvl4pPr>
            <a:lvl5pPr marL="1371600">
              <a:defRPr>
                <a:latin typeface="+mn-lt"/>
                <a:ea typeface="+mn-ea"/>
                <a:cs typeface="+mn-cs"/>
              </a:defRPr>
            </a:lvl5pPr>
            <a:lvl6pPr marL="1714500">
              <a:defRPr>
                <a:latin typeface="+mn-lt"/>
                <a:ea typeface="+mn-ea"/>
                <a:cs typeface="+mn-cs"/>
              </a:defRPr>
            </a:lvl6pPr>
            <a:lvl7pPr marL="2057400">
              <a:defRPr>
                <a:latin typeface="+mn-lt"/>
                <a:ea typeface="+mn-ea"/>
                <a:cs typeface="+mn-cs"/>
              </a:defRPr>
            </a:lvl7pPr>
            <a:lvl8pPr marL="2400300">
              <a:defRPr>
                <a:latin typeface="+mn-lt"/>
                <a:ea typeface="+mn-ea"/>
                <a:cs typeface="+mn-cs"/>
              </a:defRPr>
            </a:lvl8pPr>
            <a:lvl9pPr marL="2743200">
              <a:defRPr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D41FC4BE-6DB7-4E8F-BC94-3EADD81E14DE}" type="datetime'-''''''''''''''''5''''''2''''''''''''''''''%'''''''''''''">
              <a:rPr lang="en-US" altLang="en-US" sz="900" b="1" smtClean="0">
                <a:solidFill>
                  <a:schemeClr val="tx1"/>
                </a:solidFill>
                <a:effectLst/>
              </a:rPr>
              <a:pPr/>
              <a:t>-52%</a:t>
            </a:fld>
            <a:endParaRPr lang="en-US" sz="900" b="1" dirty="0">
              <a:solidFill>
                <a:schemeClr val="tx1"/>
              </a:solidFill>
              <a:sym typeface="+mn-lt"/>
            </a:endParaRPr>
          </a:p>
        </p:txBody>
      </p:sp>
      <p:cxnSp>
        <p:nvCxnSpPr>
          <p:cNvPr id="264" name="Пряма сполучна лінія 263">
            <a:extLst>
              <a:ext uri="{FF2B5EF4-FFF2-40B4-BE49-F238E27FC236}">
                <a16:creationId xmlns:a16="http://schemas.microsoft.com/office/drawing/2014/main" id="{B2914863-63E5-4B1F-B50D-70BB54DE4254}"/>
              </a:ext>
            </a:extLst>
          </p:cNvPr>
          <p:cNvCxnSpPr>
            <a:cxnSpLocks/>
          </p:cNvCxnSpPr>
          <p:nvPr>
            <p:custDataLst>
              <p:tags r:id="rId87"/>
            </p:custDataLst>
          </p:nvPr>
        </p:nvCxnSpPr>
        <p:spPr bwMode="gray">
          <a:xfrm>
            <a:off x="821908" y="6324316"/>
            <a:ext cx="276225" cy="0"/>
          </a:xfrm>
          <a:prstGeom prst="line">
            <a:avLst/>
          </a:prstGeom>
          <a:ln w="9525" cap="rnd" cmpd="sng" algn="ctr">
            <a:solidFill>
              <a:srgbClr val="969696"/>
            </a:solidFill>
            <a:prstDash val="lgDash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5" name="Пряма сполучна лінія 264">
            <a:extLst>
              <a:ext uri="{FF2B5EF4-FFF2-40B4-BE49-F238E27FC236}">
                <a16:creationId xmlns:a16="http://schemas.microsoft.com/office/drawing/2014/main" id="{E98419F5-8BF1-4429-A9B7-FD66E37C131E}"/>
              </a:ext>
            </a:extLst>
          </p:cNvPr>
          <p:cNvCxnSpPr>
            <a:cxnSpLocks/>
          </p:cNvCxnSpPr>
          <p:nvPr>
            <p:custDataLst>
              <p:tags r:id="rId88"/>
            </p:custDataLst>
          </p:nvPr>
        </p:nvCxnSpPr>
        <p:spPr bwMode="gray">
          <a:xfrm>
            <a:off x="3401595" y="6296758"/>
            <a:ext cx="284163" cy="0"/>
          </a:xfrm>
          <a:prstGeom prst="line">
            <a:avLst/>
          </a:prstGeom>
          <a:ln w="28575" cap="rnd" cmpd="sng" algn="ctr">
            <a:solidFill>
              <a:srgbClr val="00A2DF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66" name="Пряма сполучна лінія 265">
            <a:extLst>
              <a:ext uri="{FF2B5EF4-FFF2-40B4-BE49-F238E27FC236}">
                <a16:creationId xmlns:a16="http://schemas.microsoft.com/office/drawing/2014/main" id="{769FB17B-344C-4A5E-BF91-A4AFB739DF3B}"/>
              </a:ext>
            </a:extLst>
          </p:cNvPr>
          <p:cNvCxnSpPr>
            <a:cxnSpLocks/>
          </p:cNvCxnSpPr>
          <p:nvPr>
            <p:custDataLst>
              <p:tags r:id="rId89"/>
            </p:custDataLst>
          </p:nvPr>
        </p:nvCxnSpPr>
        <p:spPr bwMode="gray">
          <a:xfrm>
            <a:off x="2625308" y="6296758"/>
            <a:ext cx="284163" cy="0"/>
          </a:xfrm>
          <a:prstGeom prst="line">
            <a:avLst/>
          </a:prstGeom>
          <a:ln w="28575" cap="rnd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7" name="Рівнобедрений трикутник 266">
            <a:extLst>
              <a:ext uri="{FF2B5EF4-FFF2-40B4-BE49-F238E27FC236}">
                <a16:creationId xmlns:a16="http://schemas.microsoft.com/office/drawing/2014/main" id="{B83BBDAF-3CFC-4C7C-88F4-CFB24ADCD875}"/>
              </a:ext>
            </a:extLst>
          </p:cNvPr>
          <p:cNvSpPr/>
          <p:nvPr>
            <p:custDataLst>
              <p:tags r:id="rId90"/>
            </p:custDataLst>
          </p:nvPr>
        </p:nvSpPr>
        <p:spPr bwMode="auto">
          <a:xfrm>
            <a:off x="2728494" y="6258658"/>
            <a:ext cx="76200" cy="76200"/>
          </a:xfrm>
          <a:prstGeom prst="triangle">
            <a:avLst/>
          </a:prstGeom>
          <a:solidFill>
            <a:schemeClr val="accent6"/>
          </a:solidFill>
          <a:ln w="9525" cap="flat" cmpd="sng" algn="ctr">
            <a:solidFill>
              <a:schemeClr val="accent6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68" name="Овал 267">
            <a:extLst>
              <a:ext uri="{FF2B5EF4-FFF2-40B4-BE49-F238E27FC236}">
                <a16:creationId xmlns:a16="http://schemas.microsoft.com/office/drawing/2014/main" id="{814232CC-1B91-45E4-804F-846D8375C6B0}"/>
              </a:ext>
            </a:extLst>
          </p:cNvPr>
          <p:cNvSpPr/>
          <p:nvPr>
            <p:custDataLst>
              <p:tags r:id="rId91"/>
            </p:custDataLst>
          </p:nvPr>
        </p:nvSpPr>
        <p:spPr bwMode="auto">
          <a:xfrm>
            <a:off x="3498432" y="6252308"/>
            <a:ext cx="88900" cy="88900"/>
          </a:xfrm>
          <a:prstGeom prst="ellipse">
            <a:avLst/>
          </a:prstGeom>
          <a:solidFill>
            <a:srgbClr val="FFFFFF"/>
          </a:solidFill>
          <a:ln w="9525" cap="flat" cmpd="sng" algn="ctr">
            <a:solidFill>
              <a:srgbClr val="00A2DF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900"/>
          </a:p>
        </p:txBody>
      </p:sp>
      <p:sp>
        <p:nvSpPr>
          <p:cNvPr id="272" name="Прямокутник 271">
            <a:extLst>
              <a:ext uri="{FF2B5EF4-FFF2-40B4-BE49-F238E27FC236}">
                <a16:creationId xmlns:a16="http://schemas.microsoft.com/office/drawing/2014/main" id="{95093AAC-E131-489C-9033-B54F23B5DC2F}"/>
              </a:ext>
            </a:extLst>
          </p:cNvPr>
          <p:cNvSpPr/>
          <p:nvPr>
            <p:custDataLst>
              <p:tags r:id="rId92"/>
            </p:custDataLst>
          </p:nvPr>
        </p:nvSpPr>
        <p:spPr bwMode="auto">
          <a:xfrm>
            <a:off x="1167981" y="6222504"/>
            <a:ext cx="1341438" cy="182563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lvl="0" defTabSz="914400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900" dirty="0">
                <a:solidFill>
                  <a:srgbClr val="000000"/>
                </a:solidFill>
              </a:rPr>
              <a:t>Average 2016-2019</a:t>
            </a:r>
            <a:endParaRPr kumimoji="0" lang="uk-UA" sz="9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279" name="Прямокутник 278">
            <a:extLst>
              <a:ext uri="{FF2B5EF4-FFF2-40B4-BE49-F238E27FC236}">
                <a16:creationId xmlns:a16="http://schemas.microsoft.com/office/drawing/2014/main" id="{4842CC84-85FD-4CE9-83FB-550B3A314F93}"/>
              </a:ext>
            </a:extLst>
          </p:cNvPr>
          <p:cNvSpPr/>
          <p:nvPr>
            <p:custDataLst>
              <p:tags r:id="rId93"/>
            </p:custDataLst>
          </p:nvPr>
        </p:nvSpPr>
        <p:spPr bwMode="auto">
          <a:xfrm>
            <a:off x="2974557" y="6222504"/>
            <a:ext cx="311150" cy="182563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lvl="0" defTabSz="914400">
              <a:spcBef>
                <a:spcPct val="0"/>
              </a:spcBef>
              <a:spcAft>
                <a:spcPct val="0"/>
              </a:spcAft>
              <a:defRPr/>
            </a:pPr>
            <a:fld id="{7F01177C-D689-4ED9-84EE-84F7FC2A42C6}" type="datetime'''''2''''''''''0''''''''''''2''''''''''''0'''''''''''">
              <a:rPr lang="en-US" altLang="en-US" sz="900" smtClean="0">
                <a:solidFill>
                  <a:srgbClr val="000000"/>
                </a:solidFill>
              </a:rPr>
              <a:pPr lvl="0" defTabSz="914400">
                <a:spcBef>
                  <a:spcPct val="0"/>
                </a:spcBef>
                <a:spcAft>
                  <a:spcPct val="0"/>
                </a:spcAft>
                <a:defRPr/>
              </a:pPr>
              <a:t>2020</a:t>
            </a:fld>
            <a:endParaRPr kumimoji="0" lang="uk-UA" sz="9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280" name="Прямокутник 279">
            <a:extLst>
              <a:ext uri="{FF2B5EF4-FFF2-40B4-BE49-F238E27FC236}">
                <a16:creationId xmlns:a16="http://schemas.microsoft.com/office/drawing/2014/main" id="{CDE71A7B-2AFA-4843-B8F2-C7A85997DFF6}"/>
              </a:ext>
            </a:extLst>
          </p:cNvPr>
          <p:cNvSpPr/>
          <p:nvPr>
            <p:custDataLst>
              <p:tags r:id="rId94"/>
            </p:custDataLst>
          </p:nvPr>
        </p:nvSpPr>
        <p:spPr bwMode="auto">
          <a:xfrm>
            <a:off x="3750844" y="6222504"/>
            <a:ext cx="311150" cy="182563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lvl="0" defTabSz="914400">
              <a:spcBef>
                <a:spcPct val="0"/>
              </a:spcBef>
              <a:spcAft>
                <a:spcPct val="0"/>
              </a:spcAft>
              <a:defRPr/>
            </a:pPr>
            <a:fld id="{D642DCED-4274-4C4F-B748-7055711BC894}" type="datetime'''''2''''0''''''''''''2''1'''''''''''''''''''''''">
              <a:rPr lang="en-US" altLang="en-US" sz="900" smtClean="0">
                <a:solidFill>
                  <a:srgbClr val="000000"/>
                </a:solidFill>
              </a:rPr>
              <a:pPr lvl="0" defTabSz="914400">
                <a:spcBef>
                  <a:spcPct val="0"/>
                </a:spcBef>
                <a:spcAft>
                  <a:spcPct val="0"/>
                </a:spcAft>
                <a:defRPr/>
              </a:pPr>
              <a:t>2021</a:t>
            </a:fld>
            <a:endParaRPr kumimoji="0" lang="uk-UA" sz="9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graphicFrame>
        <p:nvGraphicFramePr>
          <p:cNvPr id="281" name="Chart 3">
            <a:extLst>
              <a:ext uri="{FF2B5EF4-FFF2-40B4-BE49-F238E27FC236}">
                <a16:creationId xmlns:a16="http://schemas.microsoft.com/office/drawing/2014/main" id="{2D2352F6-529B-4C78-A24B-9C84CDAAB262}"/>
              </a:ext>
            </a:extLst>
          </p:cNvPr>
          <p:cNvGraphicFramePr/>
          <p:nvPr>
            <p:custDataLst>
              <p:tags r:id="rId95"/>
            </p:custDataLst>
            <p:extLst>
              <p:ext uri="{D42A27DB-BD31-4B8C-83A1-F6EECF244321}">
                <p14:modId xmlns:p14="http://schemas.microsoft.com/office/powerpoint/2010/main" val="4264004484"/>
              </p:ext>
            </p:extLst>
          </p:nvPr>
        </p:nvGraphicFramePr>
        <p:xfrm>
          <a:off x="4939733" y="3045442"/>
          <a:ext cx="1241424" cy="200162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199"/>
          </a:graphicData>
        </a:graphic>
      </p:graphicFrame>
      <p:cxnSp>
        <p:nvCxnSpPr>
          <p:cNvPr id="282" name="Пряма сполучна лінія 281">
            <a:extLst>
              <a:ext uri="{FF2B5EF4-FFF2-40B4-BE49-F238E27FC236}">
                <a16:creationId xmlns:a16="http://schemas.microsoft.com/office/drawing/2014/main" id="{FEE3C225-AF50-4CBE-9D56-9732524553D9}"/>
              </a:ext>
            </a:extLst>
          </p:cNvPr>
          <p:cNvCxnSpPr/>
          <p:nvPr>
            <p:custDataLst>
              <p:tags r:id="rId96"/>
            </p:custDataLst>
          </p:nvPr>
        </p:nvCxnSpPr>
        <p:spPr bwMode="auto">
          <a:xfrm>
            <a:off x="5134995" y="2820016"/>
            <a:ext cx="858838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3" name="Пряма сполучна лінія 282">
            <a:extLst>
              <a:ext uri="{FF2B5EF4-FFF2-40B4-BE49-F238E27FC236}">
                <a16:creationId xmlns:a16="http://schemas.microsoft.com/office/drawing/2014/main" id="{C7285663-4DBC-4BC8-82F8-1496F85E27E7}"/>
              </a:ext>
            </a:extLst>
          </p:cNvPr>
          <p:cNvCxnSpPr>
            <a:cxnSpLocks/>
          </p:cNvCxnSpPr>
          <p:nvPr>
            <p:custDataLst>
              <p:tags r:id="rId97"/>
            </p:custDataLst>
          </p:nvPr>
        </p:nvCxnSpPr>
        <p:spPr bwMode="auto">
          <a:xfrm flipV="1">
            <a:off x="5134995" y="2820017"/>
            <a:ext cx="0" cy="298449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84" name="Пряма сполучна лінія 283">
            <a:extLst>
              <a:ext uri="{FF2B5EF4-FFF2-40B4-BE49-F238E27FC236}">
                <a16:creationId xmlns:a16="http://schemas.microsoft.com/office/drawing/2014/main" id="{CFF52B2D-B24D-4E16-A358-C711915D810E}"/>
              </a:ext>
            </a:extLst>
          </p:cNvPr>
          <p:cNvCxnSpPr>
            <a:cxnSpLocks/>
          </p:cNvCxnSpPr>
          <p:nvPr>
            <p:custDataLst>
              <p:tags r:id="rId98"/>
            </p:custDataLst>
          </p:nvPr>
        </p:nvCxnSpPr>
        <p:spPr bwMode="auto">
          <a:xfrm>
            <a:off x="5993833" y="2802553"/>
            <a:ext cx="0" cy="1296987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286" name="Прямокутник 285">
            <a:extLst>
              <a:ext uri="{FF2B5EF4-FFF2-40B4-BE49-F238E27FC236}">
                <a16:creationId xmlns:a16="http://schemas.microsoft.com/office/drawing/2014/main" id="{BCE4BA05-F0FB-4029-81F1-8CBF1CCC38E8}"/>
              </a:ext>
            </a:extLst>
          </p:cNvPr>
          <p:cNvSpPr/>
          <p:nvPr>
            <p:custDataLst>
              <p:tags r:id="rId99"/>
            </p:custDataLst>
          </p:nvPr>
        </p:nvSpPr>
        <p:spPr bwMode="auto">
          <a:xfrm>
            <a:off x="5444557" y="5024481"/>
            <a:ext cx="241300" cy="1365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lvl="0" algn="ctr">
              <a:spcBef>
                <a:spcPct val="0"/>
              </a:spcBef>
              <a:spcAft>
                <a:spcPct val="0"/>
              </a:spcAft>
              <a:defRPr/>
            </a:pPr>
            <a:fld id="{C6C9AC56-C5D0-433C-9DEA-996FD347CAD2}" type="datetime'''''''''''''''''''''''''''''''''''''2''''''''020'''''''''">
              <a:rPr lang="uk-UA" altLang="en-US" sz="800" smtClean="0">
                <a:solidFill>
                  <a:srgbClr val="000000"/>
                </a:solidFill>
              </a:rPr>
              <a:pPr lvl="0" algn="ctr">
                <a:spcBef>
                  <a:spcPct val="0"/>
                </a:spcBef>
                <a:spcAft>
                  <a:spcPct val="0"/>
                </a:spcAft>
                <a:defRPr/>
              </a:pPr>
              <a:t>2020</a:t>
            </a:fld>
            <a:endParaRPr kumimoji="0" lang="uk-UA" sz="8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287" name="Прямокутник 286">
            <a:extLst>
              <a:ext uri="{FF2B5EF4-FFF2-40B4-BE49-F238E27FC236}">
                <a16:creationId xmlns:a16="http://schemas.microsoft.com/office/drawing/2014/main" id="{D1D4F53E-E01D-4050-9F82-C85EC82CBFCF}"/>
              </a:ext>
            </a:extLst>
          </p:cNvPr>
          <p:cNvSpPr/>
          <p:nvPr>
            <p:custDataLst>
              <p:tags r:id="rId100"/>
            </p:custDataLst>
          </p:nvPr>
        </p:nvSpPr>
        <p:spPr bwMode="gray">
          <a:xfrm>
            <a:off x="5433445" y="4447203"/>
            <a:ext cx="263525" cy="136525"/>
          </a:xfrm>
          <a:prstGeom prst="rect">
            <a:avLst/>
          </a:prstGeom>
          <a:solidFill>
            <a:schemeClr val="accent6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ctr" anchorCtr="0">
            <a:noAutofit/>
          </a:bodyPr>
          <a:lstStyle/>
          <a:p>
            <a:pPr lvl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fld id="{924B4AC7-8CD1-422B-91FF-F4C47D439B38}" type="datetime'''''''''''5''''5'''''',''''''''''''''''9'''''''''''''''">
              <a:rPr lang="en-US" altLang="en-US" sz="1000" b="1" smtClean="0">
                <a:solidFill>
                  <a:srgbClr val="FFFFFF"/>
                </a:solidFill>
              </a:rPr>
              <a:pPr/>
              <a:t>55,9</a:t>
            </a:fld>
            <a:endParaRPr kumimoji="0" lang="uk-UA" sz="1000" b="1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288" name="Прямокутник 287">
            <a:extLst>
              <a:ext uri="{FF2B5EF4-FFF2-40B4-BE49-F238E27FC236}">
                <a16:creationId xmlns:a16="http://schemas.microsoft.com/office/drawing/2014/main" id="{1E18C581-D65A-43A1-AFE1-A932B5E9BCB2}"/>
              </a:ext>
            </a:extLst>
          </p:cNvPr>
          <p:cNvSpPr/>
          <p:nvPr>
            <p:custDataLst>
              <p:tags r:id="rId101"/>
            </p:custDataLst>
          </p:nvPr>
        </p:nvSpPr>
        <p:spPr bwMode="gray">
          <a:xfrm>
            <a:off x="5786346" y="4455648"/>
            <a:ext cx="263525" cy="136525"/>
          </a:xfrm>
          <a:prstGeom prst="rect">
            <a:avLst/>
          </a:prstGeom>
          <a:solidFill>
            <a:schemeClr val="accent1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ctr" anchorCtr="0">
            <a:noAutofit/>
          </a:bodyPr>
          <a:lstStyle/>
          <a:p>
            <a:pPr lvl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fld id="{9ECB5B09-F29E-489D-9535-2309DBD8E39E}" type="datetime'''''4''1'''''''',''''''''''7'''">
              <a:rPr lang="en-US" altLang="en-US" sz="1000" b="1" smtClean="0">
                <a:solidFill>
                  <a:srgbClr val="FFFFFF"/>
                </a:solidFill>
              </a:rPr>
              <a:pPr/>
              <a:t>41,7</a:t>
            </a:fld>
            <a:endParaRPr kumimoji="0" lang="uk-UA" sz="1000" b="1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289" name="Прямокутник 288">
            <a:extLst>
              <a:ext uri="{FF2B5EF4-FFF2-40B4-BE49-F238E27FC236}">
                <a16:creationId xmlns:a16="http://schemas.microsoft.com/office/drawing/2014/main" id="{B15B9062-B050-4C41-B8A5-D61D4B6EFD22}"/>
              </a:ext>
            </a:extLst>
          </p:cNvPr>
          <p:cNvSpPr/>
          <p:nvPr>
            <p:custDataLst>
              <p:tags r:id="rId102"/>
            </p:custDataLst>
          </p:nvPr>
        </p:nvSpPr>
        <p:spPr bwMode="gray">
          <a:xfrm>
            <a:off x="5058796" y="4016991"/>
            <a:ext cx="263525" cy="136525"/>
          </a:xfrm>
          <a:prstGeom prst="rect">
            <a:avLst/>
          </a:prstGeom>
          <a:solidFill>
            <a:schemeClr val="bg1">
              <a:lumMod val="75000"/>
            </a:schemeClr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ctr" anchorCtr="0">
            <a:noAutofit/>
          </a:bodyPr>
          <a:lstStyle/>
          <a:p>
            <a:pPr lvl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fld id="{FF03E3F2-7765-486A-9DD4-C4CD2924490D}" type="datetime'''''''''''''''''''''''''88'''''''''''''',''''''''0'''''''''">
              <a:rPr lang="en-US" altLang="en-US" sz="1000" b="1" smtClean="0">
                <a:solidFill>
                  <a:srgbClr val="000000"/>
                </a:solidFill>
              </a:rPr>
              <a:pPr lvl="0" algn="ct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  <a:defRPr/>
              </a:pPr>
              <a:t>88,0</a:t>
            </a:fld>
            <a:endParaRPr kumimoji="0" lang="uk-UA" sz="1000" b="1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290" name="Прямокутник 289">
            <a:extLst>
              <a:ext uri="{FF2B5EF4-FFF2-40B4-BE49-F238E27FC236}">
                <a16:creationId xmlns:a16="http://schemas.microsoft.com/office/drawing/2014/main" id="{8E8A46A0-6735-47F9-88E9-66B48DA70E6C}"/>
              </a:ext>
            </a:extLst>
          </p:cNvPr>
          <p:cNvSpPr/>
          <p:nvPr>
            <p:custDataLst>
              <p:tags r:id="rId103"/>
            </p:custDataLst>
          </p:nvPr>
        </p:nvSpPr>
        <p:spPr bwMode="auto">
          <a:xfrm>
            <a:off x="5781742" y="5024481"/>
            <a:ext cx="241300" cy="1365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lvl="0" algn="ctr">
              <a:spcBef>
                <a:spcPct val="0"/>
              </a:spcBef>
              <a:spcAft>
                <a:spcPct val="0"/>
              </a:spcAft>
              <a:defRPr/>
            </a:pPr>
            <a:fld id="{27066589-A7BA-48EC-8FA0-FC6264061C86}" type="datetime'''''2''''0''''''''''2''''''''''''1'''''''''''''''''''''''''''">
              <a:rPr lang="uk-UA" altLang="en-US" sz="800" smtClean="0">
                <a:solidFill>
                  <a:srgbClr val="000000"/>
                </a:solidFill>
              </a:rPr>
              <a:pPr lvl="0" algn="ctr">
                <a:spcBef>
                  <a:spcPct val="0"/>
                </a:spcBef>
                <a:spcAft>
                  <a:spcPct val="0"/>
                </a:spcAft>
                <a:defRPr/>
              </a:pPr>
              <a:t>2021</a:t>
            </a:fld>
            <a:endParaRPr kumimoji="0" lang="uk-UA" sz="8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291" name="Прямокутник 290">
            <a:extLst>
              <a:ext uri="{FF2B5EF4-FFF2-40B4-BE49-F238E27FC236}">
                <a16:creationId xmlns:a16="http://schemas.microsoft.com/office/drawing/2014/main" id="{0C774EAD-C63A-4917-8DCE-683583A7225B}"/>
              </a:ext>
            </a:extLst>
          </p:cNvPr>
          <p:cNvSpPr/>
          <p:nvPr>
            <p:custDataLst>
              <p:tags r:id="rId104"/>
            </p:custDataLst>
          </p:nvPr>
        </p:nvSpPr>
        <p:spPr bwMode="auto">
          <a:xfrm>
            <a:off x="4928620" y="5039463"/>
            <a:ext cx="479425" cy="27305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numCol="1" spcCol="0" rtlCol="0" anchor="t" anchorCtr="0">
            <a:noAutofit/>
          </a:bodyPr>
          <a:lstStyle/>
          <a:p>
            <a:pPr lvl="0"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800" dirty="0">
                <a:solidFill>
                  <a:srgbClr val="000000"/>
                </a:solidFill>
              </a:rPr>
              <a:t>2016-2019</a:t>
            </a:r>
          </a:p>
          <a:p>
            <a:pPr lvl="0" algn="ctr">
              <a:spcBef>
                <a:spcPct val="0"/>
              </a:spcBef>
              <a:spcAft>
                <a:spcPct val="0"/>
              </a:spcAft>
              <a:defRPr/>
            </a:pPr>
            <a:r>
              <a:rPr kumimoji="0" lang="en-US" sz="800" b="0" i="0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sym typeface="+mn-lt"/>
              </a:rPr>
              <a:t>average</a:t>
            </a:r>
            <a:endParaRPr kumimoji="0" lang="uk-UA" sz="8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293" name="Holder 3">
            <a:extLst>
              <a:ext uri="{FF2B5EF4-FFF2-40B4-BE49-F238E27FC236}">
                <a16:creationId xmlns:a16="http://schemas.microsoft.com/office/drawing/2014/main" id="{C1380165-3B96-4202-947A-3A78F344023E}"/>
              </a:ext>
            </a:extLst>
          </p:cNvPr>
          <p:cNvSpPr>
            <a:spLocks noGrp="1"/>
          </p:cNvSpPr>
          <p:nvPr>
            <p:custDataLst>
              <p:tags r:id="rId105"/>
            </p:custDataLst>
          </p:nvPr>
        </p:nvSpPr>
        <p:spPr bwMode="auto">
          <a:xfrm>
            <a:off x="5133183" y="2626341"/>
            <a:ext cx="430437" cy="387350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anchor="ctr" anchorCtr="0">
            <a:noAutofit/>
          </a:bodyPr>
          <a:lstStyle>
            <a:lvl1pPr marL="0"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>
              <a:defRPr>
                <a:latin typeface="+mn-lt"/>
                <a:ea typeface="+mn-ea"/>
                <a:cs typeface="+mn-cs"/>
              </a:defRPr>
            </a:lvl2pPr>
            <a:lvl3pPr marL="685800">
              <a:defRPr>
                <a:latin typeface="+mn-lt"/>
                <a:ea typeface="+mn-ea"/>
                <a:cs typeface="+mn-cs"/>
              </a:defRPr>
            </a:lvl3pPr>
            <a:lvl4pPr marL="1028700">
              <a:defRPr>
                <a:latin typeface="+mn-lt"/>
                <a:ea typeface="+mn-ea"/>
                <a:cs typeface="+mn-cs"/>
              </a:defRPr>
            </a:lvl4pPr>
            <a:lvl5pPr marL="1371600">
              <a:defRPr>
                <a:latin typeface="+mn-lt"/>
                <a:ea typeface="+mn-ea"/>
                <a:cs typeface="+mn-cs"/>
              </a:defRPr>
            </a:lvl5pPr>
            <a:lvl6pPr marL="1714500">
              <a:defRPr>
                <a:latin typeface="+mn-lt"/>
                <a:ea typeface="+mn-ea"/>
                <a:cs typeface="+mn-cs"/>
              </a:defRPr>
            </a:lvl6pPr>
            <a:lvl7pPr marL="2057400">
              <a:defRPr>
                <a:latin typeface="+mn-lt"/>
                <a:ea typeface="+mn-ea"/>
                <a:cs typeface="+mn-cs"/>
              </a:defRPr>
            </a:lvl7pPr>
            <a:lvl8pPr marL="2400300">
              <a:defRPr>
                <a:latin typeface="+mn-lt"/>
                <a:ea typeface="+mn-ea"/>
                <a:cs typeface="+mn-cs"/>
              </a:defRPr>
            </a:lvl8pPr>
            <a:lvl9pPr marL="2743200">
              <a:defRPr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A70567F6-DEE7-42EF-80D3-14C92118C11C}" type="datetime'-''''''''''''''4''''''''''''''''''''6,''3'''''''">
              <a:rPr lang="en-US" altLang="en-US" sz="800" b="1" smtClean="0">
                <a:solidFill>
                  <a:schemeClr val="tx1"/>
                </a:solidFill>
                <a:effectLst/>
              </a:rPr>
              <a:pPr/>
              <a:t>-46,3</a:t>
            </a:fld>
            <a:br>
              <a:rPr lang="en-US" altLang="en-US" sz="800" b="1">
                <a:solidFill>
                  <a:schemeClr val="tx1"/>
                </a:solidFill>
              </a:rPr>
            </a:br>
            <a:r>
              <a:rPr lang="en-US" altLang="en-US" sz="800" b="1">
                <a:solidFill>
                  <a:schemeClr val="tx1"/>
                </a:solidFill>
              </a:rPr>
              <a:t>(</a:t>
            </a:r>
            <a:fld id="{1C0E31CE-C5BE-4D38-83E1-CBEB7B385836}" type="datetime'-''''''''53''''''''''''''%'''''''''''''''''''''''">
              <a:rPr lang="en-US" altLang="en-US" sz="800" b="1" smtClean="0">
                <a:solidFill>
                  <a:schemeClr val="tx1"/>
                </a:solidFill>
                <a:effectLst/>
              </a:rPr>
              <a:pPr/>
              <a:t>-53%</a:t>
            </a:fld>
            <a:r>
              <a:rPr lang="en-US" altLang="en-US" sz="800" b="1">
                <a:solidFill>
                  <a:schemeClr val="tx1"/>
                </a:solidFill>
              </a:rPr>
              <a:t>)</a:t>
            </a:r>
            <a:endParaRPr lang="en-US" sz="800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94" name="Овал 293">
            <a:extLst>
              <a:ext uri="{FF2B5EF4-FFF2-40B4-BE49-F238E27FC236}">
                <a16:creationId xmlns:a16="http://schemas.microsoft.com/office/drawing/2014/main" id="{76786686-EB60-4A81-98D5-B1037FC5E912}"/>
              </a:ext>
            </a:extLst>
          </p:cNvPr>
          <p:cNvSpPr/>
          <p:nvPr>
            <p:custDataLst>
              <p:tags r:id="rId106"/>
            </p:custDataLst>
          </p:nvPr>
        </p:nvSpPr>
        <p:spPr bwMode="auto">
          <a:xfrm>
            <a:off x="5566795" y="2626341"/>
            <a:ext cx="428624" cy="387350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F5A2E12-0D15-4909-B0AC-66F368F7E87A}" type="datetime'''''''''''''''''''''''-''1''''''''4,''''''''2'''''">
              <a:rPr lang="uk-UA" altLang="en-US" sz="800" b="1" smtClean="0">
                <a:solidFill>
                  <a:srgbClr val="000000"/>
                </a:solidFill>
                <a:effectLst/>
              </a:rPr>
              <a:pPr/>
              <a:t>-14,2</a:t>
            </a:fld>
            <a:br>
              <a:rPr kumimoji="0" lang="uk-UA" alt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uk-UA" alt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</a:t>
            </a:r>
            <a:fld id="{6E6FB793-7D8E-4777-921C-27F84BF72151}" type="datetime'''''''''''''''''-''''''2''5''''''''''%'">
              <a:rPr lang="uk-UA" altLang="en-US" sz="800" b="1" smtClean="0">
                <a:solidFill>
                  <a:srgbClr val="000000"/>
                </a:solidFill>
                <a:effectLst/>
              </a:rPr>
              <a:pPr/>
              <a:t>-25%</a:t>
            </a:fld>
            <a:r>
              <a:rPr kumimoji="0" lang="uk-UA" alt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)</a:t>
            </a:r>
            <a:endParaRPr kumimoji="0" lang="uk-UA" sz="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  <a:sym typeface="+mn-lt"/>
            </a:endParaRPr>
          </a:p>
        </p:txBody>
      </p:sp>
      <p:sp>
        <p:nvSpPr>
          <p:cNvPr id="295" name="Прямокутник 294">
            <a:extLst>
              <a:ext uri="{FF2B5EF4-FFF2-40B4-BE49-F238E27FC236}">
                <a16:creationId xmlns:a16="http://schemas.microsoft.com/office/drawing/2014/main" id="{1B8E0347-D260-4BD5-8559-D4DDCD1259E0}"/>
              </a:ext>
            </a:extLst>
          </p:cNvPr>
          <p:cNvSpPr/>
          <p:nvPr/>
        </p:nvSpPr>
        <p:spPr>
          <a:xfrm>
            <a:off x="4437335" y="6249765"/>
            <a:ext cx="334963" cy="182563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uk-UA" sz="9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296" name="TextBox 295">
            <a:extLst>
              <a:ext uri="{FF2B5EF4-FFF2-40B4-BE49-F238E27FC236}">
                <a16:creationId xmlns:a16="http://schemas.microsoft.com/office/drawing/2014/main" id="{70A34A2E-CECF-4580-986D-386358B08F1F}"/>
              </a:ext>
            </a:extLst>
          </p:cNvPr>
          <p:cNvSpPr txBox="1"/>
          <p:nvPr/>
        </p:nvSpPr>
        <p:spPr>
          <a:xfrm>
            <a:off x="4746898" y="6222504"/>
            <a:ext cx="1217000" cy="2308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9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</a:rPr>
              <a:t>min-max (2016-2019)</a:t>
            </a:r>
            <a:endParaRPr kumimoji="0" lang="uk-UA" sz="9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</a:endParaRPr>
          </a:p>
        </p:txBody>
      </p:sp>
      <p:graphicFrame>
        <p:nvGraphicFramePr>
          <p:cNvPr id="297" name="Chart 3">
            <a:extLst>
              <a:ext uri="{FF2B5EF4-FFF2-40B4-BE49-F238E27FC236}">
                <a16:creationId xmlns:a16="http://schemas.microsoft.com/office/drawing/2014/main" id="{A592E9B8-FB79-47FE-96D6-C96E867FBE14}"/>
              </a:ext>
            </a:extLst>
          </p:cNvPr>
          <p:cNvGraphicFramePr/>
          <p:nvPr>
            <p:custDataLst>
              <p:tags r:id="rId107"/>
            </p:custDataLst>
            <p:extLst>
              <p:ext uri="{D42A27DB-BD31-4B8C-83A1-F6EECF244321}">
                <p14:modId xmlns:p14="http://schemas.microsoft.com/office/powerpoint/2010/main" val="788497009"/>
              </p:ext>
            </p:extLst>
          </p:nvPr>
        </p:nvGraphicFramePr>
        <p:xfrm>
          <a:off x="10905814" y="2855803"/>
          <a:ext cx="1144586" cy="221462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0"/>
          </a:graphicData>
        </a:graphic>
      </p:graphicFrame>
      <p:cxnSp>
        <p:nvCxnSpPr>
          <p:cNvPr id="298" name="Пряма сполучна лінія 297">
            <a:extLst>
              <a:ext uri="{FF2B5EF4-FFF2-40B4-BE49-F238E27FC236}">
                <a16:creationId xmlns:a16="http://schemas.microsoft.com/office/drawing/2014/main" id="{0CD27912-32EA-4A64-B417-67A33B4D3C3F}"/>
              </a:ext>
            </a:extLst>
          </p:cNvPr>
          <p:cNvCxnSpPr/>
          <p:nvPr>
            <p:custDataLst>
              <p:tags r:id="rId108"/>
            </p:custDataLst>
          </p:nvPr>
        </p:nvCxnSpPr>
        <p:spPr bwMode="auto">
          <a:xfrm>
            <a:off x="11049332" y="2604213"/>
            <a:ext cx="850900" cy="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299" name="Пряма сполучна лінія 298">
            <a:extLst>
              <a:ext uri="{FF2B5EF4-FFF2-40B4-BE49-F238E27FC236}">
                <a16:creationId xmlns:a16="http://schemas.microsoft.com/office/drawing/2014/main" id="{F043CDC7-A400-421D-BFF1-F3A4372462A8}"/>
              </a:ext>
            </a:extLst>
          </p:cNvPr>
          <p:cNvCxnSpPr>
            <a:cxnSpLocks/>
          </p:cNvCxnSpPr>
          <p:nvPr>
            <p:custDataLst>
              <p:tags r:id="rId109"/>
            </p:custDataLst>
          </p:nvPr>
        </p:nvCxnSpPr>
        <p:spPr bwMode="auto">
          <a:xfrm flipV="1">
            <a:off x="11049332" y="2604214"/>
            <a:ext cx="0" cy="340550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0" name="Пряма сполучна лінія 299">
            <a:extLst>
              <a:ext uri="{FF2B5EF4-FFF2-40B4-BE49-F238E27FC236}">
                <a16:creationId xmlns:a16="http://schemas.microsoft.com/office/drawing/2014/main" id="{382F7B3A-3126-4FD0-B7FF-EBABAA134920}"/>
              </a:ext>
            </a:extLst>
          </p:cNvPr>
          <p:cNvCxnSpPr>
            <a:cxnSpLocks/>
          </p:cNvCxnSpPr>
          <p:nvPr>
            <p:custDataLst>
              <p:tags r:id="rId110"/>
            </p:custDataLst>
          </p:nvPr>
        </p:nvCxnSpPr>
        <p:spPr bwMode="auto">
          <a:xfrm>
            <a:off x="11900232" y="2604213"/>
            <a:ext cx="0" cy="789814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round/>
            <a:headEnd type="none" w="med" len="med"/>
            <a:tailEnd type="triangl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01" name="Пряма сполучна лінія 300">
            <a:extLst>
              <a:ext uri="{FF2B5EF4-FFF2-40B4-BE49-F238E27FC236}">
                <a16:creationId xmlns:a16="http://schemas.microsoft.com/office/drawing/2014/main" id="{3A51F5E6-92F3-422D-8211-351B9A6ACA18}"/>
              </a:ext>
            </a:extLst>
          </p:cNvPr>
          <p:cNvCxnSpPr>
            <a:cxnSpLocks/>
          </p:cNvCxnSpPr>
          <p:nvPr>
            <p:custDataLst>
              <p:tags r:id="rId111"/>
            </p:custDataLst>
          </p:nvPr>
        </p:nvCxnSpPr>
        <p:spPr bwMode="auto">
          <a:xfrm flipV="1">
            <a:off x="11476370" y="2604213"/>
            <a:ext cx="0" cy="658813"/>
          </a:xfrm>
          <a:prstGeom prst="line">
            <a:avLst/>
          </a:prstGeom>
          <a:ln w="12700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302" name="Прямокутник 301">
            <a:extLst>
              <a:ext uri="{FF2B5EF4-FFF2-40B4-BE49-F238E27FC236}">
                <a16:creationId xmlns:a16="http://schemas.microsoft.com/office/drawing/2014/main" id="{BB435E10-908C-4D71-8240-7D6BB8D88F78}"/>
              </a:ext>
            </a:extLst>
          </p:cNvPr>
          <p:cNvSpPr/>
          <p:nvPr>
            <p:custDataLst>
              <p:tags r:id="rId112"/>
            </p:custDataLst>
          </p:nvPr>
        </p:nvSpPr>
        <p:spPr bwMode="auto">
          <a:xfrm>
            <a:off x="10870888" y="5088520"/>
            <a:ext cx="479425" cy="273050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0" tIns="0" rIns="0" bIns="0" numCol="1" spcCol="0" rtlCol="0" anchor="t" anchorCtr="0">
            <a:noAutofit/>
          </a:bodyPr>
          <a:lstStyle/>
          <a:p>
            <a:pPr lvl="0"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800" dirty="0">
                <a:solidFill>
                  <a:srgbClr val="000000"/>
                </a:solidFill>
              </a:rPr>
              <a:t>2016-2019</a:t>
            </a:r>
          </a:p>
          <a:p>
            <a:pPr lvl="0" algn="ctr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>
                <a:solidFill>
                  <a:srgbClr val="000000"/>
                </a:solidFill>
                <a:sym typeface="+mn-lt"/>
              </a:rPr>
              <a:t>average</a:t>
            </a:r>
            <a:endParaRPr lang="uk-UA" sz="800" dirty="0">
              <a:solidFill>
                <a:srgbClr val="000000"/>
              </a:solidFill>
              <a:sym typeface="+mn-lt"/>
            </a:endParaRPr>
          </a:p>
          <a:p>
            <a:pPr lvl="0" algn="ctr">
              <a:spcBef>
                <a:spcPct val="0"/>
              </a:spcBef>
              <a:spcAft>
                <a:spcPct val="0"/>
              </a:spcAft>
              <a:defRPr/>
            </a:pPr>
            <a:endParaRPr kumimoji="0" lang="uk-UA" sz="8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303" name="Прямокутник 302">
            <a:extLst>
              <a:ext uri="{FF2B5EF4-FFF2-40B4-BE49-F238E27FC236}">
                <a16:creationId xmlns:a16="http://schemas.microsoft.com/office/drawing/2014/main" id="{8D99EDF7-D7CF-49A7-8008-D478EA57A616}"/>
              </a:ext>
            </a:extLst>
          </p:cNvPr>
          <p:cNvSpPr/>
          <p:nvPr>
            <p:custDataLst>
              <p:tags r:id="rId113"/>
            </p:custDataLst>
          </p:nvPr>
        </p:nvSpPr>
        <p:spPr bwMode="gray">
          <a:xfrm>
            <a:off x="10976861" y="3916315"/>
            <a:ext cx="327025" cy="136525"/>
          </a:xfrm>
          <a:prstGeom prst="rect">
            <a:avLst/>
          </a:prstGeom>
          <a:solidFill>
            <a:srgbClr val="C0C0C0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ctr" anchorCtr="0">
            <a:noAutofit/>
          </a:bodyPr>
          <a:lstStyle/>
          <a:p>
            <a:pPr lvl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fld id="{79A58FAF-D549-47A9-9FC5-9F080C8040AD}" type="datetime'''''''''''''1''9''''''''''0'''''''''',''1'''''''''''">
              <a:rPr lang="en-US" altLang="en-US" sz="900" smtClean="0">
                <a:solidFill>
                  <a:srgbClr val="000000"/>
                </a:solidFill>
              </a:rPr>
              <a:pPr/>
              <a:t>190,1</a:t>
            </a:fld>
            <a:endParaRPr kumimoji="0" lang="uk-UA" sz="9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304" name="Прямокутник 303">
            <a:extLst>
              <a:ext uri="{FF2B5EF4-FFF2-40B4-BE49-F238E27FC236}">
                <a16:creationId xmlns:a16="http://schemas.microsoft.com/office/drawing/2014/main" id="{3404F3F6-46CF-4B51-9820-CD539CD26339}"/>
              </a:ext>
            </a:extLst>
          </p:cNvPr>
          <p:cNvSpPr/>
          <p:nvPr>
            <p:custDataLst>
              <p:tags r:id="rId114"/>
            </p:custDataLst>
          </p:nvPr>
        </p:nvSpPr>
        <p:spPr bwMode="auto">
          <a:xfrm>
            <a:off x="11697976" y="5079951"/>
            <a:ext cx="241300" cy="1365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lvl="0" algn="ctr">
              <a:spcBef>
                <a:spcPct val="0"/>
              </a:spcBef>
              <a:spcAft>
                <a:spcPct val="0"/>
              </a:spcAft>
              <a:defRPr/>
            </a:pPr>
            <a:fld id="{58A56099-0AAF-4F05-B1C4-F0831F47D78B}" type="datetime'2''''''''''''''''''0''''2''''''''''''''''''1'''''''''''">
              <a:rPr lang="uk-UA" altLang="en-US" sz="800" smtClean="0">
                <a:solidFill>
                  <a:srgbClr val="000000"/>
                </a:solidFill>
              </a:rPr>
              <a:pPr lvl="0" algn="ctr">
                <a:spcBef>
                  <a:spcPct val="0"/>
                </a:spcBef>
                <a:spcAft>
                  <a:spcPct val="0"/>
                </a:spcAft>
                <a:defRPr/>
              </a:pPr>
              <a:t>2021</a:t>
            </a:fld>
            <a:endParaRPr kumimoji="0" lang="uk-UA" sz="8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305" name="Прямокутник 304">
            <a:extLst>
              <a:ext uri="{FF2B5EF4-FFF2-40B4-BE49-F238E27FC236}">
                <a16:creationId xmlns:a16="http://schemas.microsoft.com/office/drawing/2014/main" id="{331D9C65-36B3-47FC-B18A-3FAEFD0C7B62}"/>
              </a:ext>
            </a:extLst>
          </p:cNvPr>
          <p:cNvSpPr/>
          <p:nvPr>
            <p:custDataLst>
              <p:tags r:id="rId115"/>
            </p:custDataLst>
          </p:nvPr>
        </p:nvSpPr>
        <p:spPr bwMode="gray">
          <a:xfrm>
            <a:off x="11303886" y="4057599"/>
            <a:ext cx="327025" cy="136525"/>
          </a:xfrm>
          <a:prstGeom prst="rect">
            <a:avLst/>
          </a:prstGeom>
          <a:solidFill>
            <a:schemeClr val="accent6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ctr" anchorCtr="0">
            <a:noAutofit/>
          </a:bodyPr>
          <a:lstStyle/>
          <a:p>
            <a:pPr lvl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fld id="{2378A0DB-38A3-4028-B459-ECF734AB920B}" type="datetime'''''''1''59'''''''''''''''''''''''''',''4'">
              <a:rPr lang="en-US" altLang="en-US" sz="900" smtClean="0">
                <a:solidFill>
                  <a:srgbClr val="FFFFFF"/>
                </a:solidFill>
              </a:rPr>
              <a:pPr/>
              <a:t>159,4</a:t>
            </a:fld>
            <a:endParaRPr kumimoji="0" lang="uk-UA" sz="9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306" name="Прямокутник 305">
            <a:extLst>
              <a:ext uri="{FF2B5EF4-FFF2-40B4-BE49-F238E27FC236}">
                <a16:creationId xmlns:a16="http://schemas.microsoft.com/office/drawing/2014/main" id="{82410007-5DE7-447B-9E45-8451F4C2E484}"/>
              </a:ext>
            </a:extLst>
          </p:cNvPr>
          <p:cNvSpPr/>
          <p:nvPr>
            <p:custDataLst>
              <p:tags r:id="rId116"/>
            </p:custDataLst>
          </p:nvPr>
        </p:nvSpPr>
        <p:spPr bwMode="auto">
          <a:xfrm>
            <a:off x="11362178" y="5079951"/>
            <a:ext cx="241300" cy="1365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rgbClr val="FFC000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lvl="0" algn="ctr">
              <a:spcBef>
                <a:spcPct val="0"/>
              </a:spcBef>
              <a:spcAft>
                <a:spcPct val="0"/>
              </a:spcAft>
              <a:defRPr/>
            </a:pPr>
            <a:fld id="{163BD80B-6881-4C56-A62F-7CEEBFEA1754}" type="datetime'2''''''''''''''''''''''0''''''''2''''''''''''''''''0'''''">
              <a:rPr lang="uk-UA" altLang="en-US" sz="800" smtClean="0">
                <a:solidFill>
                  <a:srgbClr val="000000"/>
                </a:solidFill>
              </a:rPr>
              <a:pPr lvl="0" algn="ctr">
                <a:spcBef>
                  <a:spcPct val="0"/>
                </a:spcBef>
                <a:spcAft>
                  <a:spcPct val="0"/>
                </a:spcAft>
                <a:defRPr/>
              </a:pPr>
              <a:t>2020</a:t>
            </a:fld>
            <a:endParaRPr kumimoji="0" lang="uk-UA" sz="8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307" name="Прямокутник 306">
            <a:extLst>
              <a:ext uri="{FF2B5EF4-FFF2-40B4-BE49-F238E27FC236}">
                <a16:creationId xmlns:a16="http://schemas.microsoft.com/office/drawing/2014/main" id="{1A16D52A-60A3-4614-A173-52AE6D377553}"/>
              </a:ext>
            </a:extLst>
          </p:cNvPr>
          <p:cNvSpPr/>
          <p:nvPr>
            <p:custDataLst>
              <p:tags r:id="rId117"/>
            </p:custDataLst>
          </p:nvPr>
        </p:nvSpPr>
        <p:spPr bwMode="gray">
          <a:xfrm>
            <a:off x="11655114" y="4178251"/>
            <a:ext cx="327025" cy="136525"/>
          </a:xfrm>
          <a:prstGeom prst="rect">
            <a:avLst/>
          </a:prstGeom>
          <a:solidFill>
            <a:srgbClr val="00A2DF"/>
          </a:solidFill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17463" tIns="0" rIns="17463" bIns="0" numCol="1" spcCol="0" rtlCol="0" anchor="ctr" anchorCtr="0">
            <a:noAutofit/>
          </a:bodyPr>
          <a:lstStyle/>
          <a:p>
            <a:pPr lvl="0"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fld id="{C774A292-D4E7-4177-92CE-3F14C74215FD}" type="datetime'1''''4''8'',''''''''4'''''''''''''''''''''''''''''''''''''''''">
              <a:rPr lang="en-US" altLang="en-US" sz="900" smtClean="0">
                <a:solidFill>
                  <a:srgbClr val="FFFFFF"/>
                </a:solidFill>
              </a:rPr>
              <a:pPr/>
              <a:t>148,4</a:t>
            </a:fld>
            <a:endParaRPr kumimoji="0" lang="uk-UA" sz="900" b="0" i="0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308" name="Holder 3">
            <a:extLst>
              <a:ext uri="{FF2B5EF4-FFF2-40B4-BE49-F238E27FC236}">
                <a16:creationId xmlns:a16="http://schemas.microsoft.com/office/drawing/2014/main" id="{5DB98E83-B336-4A7D-AC74-FF116FB1B1B4}"/>
              </a:ext>
            </a:extLst>
          </p:cNvPr>
          <p:cNvSpPr>
            <a:spLocks noGrp="1"/>
          </p:cNvSpPr>
          <p:nvPr>
            <p:custDataLst>
              <p:tags r:id="rId118"/>
            </p:custDataLst>
          </p:nvPr>
        </p:nvSpPr>
        <p:spPr bwMode="auto">
          <a:xfrm>
            <a:off x="11049332" y="2420888"/>
            <a:ext cx="398461" cy="376999"/>
          </a:xfrm>
          <a:prstGeom prst="ellipse">
            <a:avLst/>
          </a:prstGeom>
          <a:solidFill>
            <a:schemeClr val="bg1"/>
          </a:solidFill>
          <a:ln w="9525" algn="ctr">
            <a:solidFill>
              <a:schemeClr val="tx1"/>
            </a:solidFill>
          </a:ln>
          <a:effectLst/>
        </p:spPr>
        <p:txBody>
          <a:bodyPr vert="horz" wrap="none" lIns="0" tIns="0" rIns="0" bIns="0" numCol="1" spcCol="0" anchor="ctr" anchorCtr="0">
            <a:noAutofit/>
          </a:bodyPr>
          <a:lstStyle>
            <a:lvl1pPr marL="0"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>
              <a:defRPr>
                <a:latin typeface="+mn-lt"/>
                <a:ea typeface="+mn-ea"/>
                <a:cs typeface="+mn-cs"/>
              </a:defRPr>
            </a:lvl2pPr>
            <a:lvl3pPr marL="685800">
              <a:defRPr>
                <a:latin typeface="+mn-lt"/>
                <a:ea typeface="+mn-ea"/>
                <a:cs typeface="+mn-cs"/>
              </a:defRPr>
            </a:lvl3pPr>
            <a:lvl4pPr marL="1028700">
              <a:defRPr>
                <a:latin typeface="+mn-lt"/>
                <a:ea typeface="+mn-ea"/>
                <a:cs typeface="+mn-cs"/>
              </a:defRPr>
            </a:lvl4pPr>
            <a:lvl5pPr marL="1371600">
              <a:defRPr>
                <a:latin typeface="+mn-lt"/>
                <a:ea typeface="+mn-ea"/>
                <a:cs typeface="+mn-cs"/>
              </a:defRPr>
            </a:lvl5pPr>
            <a:lvl6pPr marL="1714500">
              <a:defRPr>
                <a:latin typeface="+mn-lt"/>
                <a:ea typeface="+mn-ea"/>
                <a:cs typeface="+mn-cs"/>
              </a:defRPr>
            </a:lvl6pPr>
            <a:lvl7pPr marL="2057400">
              <a:defRPr>
                <a:latin typeface="+mn-lt"/>
                <a:ea typeface="+mn-ea"/>
                <a:cs typeface="+mn-cs"/>
              </a:defRPr>
            </a:lvl7pPr>
            <a:lvl8pPr marL="2400300">
              <a:defRPr>
                <a:latin typeface="+mn-lt"/>
                <a:ea typeface="+mn-ea"/>
                <a:cs typeface="+mn-cs"/>
              </a:defRPr>
            </a:lvl8pPr>
            <a:lvl9pPr marL="2743200">
              <a:defRPr>
                <a:latin typeface="+mn-lt"/>
                <a:ea typeface="+mn-ea"/>
                <a:cs typeface="+mn-cs"/>
              </a:defRPr>
            </a:lvl9pPr>
          </a:lstStyle>
          <a:p>
            <a:pPr algn="ctr">
              <a:spcBef>
                <a:spcPct val="0"/>
              </a:spcBef>
              <a:spcAft>
                <a:spcPct val="0"/>
              </a:spcAft>
            </a:pPr>
            <a:fld id="{9D6D1B42-5B9E-4052-9ACF-8CD287BC93F9}" type="datetime'-''''''4''''''''1'''''''''''''''''',7'">
              <a:rPr lang="en-US" altLang="en-US" sz="800" b="1" smtClean="0">
                <a:solidFill>
                  <a:schemeClr val="tx1"/>
                </a:solidFill>
                <a:effectLst/>
              </a:rPr>
              <a:pPr/>
              <a:t>-41,7</a:t>
            </a:fld>
            <a:br>
              <a:rPr lang="en-US" altLang="en-US" sz="800" b="1">
                <a:solidFill>
                  <a:schemeClr val="tx1"/>
                </a:solidFill>
              </a:rPr>
            </a:br>
            <a:r>
              <a:rPr lang="en-US" altLang="en-US" sz="800" b="1">
                <a:solidFill>
                  <a:schemeClr val="tx1"/>
                </a:solidFill>
              </a:rPr>
              <a:t>(</a:t>
            </a:r>
            <a:fld id="{B7A5CB5F-717D-4F30-9187-9EF096B638C8}" type="datetime'''''-2''''''''''''''''''''''''''''''2''''''''''''''''%'''">
              <a:rPr lang="en-US" altLang="en-US" sz="800" b="1" smtClean="0">
                <a:solidFill>
                  <a:schemeClr val="tx1"/>
                </a:solidFill>
                <a:effectLst/>
              </a:rPr>
              <a:pPr/>
              <a:t>-22%</a:t>
            </a:fld>
            <a:r>
              <a:rPr lang="en-US" altLang="en-US" sz="800" b="1">
                <a:solidFill>
                  <a:schemeClr val="tx1"/>
                </a:solidFill>
              </a:rPr>
              <a:t>)</a:t>
            </a:r>
            <a:endParaRPr lang="en-US" sz="800" b="1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309" name="Овал 308">
            <a:extLst>
              <a:ext uri="{FF2B5EF4-FFF2-40B4-BE49-F238E27FC236}">
                <a16:creationId xmlns:a16="http://schemas.microsoft.com/office/drawing/2014/main" id="{90A61404-7C47-456D-9E92-6FCAD218E483}"/>
              </a:ext>
            </a:extLst>
          </p:cNvPr>
          <p:cNvSpPr/>
          <p:nvPr>
            <p:custDataLst>
              <p:tags r:id="rId119"/>
            </p:custDataLst>
          </p:nvPr>
        </p:nvSpPr>
        <p:spPr bwMode="auto">
          <a:xfrm>
            <a:off x="11504946" y="2421651"/>
            <a:ext cx="366713" cy="366713"/>
          </a:xfrm>
          <a:prstGeom prst="ellipse">
            <a:avLst/>
          </a:prstGeom>
          <a:solidFill>
            <a:schemeClr val="bg1"/>
          </a:solidFill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62AA033F-D13D-4724-90D8-BA66383B6A14}" type="datetime'''''''''''''''''-1''''''''1'''''',''''''0'''''">
              <a:rPr lang="uk-UA" altLang="en-US" sz="800" b="1" smtClean="0">
                <a:solidFill>
                  <a:srgbClr val="000000"/>
                </a:solidFill>
                <a:effectLst/>
              </a:rPr>
              <a:pPr/>
              <a:t>-11,0</a:t>
            </a:fld>
            <a:br>
              <a:rPr kumimoji="0" lang="uk-UA" alt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</a:br>
            <a:r>
              <a:rPr kumimoji="0" lang="uk-UA" alt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(</a:t>
            </a:r>
            <a:fld id="{16786529-5053-4DB2-9F4E-9AE7BFE4AFA8}" type="datetime'''''''-''''''7''''''''''''''''''''''''''%'''''''''''''''''''''">
              <a:rPr lang="uk-UA" altLang="en-US" sz="800" b="1" smtClean="0">
                <a:solidFill>
                  <a:srgbClr val="000000"/>
                </a:solidFill>
                <a:effectLst/>
              </a:rPr>
              <a:pPr/>
              <a:t>-7%</a:t>
            </a:fld>
            <a:r>
              <a:rPr kumimoji="0" lang="uk-UA" altLang="en-US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)</a:t>
            </a:r>
            <a:endParaRPr kumimoji="0" lang="uk-UA" sz="800" b="1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  <a:sym typeface="+mn-lt"/>
            </a:endParaRPr>
          </a:p>
        </p:txBody>
      </p:sp>
      <p:sp>
        <p:nvSpPr>
          <p:cNvPr id="310" name="TextBox 309">
            <a:extLst>
              <a:ext uri="{FF2B5EF4-FFF2-40B4-BE49-F238E27FC236}">
                <a16:creationId xmlns:a16="http://schemas.microsoft.com/office/drawing/2014/main" id="{318C2263-920A-41E1-B5BE-5FEA5948B05B}"/>
              </a:ext>
            </a:extLst>
          </p:cNvPr>
          <p:cNvSpPr txBox="1"/>
          <p:nvPr/>
        </p:nvSpPr>
        <p:spPr>
          <a:xfrm>
            <a:off x="732955" y="1481023"/>
            <a:ext cx="367621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accent1"/>
                </a:solidFill>
              </a:rPr>
              <a:t>Transit through Ukraine, </a:t>
            </a:r>
            <a:r>
              <a:rPr lang="en-US" sz="1600" b="1" dirty="0" err="1">
                <a:solidFill>
                  <a:schemeClr val="accent1"/>
                </a:solidFill>
              </a:rPr>
              <a:t>bcm</a:t>
            </a:r>
            <a:r>
              <a:rPr lang="en-US" sz="1600" b="1" dirty="0">
                <a:solidFill>
                  <a:schemeClr val="accent1"/>
                </a:solidFill>
              </a:rPr>
              <a:t> </a:t>
            </a:r>
            <a:endParaRPr lang="uk-UA" sz="1600" b="1" dirty="0">
              <a:solidFill>
                <a:schemeClr val="accent1"/>
              </a:solidFill>
            </a:endParaRPr>
          </a:p>
        </p:txBody>
      </p:sp>
      <p:sp>
        <p:nvSpPr>
          <p:cNvPr id="311" name="TextBox 310">
            <a:extLst>
              <a:ext uri="{FF2B5EF4-FFF2-40B4-BE49-F238E27FC236}">
                <a16:creationId xmlns:a16="http://schemas.microsoft.com/office/drawing/2014/main" id="{C9EB2993-A4C0-46A5-80A1-25922AC8F50A}"/>
              </a:ext>
            </a:extLst>
          </p:cNvPr>
          <p:cNvSpPr txBox="1"/>
          <p:nvPr/>
        </p:nvSpPr>
        <p:spPr>
          <a:xfrm>
            <a:off x="6796862" y="1508252"/>
            <a:ext cx="3676214" cy="338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600" b="1" dirty="0">
                <a:solidFill>
                  <a:schemeClr val="accent1"/>
                </a:solidFill>
              </a:rPr>
              <a:t>Total Gazprom’s transit to Europe, </a:t>
            </a:r>
            <a:r>
              <a:rPr lang="en-US" sz="1600" b="1" dirty="0" err="1">
                <a:solidFill>
                  <a:schemeClr val="accent1"/>
                </a:solidFill>
              </a:rPr>
              <a:t>bcm</a:t>
            </a:r>
            <a:endParaRPr lang="uk-UA" sz="1600" b="1" dirty="0">
              <a:solidFill>
                <a:schemeClr val="accent1"/>
              </a:solidFill>
            </a:endParaRPr>
          </a:p>
        </p:txBody>
      </p:sp>
      <p:cxnSp>
        <p:nvCxnSpPr>
          <p:cNvPr id="312" name="Пряма сполучна лінія 311">
            <a:extLst>
              <a:ext uri="{FF2B5EF4-FFF2-40B4-BE49-F238E27FC236}">
                <a16:creationId xmlns:a16="http://schemas.microsoft.com/office/drawing/2014/main" id="{593F9BFE-3B18-4958-B910-252EDBC9086E}"/>
              </a:ext>
            </a:extLst>
          </p:cNvPr>
          <p:cNvCxnSpPr/>
          <p:nvPr>
            <p:custDataLst>
              <p:tags r:id="rId120"/>
            </p:custDataLst>
          </p:nvPr>
        </p:nvCxnSpPr>
        <p:spPr bwMode="auto">
          <a:xfrm flipH="1">
            <a:off x="6728395" y="3357279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3" name="Пряма сполучна лінія 312">
            <a:extLst>
              <a:ext uri="{FF2B5EF4-FFF2-40B4-BE49-F238E27FC236}">
                <a16:creationId xmlns:a16="http://schemas.microsoft.com/office/drawing/2014/main" id="{4B2E9B66-F15F-4012-AAD0-8326A445738A}"/>
              </a:ext>
            </a:extLst>
          </p:cNvPr>
          <p:cNvCxnSpPr/>
          <p:nvPr>
            <p:custDataLst>
              <p:tags r:id="rId121"/>
            </p:custDataLst>
          </p:nvPr>
        </p:nvCxnSpPr>
        <p:spPr bwMode="auto">
          <a:xfrm flipH="1">
            <a:off x="6728395" y="5157504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4" name="Пряма сполучна лінія 313">
            <a:extLst>
              <a:ext uri="{FF2B5EF4-FFF2-40B4-BE49-F238E27FC236}">
                <a16:creationId xmlns:a16="http://schemas.microsoft.com/office/drawing/2014/main" id="{4AFA2E56-A863-4627-A69B-3862020E3320}"/>
              </a:ext>
            </a:extLst>
          </p:cNvPr>
          <p:cNvCxnSpPr/>
          <p:nvPr>
            <p:custDataLst>
              <p:tags r:id="rId122"/>
            </p:custDataLst>
          </p:nvPr>
        </p:nvCxnSpPr>
        <p:spPr bwMode="auto">
          <a:xfrm flipH="1">
            <a:off x="6728395" y="2457166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5" name="Пряма сполучна лінія 314">
            <a:extLst>
              <a:ext uri="{FF2B5EF4-FFF2-40B4-BE49-F238E27FC236}">
                <a16:creationId xmlns:a16="http://schemas.microsoft.com/office/drawing/2014/main" id="{6D9612D6-1DD9-4E33-8A6D-BA597F5BB8D8}"/>
              </a:ext>
            </a:extLst>
          </p:cNvPr>
          <p:cNvCxnSpPr/>
          <p:nvPr>
            <p:custDataLst>
              <p:tags r:id="rId123"/>
            </p:custDataLst>
          </p:nvPr>
        </p:nvCxnSpPr>
        <p:spPr bwMode="auto">
          <a:xfrm flipH="1">
            <a:off x="6728395" y="2007904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6" name="Пряма сполучна лінія 315">
            <a:extLst>
              <a:ext uri="{FF2B5EF4-FFF2-40B4-BE49-F238E27FC236}">
                <a16:creationId xmlns:a16="http://schemas.microsoft.com/office/drawing/2014/main" id="{AA800C87-ABA5-44B9-BF59-D1AA7D4B6201}"/>
              </a:ext>
            </a:extLst>
          </p:cNvPr>
          <p:cNvCxnSpPr/>
          <p:nvPr>
            <p:custDataLst>
              <p:tags r:id="rId124"/>
            </p:custDataLst>
          </p:nvPr>
        </p:nvCxnSpPr>
        <p:spPr bwMode="auto">
          <a:xfrm flipH="1">
            <a:off x="6728395" y="4933666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7" name="Пряма сполучна лінія 316">
            <a:extLst>
              <a:ext uri="{FF2B5EF4-FFF2-40B4-BE49-F238E27FC236}">
                <a16:creationId xmlns:a16="http://schemas.microsoft.com/office/drawing/2014/main" id="{E5F20B52-08B9-4C33-9CE2-F8E6BA490545}"/>
              </a:ext>
            </a:extLst>
          </p:cNvPr>
          <p:cNvCxnSpPr/>
          <p:nvPr>
            <p:custDataLst>
              <p:tags r:id="rId125"/>
            </p:custDataLst>
          </p:nvPr>
        </p:nvCxnSpPr>
        <p:spPr bwMode="auto">
          <a:xfrm flipH="1">
            <a:off x="6728395" y="4033554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8" name="Пряма сполучна лінія 317">
            <a:extLst>
              <a:ext uri="{FF2B5EF4-FFF2-40B4-BE49-F238E27FC236}">
                <a16:creationId xmlns:a16="http://schemas.microsoft.com/office/drawing/2014/main" id="{69435037-93DC-406A-9A6E-D3D86D2C23FE}"/>
              </a:ext>
            </a:extLst>
          </p:cNvPr>
          <p:cNvCxnSpPr/>
          <p:nvPr>
            <p:custDataLst>
              <p:tags r:id="rId126"/>
            </p:custDataLst>
          </p:nvPr>
        </p:nvCxnSpPr>
        <p:spPr bwMode="auto">
          <a:xfrm flipH="1">
            <a:off x="6728395" y="4708241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19" name="Пряма сполучна лінія 318">
            <a:extLst>
              <a:ext uri="{FF2B5EF4-FFF2-40B4-BE49-F238E27FC236}">
                <a16:creationId xmlns:a16="http://schemas.microsoft.com/office/drawing/2014/main" id="{0266ED02-3627-43D7-8763-35CF6330F136}"/>
              </a:ext>
            </a:extLst>
          </p:cNvPr>
          <p:cNvCxnSpPr>
            <a:cxnSpLocks/>
          </p:cNvCxnSpPr>
          <p:nvPr>
            <p:custDataLst>
              <p:tags r:id="rId127"/>
            </p:custDataLst>
          </p:nvPr>
        </p:nvCxnSpPr>
        <p:spPr bwMode="auto">
          <a:xfrm flipH="1">
            <a:off x="6728395" y="5762341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20" name="Пряма сполучна лінія 319">
            <a:extLst>
              <a:ext uri="{FF2B5EF4-FFF2-40B4-BE49-F238E27FC236}">
                <a16:creationId xmlns:a16="http://schemas.microsoft.com/office/drawing/2014/main" id="{8B12BD4C-AB6C-47D2-87DC-1619A6387E36}"/>
              </a:ext>
            </a:extLst>
          </p:cNvPr>
          <p:cNvCxnSpPr/>
          <p:nvPr>
            <p:custDataLst>
              <p:tags r:id="rId128"/>
            </p:custDataLst>
          </p:nvPr>
        </p:nvCxnSpPr>
        <p:spPr bwMode="auto">
          <a:xfrm flipH="1">
            <a:off x="6728395" y="4257391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1" name="Пряма сполучна лінія 320">
            <a:extLst>
              <a:ext uri="{FF2B5EF4-FFF2-40B4-BE49-F238E27FC236}">
                <a16:creationId xmlns:a16="http://schemas.microsoft.com/office/drawing/2014/main" id="{17FF1152-7278-4DC5-958C-3D22E5DFA056}"/>
              </a:ext>
            </a:extLst>
          </p:cNvPr>
          <p:cNvCxnSpPr/>
          <p:nvPr>
            <p:custDataLst>
              <p:tags r:id="rId129"/>
            </p:custDataLst>
          </p:nvPr>
        </p:nvCxnSpPr>
        <p:spPr bwMode="auto">
          <a:xfrm flipH="1">
            <a:off x="6728395" y="4482816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2" name="Пряма сполучна лінія 321">
            <a:extLst>
              <a:ext uri="{FF2B5EF4-FFF2-40B4-BE49-F238E27FC236}">
                <a16:creationId xmlns:a16="http://schemas.microsoft.com/office/drawing/2014/main" id="{E2E1A0E1-4258-4175-92F8-44E3512D1048}"/>
              </a:ext>
            </a:extLst>
          </p:cNvPr>
          <p:cNvCxnSpPr/>
          <p:nvPr>
            <p:custDataLst>
              <p:tags r:id="rId130"/>
            </p:custDataLst>
          </p:nvPr>
        </p:nvCxnSpPr>
        <p:spPr bwMode="auto">
          <a:xfrm flipH="1">
            <a:off x="6728395" y="3582704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3" name="Пряма сполучна лінія 322">
            <a:extLst>
              <a:ext uri="{FF2B5EF4-FFF2-40B4-BE49-F238E27FC236}">
                <a16:creationId xmlns:a16="http://schemas.microsoft.com/office/drawing/2014/main" id="{9BF76F70-3A80-4A8D-9D57-0300FB5AEBB7}"/>
              </a:ext>
            </a:extLst>
          </p:cNvPr>
          <p:cNvCxnSpPr/>
          <p:nvPr>
            <p:custDataLst>
              <p:tags r:id="rId131"/>
            </p:custDataLst>
          </p:nvPr>
        </p:nvCxnSpPr>
        <p:spPr bwMode="auto">
          <a:xfrm flipH="1">
            <a:off x="6728395" y="3133441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4" name="Пряма сполучна лінія 323">
            <a:extLst>
              <a:ext uri="{FF2B5EF4-FFF2-40B4-BE49-F238E27FC236}">
                <a16:creationId xmlns:a16="http://schemas.microsoft.com/office/drawing/2014/main" id="{2A5AF1DD-AE25-4929-968C-1390CF8B69BE}"/>
              </a:ext>
            </a:extLst>
          </p:cNvPr>
          <p:cNvCxnSpPr/>
          <p:nvPr>
            <p:custDataLst>
              <p:tags r:id="rId132"/>
            </p:custDataLst>
          </p:nvPr>
        </p:nvCxnSpPr>
        <p:spPr bwMode="auto">
          <a:xfrm flipH="1">
            <a:off x="6728395" y="2908016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5" name="Пряма сполучна лінія 324">
            <a:extLst>
              <a:ext uri="{FF2B5EF4-FFF2-40B4-BE49-F238E27FC236}">
                <a16:creationId xmlns:a16="http://schemas.microsoft.com/office/drawing/2014/main" id="{E6F090AB-E18D-4045-805C-704B928BC54A}"/>
              </a:ext>
            </a:extLst>
          </p:cNvPr>
          <p:cNvCxnSpPr/>
          <p:nvPr>
            <p:custDataLst>
              <p:tags r:id="rId133"/>
            </p:custDataLst>
          </p:nvPr>
        </p:nvCxnSpPr>
        <p:spPr bwMode="auto">
          <a:xfrm flipH="1">
            <a:off x="6728395" y="2682591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6" name="Пряма сполучна лінія 325">
            <a:extLst>
              <a:ext uri="{FF2B5EF4-FFF2-40B4-BE49-F238E27FC236}">
                <a16:creationId xmlns:a16="http://schemas.microsoft.com/office/drawing/2014/main" id="{4E06D646-A2E8-4B88-81F3-5FD9BB17FAAB}"/>
              </a:ext>
            </a:extLst>
          </p:cNvPr>
          <p:cNvCxnSpPr/>
          <p:nvPr>
            <p:custDataLst>
              <p:tags r:id="rId134"/>
            </p:custDataLst>
          </p:nvPr>
        </p:nvCxnSpPr>
        <p:spPr bwMode="auto">
          <a:xfrm flipH="1">
            <a:off x="6728395" y="5382929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7" name="Пряма сполучна лінія 326">
            <a:extLst>
              <a:ext uri="{FF2B5EF4-FFF2-40B4-BE49-F238E27FC236}">
                <a16:creationId xmlns:a16="http://schemas.microsoft.com/office/drawing/2014/main" id="{E352E1C9-0047-44E5-95B9-D19D9BDF4271}"/>
              </a:ext>
            </a:extLst>
          </p:cNvPr>
          <p:cNvCxnSpPr/>
          <p:nvPr>
            <p:custDataLst>
              <p:tags r:id="rId135"/>
            </p:custDataLst>
          </p:nvPr>
        </p:nvCxnSpPr>
        <p:spPr bwMode="auto">
          <a:xfrm flipH="1">
            <a:off x="6728395" y="2233329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328" name="Пряма сполучна лінія 327">
            <a:extLst>
              <a:ext uri="{FF2B5EF4-FFF2-40B4-BE49-F238E27FC236}">
                <a16:creationId xmlns:a16="http://schemas.microsoft.com/office/drawing/2014/main" id="{25C57EB8-6703-402A-9DA0-14B149D293CF}"/>
              </a:ext>
            </a:extLst>
          </p:cNvPr>
          <p:cNvCxnSpPr/>
          <p:nvPr>
            <p:custDataLst>
              <p:tags r:id="rId136"/>
            </p:custDataLst>
          </p:nvPr>
        </p:nvCxnSpPr>
        <p:spPr bwMode="auto">
          <a:xfrm flipH="1">
            <a:off x="6728395" y="3808129"/>
            <a:ext cx="42863" cy="0"/>
          </a:xfrm>
          <a:prstGeom prst="line">
            <a:avLst/>
          </a:prstGeom>
          <a:ln w="9525" cap="flat" cmpd="sng" algn="ctr">
            <a:solidFill>
              <a:schemeClr val="tx1"/>
            </a:solidFill>
            <a:prstDash val="solid"/>
            <a:round/>
            <a:headEnd type="none" w="med" len="med"/>
            <a:tailEnd type="none" w="med" len="med"/>
          </a:ln>
          <a:effectLst/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graphicFrame>
        <p:nvGraphicFramePr>
          <p:cNvPr id="329" name="Chart 3">
            <a:extLst>
              <a:ext uri="{FF2B5EF4-FFF2-40B4-BE49-F238E27FC236}">
                <a16:creationId xmlns:a16="http://schemas.microsoft.com/office/drawing/2014/main" id="{B826F8F8-384C-4EC1-9127-D09BA69B28FD}"/>
              </a:ext>
            </a:extLst>
          </p:cNvPr>
          <p:cNvGraphicFramePr/>
          <p:nvPr>
            <p:custDataLst>
              <p:tags r:id="rId137"/>
            </p:custDataLst>
            <p:extLst>
              <p:ext uri="{D42A27DB-BD31-4B8C-83A1-F6EECF244321}">
                <p14:modId xmlns:p14="http://schemas.microsoft.com/office/powerpoint/2010/main" val="1689925864"/>
              </p:ext>
            </p:extLst>
          </p:nvPr>
        </p:nvGraphicFramePr>
        <p:xfrm>
          <a:off x="6688708" y="1925354"/>
          <a:ext cx="4054475" cy="39195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201"/>
          </a:graphicData>
        </a:graphic>
      </p:graphicFrame>
      <p:sp>
        <p:nvSpPr>
          <p:cNvPr id="330" name="Holder 3">
            <a:extLst>
              <a:ext uri="{FF2B5EF4-FFF2-40B4-BE49-F238E27FC236}">
                <a16:creationId xmlns:a16="http://schemas.microsoft.com/office/drawing/2014/main" id="{DC762D03-825C-47CF-A42E-5076B3BFF919}"/>
              </a:ext>
            </a:extLst>
          </p:cNvPr>
          <p:cNvSpPr>
            <a:spLocks noGrp="1"/>
          </p:cNvSpPr>
          <p:nvPr>
            <p:custDataLst>
              <p:tags r:id="rId138"/>
            </p:custDataLst>
          </p:nvPr>
        </p:nvSpPr>
        <p:spPr bwMode="gray">
          <a:xfrm>
            <a:off x="6415658" y="4644741"/>
            <a:ext cx="2270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>
              <a:defRPr>
                <a:latin typeface="+mn-lt"/>
                <a:ea typeface="+mn-ea"/>
                <a:cs typeface="+mn-cs"/>
              </a:defRPr>
            </a:lvl2pPr>
            <a:lvl3pPr marL="685800">
              <a:defRPr>
                <a:latin typeface="+mn-lt"/>
                <a:ea typeface="+mn-ea"/>
                <a:cs typeface="+mn-cs"/>
              </a:defRPr>
            </a:lvl3pPr>
            <a:lvl4pPr marL="1028700">
              <a:defRPr>
                <a:latin typeface="+mn-lt"/>
                <a:ea typeface="+mn-ea"/>
                <a:cs typeface="+mn-cs"/>
              </a:defRPr>
            </a:lvl4pPr>
            <a:lvl5pPr marL="1371600">
              <a:defRPr>
                <a:latin typeface="+mn-lt"/>
                <a:ea typeface="+mn-ea"/>
                <a:cs typeface="+mn-cs"/>
              </a:defRPr>
            </a:lvl5pPr>
            <a:lvl6pPr marL="1714500">
              <a:defRPr>
                <a:latin typeface="+mn-lt"/>
                <a:ea typeface="+mn-ea"/>
                <a:cs typeface="+mn-cs"/>
              </a:defRPr>
            </a:lvl6pPr>
            <a:lvl7pPr marL="2057400">
              <a:defRPr>
                <a:latin typeface="+mn-lt"/>
                <a:ea typeface="+mn-ea"/>
                <a:cs typeface="+mn-cs"/>
              </a:defRPr>
            </a:lvl7pPr>
            <a:lvl8pPr marL="2400300">
              <a:defRPr>
                <a:latin typeface="+mn-lt"/>
                <a:ea typeface="+mn-ea"/>
                <a:cs typeface="+mn-cs"/>
              </a:defRPr>
            </a:lvl8pPr>
            <a:lvl9pPr marL="2743200">
              <a:defRPr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33E5BE5-0FDC-4610-97C5-F821B2C98CCF}" type="datetime'''''''''''''1''''''2'''''''''''''',''''''5'">
              <a:rPr lang="en-US" altLang="en-US" sz="1000" smtClean="0">
                <a:solidFill>
                  <a:srgbClr val="000000"/>
                </a:solidFill>
                <a:effectLst/>
                <a:sym typeface="+mn-lt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2,5</a:t>
            </a:fld>
            <a:endParaRPr lang="en-US" sz="10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331" name="Holder 3">
            <a:extLst>
              <a:ext uri="{FF2B5EF4-FFF2-40B4-BE49-F238E27FC236}">
                <a16:creationId xmlns:a16="http://schemas.microsoft.com/office/drawing/2014/main" id="{9D3CC100-7CE3-4166-92E3-76FD554E6766}"/>
              </a:ext>
            </a:extLst>
          </p:cNvPr>
          <p:cNvSpPr>
            <a:spLocks noGrp="1"/>
          </p:cNvSpPr>
          <p:nvPr>
            <p:custDataLst>
              <p:tags r:id="rId139"/>
            </p:custDataLst>
          </p:nvPr>
        </p:nvSpPr>
        <p:spPr bwMode="gray">
          <a:xfrm>
            <a:off x="6415658" y="3970054"/>
            <a:ext cx="2270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>
              <a:defRPr>
                <a:latin typeface="+mn-lt"/>
                <a:ea typeface="+mn-ea"/>
                <a:cs typeface="+mn-cs"/>
              </a:defRPr>
            </a:lvl2pPr>
            <a:lvl3pPr marL="685800">
              <a:defRPr>
                <a:latin typeface="+mn-lt"/>
                <a:ea typeface="+mn-ea"/>
                <a:cs typeface="+mn-cs"/>
              </a:defRPr>
            </a:lvl3pPr>
            <a:lvl4pPr marL="1028700">
              <a:defRPr>
                <a:latin typeface="+mn-lt"/>
                <a:ea typeface="+mn-ea"/>
                <a:cs typeface="+mn-cs"/>
              </a:defRPr>
            </a:lvl4pPr>
            <a:lvl5pPr marL="1371600">
              <a:defRPr>
                <a:latin typeface="+mn-lt"/>
                <a:ea typeface="+mn-ea"/>
                <a:cs typeface="+mn-cs"/>
              </a:defRPr>
            </a:lvl5pPr>
            <a:lvl6pPr marL="1714500">
              <a:defRPr>
                <a:latin typeface="+mn-lt"/>
                <a:ea typeface="+mn-ea"/>
                <a:cs typeface="+mn-cs"/>
              </a:defRPr>
            </a:lvl6pPr>
            <a:lvl7pPr marL="2057400">
              <a:defRPr>
                <a:latin typeface="+mn-lt"/>
                <a:ea typeface="+mn-ea"/>
                <a:cs typeface="+mn-cs"/>
              </a:defRPr>
            </a:lvl7pPr>
            <a:lvl8pPr marL="2400300">
              <a:defRPr>
                <a:latin typeface="+mn-lt"/>
                <a:ea typeface="+mn-ea"/>
                <a:cs typeface="+mn-cs"/>
              </a:defRPr>
            </a:lvl8pPr>
            <a:lvl9pPr marL="2743200">
              <a:defRPr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03B4689-D385-4E8B-B99A-2AD25D98ACFD}" type="datetime'''''14'''''',''''''''0'''''''''''''''''''''''">
              <a:rPr lang="en-US" altLang="en-US" sz="1000" smtClean="0">
                <a:solidFill>
                  <a:srgbClr val="000000"/>
                </a:solidFill>
                <a:effectLst/>
                <a:sym typeface="+mn-lt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4,0</a:t>
            </a:fld>
            <a:endParaRPr lang="en-US" sz="10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332" name="Holder 3">
            <a:extLst>
              <a:ext uri="{FF2B5EF4-FFF2-40B4-BE49-F238E27FC236}">
                <a16:creationId xmlns:a16="http://schemas.microsoft.com/office/drawing/2014/main" id="{7CFFD57F-7BC3-445A-B36F-BF43B792394A}"/>
              </a:ext>
            </a:extLst>
          </p:cNvPr>
          <p:cNvSpPr>
            <a:spLocks noGrp="1"/>
          </p:cNvSpPr>
          <p:nvPr>
            <p:custDataLst>
              <p:tags r:id="rId140"/>
            </p:custDataLst>
          </p:nvPr>
        </p:nvSpPr>
        <p:spPr bwMode="gray">
          <a:xfrm>
            <a:off x="6415658" y="4193891"/>
            <a:ext cx="2270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>
              <a:defRPr>
                <a:latin typeface="+mn-lt"/>
                <a:ea typeface="+mn-ea"/>
                <a:cs typeface="+mn-cs"/>
              </a:defRPr>
            </a:lvl2pPr>
            <a:lvl3pPr marL="685800">
              <a:defRPr>
                <a:latin typeface="+mn-lt"/>
                <a:ea typeface="+mn-ea"/>
                <a:cs typeface="+mn-cs"/>
              </a:defRPr>
            </a:lvl3pPr>
            <a:lvl4pPr marL="1028700">
              <a:defRPr>
                <a:latin typeface="+mn-lt"/>
                <a:ea typeface="+mn-ea"/>
                <a:cs typeface="+mn-cs"/>
              </a:defRPr>
            </a:lvl4pPr>
            <a:lvl5pPr marL="1371600">
              <a:defRPr>
                <a:latin typeface="+mn-lt"/>
                <a:ea typeface="+mn-ea"/>
                <a:cs typeface="+mn-cs"/>
              </a:defRPr>
            </a:lvl5pPr>
            <a:lvl6pPr marL="1714500">
              <a:defRPr>
                <a:latin typeface="+mn-lt"/>
                <a:ea typeface="+mn-ea"/>
                <a:cs typeface="+mn-cs"/>
              </a:defRPr>
            </a:lvl6pPr>
            <a:lvl7pPr marL="2057400">
              <a:defRPr>
                <a:latin typeface="+mn-lt"/>
                <a:ea typeface="+mn-ea"/>
                <a:cs typeface="+mn-cs"/>
              </a:defRPr>
            </a:lvl7pPr>
            <a:lvl8pPr marL="2400300">
              <a:defRPr>
                <a:latin typeface="+mn-lt"/>
                <a:ea typeface="+mn-ea"/>
                <a:cs typeface="+mn-cs"/>
              </a:defRPr>
            </a:lvl8pPr>
            <a:lvl9pPr marL="2743200">
              <a:defRPr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D8A7D69-3729-4D29-B983-CA678365E55E}" type="datetime'''''''''13'''''''''''''''''''''''',''''''''5'''''''''''''''''">
              <a:rPr lang="en-US" altLang="en-US" sz="1000" smtClean="0">
                <a:solidFill>
                  <a:srgbClr val="000000"/>
                </a:solidFill>
                <a:effectLst/>
                <a:sym typeface="+mn-lt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3,5</a:t>
            </a:fld>
            <a:endParaRPr lang="en-US" sz="10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333" name="Holder 3">
            <a:extLst>
              <a:ext uri="{FF2B5EF4-FFF2-40B4-BE49-F238E27FC236}">
                <a16:creationId xmlns:a16="http://schemas.microsoft.com/office/drawing/2014/main" id="{3AA42359-40B1-4F68-9F27-E5EECCC779D9}"/>
              </a:ext>
            </a:extLst>
          </p:cNvPr>
          <p:cNvSpPr>
            <a:spLocks noGrp="1"/>
          </p:cNvSpPr>
          <p:nvPr>
            <p:custDataLst>
              <p:tags r:id="rId141"/>
            </p:custDataLst>
          </p:nvPr>
        </p:nvSpPr>
        <p:spPr bwMode="gray">
          <a:xfrm>
            <a:off x="6415658" y="5319429"/>
            <a:ext cx="2270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>
              <a:defRPr>
                <a:latin typeface="+mn-lt"/>
                <a:ea typeface="+mn-ea"/>
                <a:cs typeface="+mn-cs"/>
              </a:defRPr>
            </a:lvl2pPr>
            <a:lvl3pPr marL="685800">
              <a:defRPr>
                <a:latin typeface="+mn-lt"/>
                <a:ea typeface="+mn-ea"/>
                <a:cs typeface="+mn-cs"/>
              </a:defRPr>
            </a:lvl3pPr>
            <a:lvl4pPr marL="1028700">
              <a:defRPr>
                <a:latin typeface="+mn-lt"/>
                <a:ea typeface="+mn-ea"/>
                <a:cs typeface="+mn-cs"/>
              </a:defRPr>
            </a:lvl4pPr>
            <a:lvl5pPr marL="1371600">
              <a:defRPr>
                <a:latin typeface="+mn-lt"/>
                <a:ea typeface="+mn-ea"/>
                <a:cs typeface="+mn-cs"/>
              </a:defRPr>
            </a:lvl5pPr>
            <a:lvl6pPr marL="1714500">
              <a:defRPr>
                <a:latin typeface="+mn-lt"/>
                <a:ea typeface="+mn-ea"/>
                <a:cs typeface="+mn-cs"/>
              </a:defRPr>
            </a:lvl6pPr>
            <a:lvl7pPr marL="2057400">
              <a:defRPr>
                <a:latin typeface="+mn-lt"/>
                <a:ea typeface="+mn-ea"/>
                <a:cs typeface="+mn-cs"/>
              </a:defRPr>
            </a:lvl7pPr>
            <a:lvl8pPr marL="2400300">
              <a:defRPr>
                <a:latin typeface="+mn-lt"/>
                <a:ea typeface="+mn-ea"/>
                <a:cs typeface="+mn-cs"/>
              </a:defRPr>
            </a:lvl8pPr>
            <a:lvl9pPr marL="2743200">
              <a:defRPr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9BBCC65-C936-415D-B544-A692932558FD}" type="datetime'''''''1''''1'',''''''''''''''''0'''''''''''''''''''''''''''">
              <a:rPr lang="en-US" altLang="en-US" sz="1000" smtClean="0">
                <a:solidFill>
                  <a:srgbClr val="000000"/>
                </a:solidFill>
                <a:effectLst/>
                <a:sym typeface="+mn-lt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1,0</a:t>
            </a:fld>
            <a:endParaRPr lang="en-US" sz="10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334" name="Holder 3">
            <a:extLst>
              <a:ext uri="{FF2B5EF4-FFF2-40B4-BE49-F238E27FC236}">
                <a16:creationId xmlns:a16="http://schemas.microsoft.com/office/drawing/2014/main" id="{4131C4EC-4F69-47F4-BC4A-180445800057}"/>
              </a:ext>
            </a:extLst>
          </p:cNvPr>
          <p:cNvSpPr>
            <a:spLocks noGrp="1"/>
          </p:cNvSpPr>
          <p:nvPr>
            <p:custDataLst>
              <p:tags r:id="rId142"/>
            </p:custDataLst>
          </p:nvPr>
        </p:nvSpPr>
        <p:spPr bwMode="gray">
          <a:xfrm>
            <a:off x="6415658" y="3069941"/>
            <a:ext cx="2270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>
              <a:defRPr>
                <a:latin typeface="+mn-lt"/>
                <a:ea typeface="+mn-ea"/>
                <a:cs typeface="+mn-cs"/>
              </a:defRPr>
            </a:lvl2pPr>
            <a:lvl3pPr marL="685800">
              <a:defRPr>
                <a:latin typeface="+mn-lt"/>
                <a:ea typeface="+mn-ea"/>
                <a:cs typeface="+mn-cs"/>
              </a:defRPr>
            </a:lvl3pPr>
            <a:lvl4pPr marL="1028700">
              <a:defRPr>
                <a:latin typeface="+mn-lt"/>
                <a:ea typeface="+mn-ea"/>
                <a:cs typeface="+mn-cs"/>
              </a:defRPr>
            </a:lvl4pPr>
            <a:lvl5pPr marL="1371600">
              <a:defRPr>
                <a:latin typeface="+mn-lt"/>
                <a:ea typeface="+mn-ea"/>
                <a:cs typeface="+mn-cs"/>
              </a:defRPr>
            </a:lvl5pPr>
            <a:lvl6pPr marL="1714500">
              <a:defRPr>
                <a:latin typeface="+mn-lt"/>
                <a:ea typeface="+mn-ea"/>
                <a:cs typeface="+mn-cs"/>
              </a:defRPr>
            </a:lvl6pPr>
            <a:lvl7pPr marL="2057400">
              <a:defRPr>
                <a:latin typeface="+mn-lt"/>
                <a:ea typeface="+mn-ea"/>
                <a:cs typeface="+mn-cs"/>
              </a:defRPr>
            </a:lvl7pPr>
            <a:lvl8pPr marL="2400300">
              <a:defRPr>
                <a:latin typeface="+mn-lt"/>
                <a:ea typeface="+mn-ea"/>
                <a:cs typeface="+mn-cs"/>
              </a:defRPr>
            </a:lvl8pPr>
            <a:lvl9pPr marL="2743200">
              <a:defRPr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AFB4841-9042-46CB-B0E9-8D415D46AA8F}" type="datetime'''''1''''''6,''''0'''''''''''''''''''''''''''">
              <a:rPr lang="en-US" altLang="en-US" sz="1000" smtClean="0">
                <a:solidFill>
                  <a:srgbClr val="000000"/>
                </a:solidFill>
                <a:effectLst/>
                <a:sym typeface="+mn-lt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6,0</a:t>
            </a:fld>
            <a:endParaRPr lang="en-US" sz="10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335" name="Прямокутник 334">
            <a:extLst>
              <a:ext uri="{FF2B5EF4-FFF2-40B4-BE49-F238E27FC236}">
                <a16:creationId xmlns:a16="http://schemas.microsoft.com/office/drawing/2014/main" id="{B11D907D-EF10-4666-B64F-536757BD471A}"/>
              </a:ext>
            </a:extLst>
          </p:cNvPr>
          <p:cNvSpPr/>
          <p:nvPr>
            <p:custDataLst>
              <p:tags r:id="rId143"/>
            </p:custDataLst>
          </p:nvPr>
        </p:nvSpPr>
        <p:spPr bwMode="gray">
          <a:xfrm>
            <a:off x="6480745" y="5698841"/>
            <a:ext cx="161925" cy="136525"/>
          </a:xfrm>
          <a:prstGeom prst="rect">
            <a:avLst/>
          </a:prstGeom>
          <a:noFill/>
          <a:ln w="25400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254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round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lvl="0" algn="r" defTabSz="914400">
              <a:lnSpc>
                <a:spcPct val="90000"/>
              </a:lnSpc>
              <a:spcBef>
                <a:spcPct val="0"/>
              </a:spcBef>
              <a:spcAft>
                <a:spcPct val="0"/>
              </a:spcAft>
              <a:defRPr/>
            </a:pPr>
            <a:fld id="{B6D73519-FFE2-4745-A004-0C3B266D8561}" type="datetime'''''''0'',''''''''''''''''''''0'''''''''''''''''''''">
              <a:rPr lang="en-US" altLang="en-US" sz="1000" smtClean="0">
                <a:solidFill>
                  <a:srgbClr val="000000"/>
                </a:solidFill>
              </a:rPr>
              <a:pPr/>
              <a:t>0,0</a:t>
            </a:fld>
            <a:endParaRPr lang="uk-UA" sz="1000" strike="noStrike" normalizeH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336" name="Holder 3">
            <a:extLst>
              <a:ext uri="{FF2B5EF4-FFF2-40B4-BE49-F238E27FC236}">
                <a16:creationId xmlns:a16="http://schemas.microsoft.com/office/drawing/2014/main" id="{FC606688-1729-44AF-B62B-421661C25101}"/>
              </a:ext>
            </a:extLst>
          </p:cNvPr>
          <p:cNvSpPr>
            <a:spLocks noGrp="1"/>
          </p:cNvSpPr>
          <p:nvPr>
            <p:custDataLst>
              <p:tags r:id="rId144"/>
            </p:custDataLst>
          </p:nvPr>
        </p:nvSpPr>
        <p:spPr bwMode="gray">
          <a:xfrm>
            <a:off x="6415658" y="2619091"/>
            <a:ext cx="2270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>
              <a:defRPr>
                <a:latin typeface="+mn-lt"/>
                <a:ea typeface="+mn-ea"/>
                <a:cs typeface="+mn-cs"/>
              </a:defRPr>
            </a:lvl2pPr>
            <a:lvl3pPr marL="685800">
              <a:defRPr>
                <a:latin typeface="+mn-lt"/>
                <a:ea typeface="+mn-ea"/>
                <a:cs typeface="+mn-cs"/>
              </a:defRPr>
            </a:lvl3pPr>
            <a:lvl4pPr marL="1028700">
              <a:defRPr>
                <a:latin typeface="+mn-lt"/>
                <a:ea typeface="+mn-ea"/>
                <a:cs typeface="+mn-cs"/>
              </a:defRPr>
            </a:lvl4pPr>
            <a:lvl5pPr marL="1371600">
              <a:defRPr>
                <a:latin typeface="+mn-lt"/>
                <a:ea typeface="+mn-ea"/>
                <a:cs typeface="+mn-cs"/>
              </a:defRPr>
            </a:lvl5pPr>
            <a:lvl6pPr marL="1714500">
              <a:defRPr>
                <a:latin typeface="+mn-lt"/>
                <a:ea typeface="+mn-ea"/>
                <a:cs typeface="+mn-cs"/>
              </a:defRPr>
            </a:lvl6pPr>
            <a:lvl7pPr marL="2057400">
              <a:defRPr>
                <a:latin typeface="+mn-lt"/>
                <a:ea typeface="+mn-ea"/>
                <a:cs typeface="+mn-cs"/>
              </a:defRPr>
            </a:lvl7pPr>
            <a:lvl8pPr marL="2400300">
              <a:defRPr>
                <a:latin typeface="+mn-lt"/>
                <a:ea typeface="+mn-ea"/>
                <a:cs typeface="+mn-cs"/>
              </a:defRPr>
            </a:lvl8pPr>
            <a:lvl9pPr marL="2743200">
              <a:defRPr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BCA80E1-B2D4-41F7-9448-07000D2866C5}" type="datetime'''''1''''''''7'''''''''''''''''''''''',''0'''''''''''''''''''">
              <a:rPr lang="en-US" altLang="en-US" sz="1000" smtClean="0">
                <a:solidFill>
                  <a:srgbClr val="000000"/>
                </a:solidFill>
                <a:effectLst/>
                <a:sym typeface="+mn-lt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7,0</a:t>
            </a:fld>
            <a:endParaRPr lang="en-US" sz="10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337" name="Holder 3">
            <a:extLst>
              <a:ext uri="{FF2B5EF4-FFF2-40B4-BE49-F238E27FC236}">
                <a16:creationId xmlns:a16="http://schemas.microsoft.com/office/drawing/2014/main" id="{59F924A0-5774-4331-B410-0EBEA512DE47}"/>
              </a:ext>
            </a:extLst>
          </p:cNvPr>
          <p:cNvSpPr>
            <a:spLocks noGrp="1"/>
          </p:cNvSpPr>
          <p:nvPr>
            <p:custDataLst>
              <p:tags r:id="rId145"/>
            </p:custDataLst>
          </p:nvPr>
        </p:nvSpPr>
        <p:spPr bwMode="gray">
          <a:xfrm>
            <a:off x="6415658" y="3519204"/>
            <a:ext cx="2270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>
              <a:defRPr>
                <a:latin typeface="+mn-lt"/>
                <a:ea typeface="+mn-ea"/>
                <a:cs typeface="+mn-cs"/>
              </a:defRPr>
            </a:lvl2pPr>
            <a:lvl3pPr marL="685800">
              <a:defRPr>
                <a:latin typeface="+mn-lt"/>
                <a:ea typeface="+mn-ea"/>
                <a:cs typeface="+mn-cs"/>
              </a:defRPr>
            </a:lvl3pPr>
            <a:lvl4pPr marL="1028700">
              <a:defRPr>
                <a:latin typeface="+mn-lt"/>
                <a:ea typeface="+mn-ea"/>
                <a:cs typeface="+mn-cs"/>
              </a:defRPr>
            </a:lvl4pPr>
            <a:lvl5pPr marL="1371600">
              <a:defRPr>
                <a:latin typeface="+mn-lt"/>
                <a:ea typeface="+mn-ea"/>
                <a:cs typeface="+mn-cs"/>
              </a:defRPr>
            </a:lvl5pPr>
            <a:lvl6pPr marL="1714500">
              <a:defRPr>
                <a:latin typeface="+mn-lt"/>
                <a:ea typeface="+mn-ea"/>
                <a:cs typeface="+mn-cs"/>
              </a:defRPr>
            </a:lvl6pPr>
            <a:lvl7pPr marL="2057400">
              <a:defRPr>
                <a:latin typeface="+mn-lt"/>
                <a:ea typeface="+mn-ea"/>
                <a:cs typeface="+mn-cs"/>
              </a:defRPr>
            </a:lvl7pPr>
            <a:lvl8pPr marL="2400300">
              <a:defRPr>
                <a:latin typeface="+mn-lt"/>
                <a:ea typeface="+mn-ea"/>
                <a:cs typeface="+mn-cs"/>
              </a:defRPr>
            </a:lvl8pPr>
            <a:lvl9pPr marL="2743200">
              <a:defRPr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BCD67FF-84C2-4EFC-9BC1-470165ACA0E4}" type="datetime'''''''''''''''''''1''''''''''''''''''''''''''''5,''''0'''''''">
              <a:rPr lang="en-US" altLang="en-US" sz="1000" smtClean="0">
                <a:solidFill>
                  <a:srgbClr val="000000"/>
                </a:solidFill>
              </a:rPr>
              <a:pPr/>
              <a:t>15,0</a:t>
            </a:fld>
            <a:endParaRPr lang="en-US" sz="1000">
              <a:solidFill>
                <a:srgbClr val="000000"/>
              </a:solidFill>
              <a:sym typeface="+mn-lt"/>
            </a:endParaRPr>
          </a:p>
        </p:txBody>
      </p:sp>
      <p:sp>
        <p:nvSpPr>
          <p:cNvPr id="338" name="Holder 3">
            <a:extLst>
              <a:ext uri="{FF2B5EF4-FFF2-40B4-BE49-F238E27FC236}">
                <a16:creationId xmlns:a16="http://schemas.microsoft.com/office/drawing/2014/main" id="{5BD64EC1-9920-45BD-87CA-BFBA6353C42D}"/>
              </a:ext>
            </a:extLst>
          </p:cNvPr>
          <p:cNvSpPr>
            <a:spLocks noGrp="1"/>
          </p:cNvSpPr>
          <p:nvPr>
            <p:custDataLst>
              <p:tags r:id="rId146"/>
            </p:custDataLst>
          </p:nvPr>
        </p:nvSpPr>
        <p:spPr bwMode="gray">
          <a:xfrm>
            <a:off x="6415658" y="5094004"/>
            <a:ext cx="2270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>
              <a:defRPr>
                <a:latin typeface="+mn-lt"/>
                <a:ea typeface="+mn-ea"/>
                <a:cs typeface="+mn-cs"/>
              </a:defRPr>
            </a:lvl2pPr>
            <a:lvl3pPr marL="685800">
              <a:defRPr>
                <a:latin typeface="+mn-lt"/>
                <a:ea typeface="+mn-ea"/>
                <a:cs typeface="+mn-cs"/>
              </a:defRPr>
            </a:lvl3pPr>
            <a:lvl4pPr marL="1028700">
              <a:defRPr>
                <a:latin typeface="+mn-lt"/>
                <a:ea typeface="+mn-ea"/>
                <a:cs typeface="+mn-cs"/>
              </a:defRPr>
            </a:lvl4pPr>
            <a:lvl5pPr marL="1371600">
              <a:defRPr>
                <a:latin typeface="+mn-lt"/>
                <a:ea typeface="+mn-ea"/>
                <a:cs typeface="+mn-cs"/>
              </a:defRPr>
            </a:lvl5pPr>
            <a:lvl6pPr marL="1714500">
              <a:defRPr>
                <a:latin typeface="+mn-lt"/>
                <a:ea typeface="+mn-ea"/>
                <a:cs typeface="+mn-cs"/>
              </a:defRPr>
            </a:lvl6pPr>
            <a:lvl7pPr marL="2057400">
              <a:defRPr>
                <a:latin typeface="+mn-lt"/>
                <a:ea typeface="+mn-ea"/>
                <a:cs typeface="+mn-cs"/>
              </a:defRPr>
            </a:lvl7pPr>
            <a:lvl8pPr marL="2400300">
              <a:defRPr>
                <a:latin typeface="+mn-lt"/>
                <a:ea typeface="+mn-ea"/>
                <a:cs typeface="+mn-cs"/>
              </a:defRPr>
            </a:lvl8pPr>
            <a:lvl9pPr marL="2743200">
              <a:defRPr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971CE8B6-8E22-4540-A6C4-0E8147BCF6F1}" type="datetime'''''''1''''''''''''''''1'',''''''''''5'''">
              <a:rPr lang="en-US" altLang="en-US" sz="1000" smtClean="0">
                <a:solidFill>
                  <a:srgbClr val="000000"/>
                </a:solidFill>
                <a:effectLst/>
                <a:sym typeface="+mn-lt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1,5</a:t>
            </a:fld>
            <a:endParaRPr lang="en-US" sz="10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339" name="Holder 3">
            <a:extLst>
              <a:ext uri="{FF2B5EF4-FFF2-40B4-BE49-F238E27FC236}">
                <a16:creationId xmlns:a16="http://schemas.microsoft.com/office/drawing/2014/main" id="{5874982D-3DBD-40DD-B3C2-6C21654C68BE}"/>
              </a:ext>
            </a:extLst>
          </p:cNvPr>
          <p:cNvSpPr>
            <a:spLocks noGrp="1"/>
          </p:cNvSpPr>
          <p:nvPr>
            <p:custDataLst>
              <p:tags r:id="rId147"/>
            </p:custDataLst>
          </p:nvPr>
        </p:nvSpPr>
        <p:spPr bwMode="gray">
          <a:xfrm>
            <a:off x="6415658" y="4870166"/>
            <a:ext cx="2270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>
              <a:defRPr>
                <a:latin typeface="+mn-lt"/>
                <a:ea typeface="+mn-ea"/>
                <a:cs typeface="+mn-cs"/>
              </a:defRPr>
            </a:lvl2pPr>
            <a:lvl3pPr marL="685800">
              <a:defRPr>
                <a:latin typeface="+mn-lt"/>
                <a:ea typeface="+mn-ea"/>
                <a:cs typeface="+mn-cs"/>
              </a:defRPr>
            </a:lvl3pPr>
            <a:lvl4pPr marL="1028700">
              <a:defRPr>
                <a:latin typeface="+mn-lt"/>
                <a:ea typeface="+mn-ea"/>
                <a:cs typeface="+mn-cs"/>
              </a:defRPr>
            </a:lvl4pPr>
            <a:lvl5pPr marL="1371600">
              <a:defRPr>
                <a:latin typeface="+mn-lt"/>
                <a:ea typeface="+mn-ea"/>
                <a:cs typeface="+mn-cs"/>
              </a:defRPr>
            </a:lvl5pPr>
            <a:lvl6pPr marL="1714500">
              <a:defRPr>
                <a:latin typeface="+mn-lt"/>
                <a:ea typeface="+mn-ea"/>
                <a:cs typeface="+mn-cs"/>
              </a:defRPr>
            </a:lvl6pPr>
            <a:lvl7pPr marL="2057400">
              <a:defRPr>
                <a:latin typeface="+mn-lt"/>
                <a:ea typeface="+mn-ea"/>
                <a:cs typeface="+mn-cs"/>
              </a:defRPr>
            </a:lvl7pPr>
            <a:lvl8pPr marL="2400300">
              <a:defRPr>
                <a:latin typeface="+mn-lt"/>
                <a:ea typeface="+mn-ea"/>
                <a:cs typeface="+mn-cs"/>
              </a:defRPr>
            </a:lvl8pPr>
            <a:lvl9pPr marL="2743200">
              <a:defRPr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C380EFA-6CCB-49E5-BCF4-CCF6FB12C0B9}" type="datetime'''''''''''12,''''''''''''''''0'''''''''''''''''''''''''''''">
              <a:rPr lang="en-US" altLang="en-US" sz="1000" smtClean="0">
                <a:solidFill>
                  <a:srgbClr val="000000"/>
                </a:solidFill>
                <a:effectLst/>
                <a:sym typeface="+mn-lt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2,0</a:t>
            </a:fld>
            <a:endParaRPr lang="en-US" sz="10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340" name="Holder 3">
            <a:extLst>
              <a:ext uri="{FF2B5EF4-FFF2-40B4-BE49-F238E27FC236}">
                <a16:creationId xmlns:a16="http://schemas.microsoft.com/office/drawing/2014/main" id="{E1983DC8-A023-489D-B2ED-E4923E37D430}"/>
              </a:ext>
            </a:extLst>
          </p:cNvPr>
          <p:cNvSpPr>
            <a:spLocks noGrp="1"/>
          </p:cNvSpPr>
          <p:nvPr>
            <p:custDataLst>
              <p:tags r:id="rId148"/>
            </p:custDataLst>
          </p:nvPr>
        </p:nvSpPr>
        <p:spPr bwMode="gray">
          <a:xfrm>
            <a:off x="6415658" y="3744629"/>
            <a:ext cx="2270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>
              <a:defRPr>
                <a:latin typeface="+mn-lt"/>
                <a:ea typeface="+mn-ea"/>
                <a:cs typeface="+mn-cs"/>
              </a:defRPr>
            </a:lvl2pPr>
            <a:lvl3pPr marL="685800">
              <a:defRPr>
                <a:latin typeface="+mn-lt"/>
                <a:ea typeface="+mn-ea"/>
                <a:cs typeface="+mn-cs"/>
              </a:defRPr>
            </a:lvl3pPr>
            <a:lvl4pPr marL="1028700">
              <a:defRPr>
                <a:latin typeface="+mn-lt"/>
                <a:ea typeface="+mn-ea"/>
                <a:cs typeface="+mn-cs"/>
              </a:defRPr>
            </a:lvl4pPr>
            <a:lvl5pPr marL="1371600">
              <a:defRPr>
                <a:latin typeface="+mn-lt"/>
                <a:ea typeface="+mn-ea"/>
                <a:cs typeface="+mn-cs"/>
              </a:defRPr>
            </a:lvl5pPr>
            <a:lvl6pPr marL="1714500">
              <a:defRPr>
                <a:latin typeface="+mn-lt"/>
                <a:ea typeface="+mn-ea"/>
                <a:cs typeface="+mn-cs"/>
              </a:defRPr>
            </a:lvl6pPr>
            <a:lvl7pPr marL="2057400">
              <a:defRPr>
                <a:latin typeface="+mn-lt"/>
                <a:ea typeface="+mn-ea"/>
                <a:cs typeface="+mn-cs"/>
              </a:defRPr>
            </a:lvl7pPr>
            <a:lvl8pPr marL="2400300">
              <a:defRPr>
                <a:latin typeface="+mn-lt"/>
                <a:ea typeface="+mn-ea"/>
                <a:cs typeface="+mn-cs"/>
              </a:defRPr>
            </a:lvl8pPr>
            <a:lvl9pPr marL="2743200">
              <a:defRPr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B6C41994-2199-48A5-8AF1-3E31124DFF7D}" type="datetime'''1''''4'''''''''''''',''''''''''''''''''5'''''''''''''">
              <a:rPr lang="en-US" altLang="en-US" sz="1000" smtClean="0">
                <a:solidFill>
                  <a:srgbClr val="000000"/>
                </a:solidFill>
                <a:effectLst/>
                <a:sym typeface="+mn-lt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4,5</a:t>
            </a:fld>
            <a:endParaRPr lang="en-US" sz="10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341" name="Holder 3">
            <a:extLst>
              <a:ext uri="{FF2B5EF4-FFF2-40B4-BE49-F238E27FC236}">
                <a16:creationId xmlns:a16="http://schemas.microsoft.com/office/drawing/2014/main" id="{145A2A5F-CBB9-45A3-BBEA-E73C58898A07}"/>
              </a:ext>
            </a:extLst>
          </p:cNvPr>
          <p:cNvSpPr>
            <a:spLocks noGrp="1"/>
          </p:cNvSpPr>
          <p:nvPr>
            <p:custDataLst>
              <p:tags r:id="rId149"/>
            </p:custDataLst>
          </p:nvPr>
        </p:nvSpPr>
        <p:spPr bwMode="gray">
          <a:xfrm>
            <a:off x="6415658" y="3293779"/>
            <a:ext cx="2270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>
              <a:defRPr>
                <a:latin typeface="+mn-lt"/>
                <a:ea typeface="+mn-ea"/>
                <a:cs typeface="+mn-cs"/>
              </a:defRPr>
            </a:lvl2pPr>
            <a:lvl3pPr marL="685800">
              <a:defRPr>
                <a:latin typeface="+mn-lt"/>
                <a:ea typeface="+mn-ea"/>
                <a:cs typeface="+mn-cs"/>
              </a:defRPr>
            </a:lvl3pPr>
            <a:lvl4pPr marL="1028700">
              <a:defRPr>
                <a:latin typeface="+mn-lt"/>
                <a:ea typeface="+mn-ea"/>
                <a:cs typeface="+mn-cs"/>
              </a:defRPr>
            </a:lvl4pPr>
            <a:lvl5pPr marL="1371600">
              <a:defRPr>
                <a:latin typeface="+mn-lt"/>
                <a:ea typeface="+mn-ea"/>
                <a:cs typeface="+mn-cs"/>
              </a:defRPr>
            </a:lvl5pPr>
            <a:lvl6pPr marL="1714500">
              <a:defRPr>
                <a:latin typeface="+mn-lt"/>
                <a:ea typeface="+mn-ea"/>
                <a:cs typeface="+mn-cs"/>
              </a:defRPr>
            </a:lvl6pPr>
            <a:lvl7pPr marL="2057400">
              <a:defRPr>
                <a:latin typeface="+mn-lt"/>
                <a:ea typeface="+mn-ea"/>
                <a:cs typeface="+mn-cs"/>
              </a:defRPr>
            </a:lvl7pPr>
            <a:lvl8pPr marL="2400300">
              <a:defRPr>
                <a:latin typeface="+mn-lt"/>
                <a:ea typeface="+mn-ea"/>
                <a:cs typeface="+mn-cs"/>
              </a:defRPr>
            </a:lvl8pPr>
            <a:lvl9pPr marL="2743200">
              <a:defRPr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364C6EF-729D-4478-AA1B-DF3BF97B5131}" type="datetime'''''''''''''1''''''5'''''''''''''',5'''''''''''''''''''''''">
              <a:rPr lang="en-US" altLang="en-US" sz="1000" smtClean="0">
                <a:solidFill>
                  <a:srgbClr val="000000"/>
                </a:solidFill>
                <a:effectLst/>
                <a:sym typeface="+mn-lt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5,5</a:t>
            </a:fld>
            <a:endParaRPr lang="en-US" sz="10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342" name="Holder 3">
            <a:extLst>
              <a:ext uri="{FF2B5EF4-FFF2-40B4-BE49-F238E27FC236}">
                <a16:creationId xmlns:a16="http://schemas.microsoft.com/office/drawing/2014/main" id="{7D5B1BE3-7DBA-46A8-89F9-3C73470C5B9E}"/>
              </a:ext>
            </a:extLst>
          </p:cNvPr>
          <p:cNvSpPr>
            <a:spLocks noGrp="1"/>
          </p:cNvSpPr>
          <p:nvPr>
            <p:custDataLst>
              <p:tags r:id="rId150"/>
            </p:custDataLst>
          </p:nvPr>
        </p:nvSpPr>
        <p:spPr bwMode="gray">
          <a:xfrm>
            <a:off x="6415658" y="2393666"/>
            <a:ext cx="2270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>
              <a:defRPr>
                <a:latin typeface="+mn-lt"/>
                <a:ea typeface="+mn-ea"/>
                <a:cs typeface="+mn-cs"/>
              </a:defRPr>
            </a:lvl2pPr>
            <a:lvl3pPr marL="685800">
              <a:defRPr>
                <a:latin typeface="+mn-lt"/>
                <a:ea typeface="+mn-ea"/>
                <a:cs typeface="+mn-cs"/>
              </a:defRPr>
            </a:lvl3pPr>
            <a:lvl4pPr marL="1028700">
              <a:defRPr>
                <a:latin typeface="+mn-lt"/>
                <a:ea typeface="+mn-ea"/>
                <a:cs typeface="+mn-cs"/>
              </a:defRPr>
            </a:lvl4pPr>
            <a:lvl5pPr marL="1371600">
              <a:defRPr>
                <a:latin typeface="+mn-lt"/>
                <a:ea typeface="+mn-ea"/>
                <a:cs typeface="+mn-cs"/>
              </a:defRPr>
            </a:lvl5pPr>
            <a:lvl6pPr marL="1714500">
              <a:defRPr>
                <a:latin typeface="+mn-lt"/>
                <a:ea typeface="+mn-ea"/>
                <a:cs typeface="+mn-cs"/>
              </a:defRPr>
            </a:lvl6pPr>
            <a:lvl7pPr marL="2057400">
              <a:defRPr>
                <a:latin typeface="+mn-lt"/>
                <a:ea typeface="+mn-ea"/>
                <a:cs typeface="+mn-cs"/>
              </a:defRPr>
            </a:lvl7pPr>
            <a:lvl8pPr marL="2400300">
              <a:defRPr>
                <a:latin typeface="+mn-lt"/>
                <a:ea typeface="+mn-ea"/>
                <a:cs typeface="+mn-cs"/>
              </a:defRPr>
            </a:lvl8pPr>
            <a:lvl9pPr marL="2743200">
              <a:defRPr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433F37A-59AC-4560-B9F5-A07470EAE474}" type="datetime'''''''''1''''''''''''''''''''''''''''7'''',''''5'''''''''''''">
              <a:rPr lang="en-US" altLang="en-US" sz="1000" smtClean="0">
                <a:solidFill>
                  <a:srgbClr val="000000"/>
                </a:solidFill>
                <a:effectLst/>
                <a:sym typeface="+mn-lt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7,5</a:t>
            </a:fld>
            <a:endParaRPr lang="en-US" sz="10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343" name="Holder 3">
            <a:extLst>
              <a:ext uri="{FF2B5EF4-FFF2-40B4-BE49-F238E27FC236}">
                <a16:creationId xmlns:a16="http://schemas.microsoft.com/office/drawing/2014/main" id="{646B1BFE-B651-4E18-A3FF-22DC185CAD42}"/>
              </a:ext>
            </a:extLst>
          </p:cNvPr>
          <p:cNvSpPr>
            <a:spLocks noGrp="1"/>
          </p:cNvSpPr>
          <p:nvPr>
            <p:custDataLst>
              <p:tags r:id="rId151"/>
            </p:custDataLst>
          </p:nvPr>
        </p:nvSpPr>
        <p:spPr bwMode="gray">
          <a:xfrm>
            <a:off x="6415658" y="2169829"/>
            <a:ext cx="2270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>
              <a:defRPr>
                <a:latin typeface="+mn-lt"/>
                <a:ea typeface="+mn-ea"/>
                <a:cs typeface="+mn-cs"/>
              </a:defRPr>
            </a:lvl2pPr>
            <a:lvl3pPr marL="685800">
              <a:defRPr>
                <a:latin typeface="+mn-lt"/>
                <a:ea typeface="+mn-ea"/>
                <a:cs typeface="+mn-cs"/>
              </a:defRPr>
            </a:lvl3pPr>
            <a:lvl4pPr marL="1028700">
              <a:defRPr>
                <a:latin typeface="+mn-lt"/>
                <a:ea typeface="+mn-ea"/>
                <a:cs typeface="+mn-cs"/>
              </a:defRPr>
            </a:lvl4pPr>
            <a:lvl5pPr marL="1371600">
              <a:defRPr>
                <a:latin typeface="+mn-lt"/>
                <a:ea typeface="+mn-ea"/>
                <a:cs typeface="+mn-cs"/>
              </a:defRPr>
            </a:lvl5pPr>
            <a:lvl6pPr marL="1714500">
              <a:defRPr>
                <a:latin typeface="+mn-lt"/>
                <a:ea typeface="+mn-ea"/>
                <a:cs typeface="+mn-cs"/>
              </a:defRPr>
            </a:lvl6pPr>
            <a:lvl7pPr marL="2057400">
              <a:defRPr>
                <a:latin typeface="+mn-lt"/>
                <a:ea typeface="+mn-ea"/>
                <a:cs typeface="+mn-cs"/>
              </a:defRPr>
            </a:lvl7pPr>
            <a:lvl8pPr marL="2400300">
              <a:defRPr>
                <a:latin typeface="+mn-lt"/>
                <a:ea typeface="+mn-ea"/>
                <a:cs typeface="+mn-cs"/>
              </a:defRPr>
            </a:lvl8pPr>
            <a:lvl9pPr marL="2743200">
              <a:defRPr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AFBC8B2-36C9-427E-994B-1DAA95D03E36}" type="datetime'''''''''''''''1''''''''''''''''''''''''8'',''''0'''''''''">
              <a:rPr lang="en-US" altLang="en-US" sz="1000" smtClean="0">
                <a:solidFill>
                  <a:srgbClr val="000000"/>
                </a:solidFill>
                <a:effectLst/>
                <a:sym typeface="+mn-lt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8,0</a:t>
            </a:fld>
            <a:endParaRPr lang="en-US" sz="10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344" name="Holder 3">
            <a:extLst>
              <a:ext uri="{FF2B5EF4-FFF2-40B4-BE49-F238E27FC236}">
                <a16:creationId xmlns:a16="http://schemas.microsoft.com/office/drawing/2014/main" id="{D63571B2-8A48-48A6-AEEB-1EC0CBE38D7B}"/>
              </a:ext>
            </a:extLst>
          </p:cNvPr>
          <p:cNvSpPr>
            <a:spLocks noGrp="1"/>
          </p:cNvSpPr>
          <p:nvPr>
            <p:custDataLst>
              <p:tags r:id="rId152"/>
            </p:custDataLst>
          </p:nvPr>
        </p:nvSpPr>
        <p:spPr bwMode="gray">
          <a:xfrm>
            <a:off x="6415658" y="4419316"/>
            <a:ext cx="2270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>
              <a:defRPr>
                <a:latin typeface="+mn-lt"/>
                <a:ea typeface="+mn-ea"/>
                <a:cs typeface="+mn-cs"/>
              </a:defRPr>
            </a:lvl2pPr>
            <a:lvl3pPr marL="685800">
              <a:defRPr>
                <a:latin typeface="+mn-lt"/>
                <a:ea typeface="+mn-ea"/>
                <a:cs typeface="+mn-cs"/>
              </a:defRPr>
            </a:lvl3pPr>
            <a:lvl4pPr marL="1028700">
              <a:defRPr>
                <a:latin typeface="+mn-lt"/>
                <a:ea typeface="+mn-ea"/>
                <a:cs typeface="+mn-cs"/>
              </a:defRPr>
            </a:lvl4pPr>
            <a:lvl5pPr marL="1371600">
              <a:defRPr>
                <a:latin typeface="+mn-lt"/>
                <a:ea typeface="+mn-ea"/>
                <a:cs typeface="+mn-cs"/>
              </a:defRPr>
            </a:lvl5pPr>
            <a:lvl6pPr marL="1714500">
              <a:defRPr>
                <a:latin typeface="+mn-lt"/>
                <a:ea typeface="+mn-ea"/>
                <a:cs typeface="+mn-cs"/>
              </a:defRPr>
            </a:lvl6pPr>
            <a:lvl7pPr marL="2057400">
              <a:defRPr>
                <a:latin typeface="+mn-lt"/>
                <a:ea typeface="+mn-ea"/>
                <a:cs typeface="+mn-cs"/>
              </a:defRPr>
            </a:lvl7pPr>
            <a:lvl8pPr marL="2400300">
              <a:defRPr>
                <a:latin typeface="+mn-lt"/>
                <a:ea typeface="+mn-ea"/>
                <a:cs typeface="+mn-cs"/>
              </a:defRPr>
            </a:lvl8pPr>
            <a:lvl9pPr marL="2743200">
              <a:defRPr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44CE517-26E7-4037-A499-9FA4D9F5C4C4}" type="datetime'1''''''''''''''''3'''''''',''''''''0'''''''''''''''">
              <a:rPr lang="en-US" altLang="en-US" sz="1000" smtClean="0">
                <a:solidFill>
                  <a:srgbClr val="000000"/>
                </a:solidFill>
                <a:effectLst/>
                <a:sym typeface="+mn-lt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3,0</a:t>
            </a:fld>
            <a:endParaRPr lang="en-US" sz="10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345" name="Місце для тексту 2">
            <a:extLst>
              <a:ext uri="{FF2B5EF4-FFF2-40B4-BE49-F238E27FC236}">
                <a16:creationId xmlns:a16="http://schemas.microsoft.com/office/drawing/2014/main" id="{68274559-8C9A-476D-9A1C-28C11EEA3847}"/>
              </a:ext>
            </a:extLst>
          </p:cNvPr>
          <p:cNvSpPr>
            <a:spLocks noGrp="1"/>
          </p:cNvSpPr>
          <p:nvPr>
            <p:custDataLst>
              <p:tags r:id="rId153"/>
            </p:custDataLst>
          </p:nvPr>
        </p:nvSpPr>
        <p:spPr bwMode="gray">
          <a:xfrm>
            <a:off x="6415658" y="1944405"/>
            <a:ext cx="2270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r">
              <a:spcBef>
                <a:spcPct val="0"/>
              </a:spcBef>
              <a:spcAft>
                <a:spcPct val="0"/>
              </a:spcAft>
              <a:buNone/>
            </a:pPr>
            <a:fld id="{AD8D68BB-B250-459C-9BB4-0A2DD95E7C5B}" type="datetime'''''''''''''''18'''''''''''''''',5'''''''''''">
              <a:rPr lang="en-US" altLang="en-US" sz="1000" smtClean="0">
                <a:solidFill>
                  <a:srgbClr val="000000"/>
                </a:solidFill>
                <a:effectLst/>
                <a:sym typeface="+mn-lt"/>
              </a:rPr>
              <a:pPr marL="0" indent="0" algn="r">
                <a:spcBef>
                  <a:spcPct val="0"/>
                </a:spcBef>
                <a:spcAft>
                  <a:spcPct val="0"/>
                </a:spcAft>
                <a:buNone/>
              </a:pPr>
              <a:t>18,5</a:t>
            </a:fld>
            <a:endParaRPr lang="en-US" sz="1000" dirty="0">
              <a:solidFill>
                <a:srgbClr val="000000"/>
              </a:solidFill>
              <a:sym typeface="+mn-lt"/>
            </a:endParaRPr>
          </a:p>
        </p:txBody>
      </p:sp>
      <p:sp>
        <p:nvSpPr>
          <p:cNvPr id="346" name="Holder 3">
            <a:extLst>
              <a:ext uri="{FF2B5EF4-FFF2-40B4-BE49-F238E27FC236}">
                <a16:creationId xmlns:a16="http://schemas.microsoft.com/office/drawing/2014/main" id="{A4386731-F6BC-4A61-B462-0AE8B433FD84}"/>
              </a:ext>
            </a:extLst>
          </p:cNvPr>
          <p:cNvSpPr>
            <a:spLocks noGrp="1"/>
          </p:cNvSpPr>
          <p:nvPr>
            <p:custDataLst>
              <p:tags r:id="rId154"/>
            </p:custDataLst>
          </p:nvPr>
        </p:nvSpPr>
        <p:spPr bwMode="gray">
          <a:xfrm>
            <a:off x="6415658" y="2844516"/>
            <a:ext cx="227013" cy="1365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anchor="ctr" anchorCtr="0">
            <a:noAutofit/>
          </a:bodyPr>
          <a:lstStyle>
            <a:lvl1pPr marL="0"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>
              <a:defRPr>
                <a:latin typeface="+mn-lt"/>
                <a:ea typeface="+mn-ea"/>
                <a:cs typeface="+mn-cs"/>
              </a:defRPr>
            </a:lvl2pPr>
            <a:lvl3pPr marL="685800">
              <a:defRPr>
                <a:latin typeface="+mn-lt"/>
                <a:ea typeface="+mn-ea"/>
                <a:cs typeface="+mn-cs"/>
              </a:defRPr>
            </a:lvl3pPr>
            <a:lvl4pPr marL="1028700">
              <a:defRPr>
                <a:latin typeface="+mn-lt"/>
                <a:ea typeface="+mn-ea"/>
                <a:cs typeface="+mn-cs"/>
              </a:defRPr>
            </a:lvl4pPr>
            <a:lvl5pPr marL="1371600">
              <a:defRPr>
                <a:latin typeface="+mn-lt"/>
                <a:ea typeface="+mn-ea"/>
                <a:cs typeface="+mn-cs"/>
              </a:defRPr>
            </a:lvl5pPr>
            <a:lvl6pPr marL="1714500">
              <a:defRPr>
                <a:latin typeface="+mn-lt"/>
                <a:ea typeface="+mn-ea"/>
                <a:cs typeface="+mn-cs"/>
              </a:defRPr>
            </a:lvl6pPr>
            <a:lvl7pPr marL="2057400">
              <a:defRPr>
                <a:latin typeface="+mn-lt"/>
                <a:ea typeface="+mn-ea"/>
                <a:cs typeface="+mn-cs"/>
              </a:defRPr>
            </a:lvl7pPr>
            <a:lvl8pPr marL="2400300">
              <a:defRPr>
                <a:latin typeface="+mn-lt"/>
                <a:ea typeface="+mn-ea"/>
                <a:cs typeface="+mn-cs"/>
              </a:defRPr>
            </a:lvl8pPr>
            <a:lvl9pPr marL="2743200">
              <a:defRPr>
                <a:latin typeface="+mn-lt"/>
                <a:ea typeface="+mn-ea"/>
                <a:cs typeface="+mn-cs"/>
              </a:defRPr>
            </a:lvl9pPr>
          </a:lstStyle>
          <a:p>
            <a:pPr algn="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240ACD8-EA4C-49E0-AF16-3B635CC7E882}" type="datetime'''''1''''''''''''''''''''''''''''''''6,''5'">
              <a:rPr lang="en-US" altLang="en-US" sz="1000" smtClean="0">
                <a:solidFill>
                  <a:srgbClr val="000000"/>
                </a:solidFill>
                <a:effectLst/>
                <a:sym typeface="+mn-lt"/>
              </a:rPr>
              <a:pPr algn="r">
                <a:lnSpc>
                  <a:spcPct val="90000"/>
                </a:lnSpc>
                <a:spcBef>
                  <a:spcPct val="0"/>
                </a:spcBef>
                <a:spcAft>
                  <a:spcPct val="0"/>
                </a:spcAft>
              </a:pPr>
              <a:t>16,5</a:t>
            </a:fld>
            <a:endParaRPr lang="en-US" sz="1000" dirty="0">
              <a:solidFill>
                <a:srgbClr val="000000"/>
              </a:solidFill>
              <a:sym typeface="+mn-lt"/>
            </a:endParaRPr>
          </a:p>
        </p:txBody>
      </p:sp>
      <p:sp useBgFill="1">
        <p:nvSpPr>
          <p:cNvPr id="347" name="Полілінія: фігура 346">
            <a:extLst>
              <a:ext uri="{FF2B5EF4-FFF2-40B4-BE49-F238E27FC236}">
                <a16:creationId xmlns:a16="http://schemas.microsoft.com/office/drawing/2014/main" id="{339EE9F9-4F3F-4719-BAF0-368522316334}"/>
              </a:ext>
            </a:extLst>
          </p:cNvPr>
          <p:cNvSpPr/>
          <p:nvPr>
            <p:custDataLst>
              <p:tags r:id="rId155"/>
            </p:custDataLst>
          </p:nvPr>
        </p:nvSpPr>
        <p:spPr bwMode="auto">
          <a:xfrm>
            <a:off x="6698233" y="5649629"/>
            <a:ext cx="146051" cy="96838"/>
          </a:xfrm>
          <a:custGeom>
            <a:avLst/>
            <a:gdLst/>
            <a:ahLst/>
            <a:cxnLst/>
            <a:rect l="0" t="0" r="0" b="0"/>
            <a:pathLst>
              <a:path w="146051" h="96838">
                <a:moveTo>
                  <a:pt x="0" y="39687"/>
                </a:moveTo>
                <a:lnTo>
                  <a:pt x="146050" y="0"/>
                </a:lnTo>
                <a:lnTo>
                  <a:pt x="146050" y="57150"/>
                </a:lnTo>
                <a:lnTo>
                  <a:pt x="0" y="96837"/>
                </a:lnTo>
                <a:close/>
              </a:path>
            </a:pathLst>
          </a:custGeom>
          <a:ln w="12700" cap="flat" cmpd="sng" algn="ctr">
            <a:noFill/>
            <a:prstDash val="solid"/>
            <a:miter lim="800000"/>
            <a:headEnd type="none" w="med" len="med"/>
            <a:tailEnd type="none" w="med" len="med"/>
          </a:ln>
          <a:effectLst/>
          <a:extLst>
            <a:ext uri="{91240B29-F687-4F45-9708-019B960494DF}">
              <a14:hiddenLine xmlns:a14="http://schemas.microsoft.com/office/drawing/2010/main" w="12700" cap="flat" cmpd="sng" algn="ctr">
                <a:solidFill>
                  <a:schemeClr val="accent1">
                    <a:shade val="50000"/>
                  </a:schemeClr>
                </a:solidFill>
                <a:prstDash val="solid"/>
                <a:miter lim="800000"/>
                <a:headEnd type="none" w="med" len="med"/>
                <a:tailEnd type="none" w="med" len="med"/>
              </a14:hiddenLine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8" name="Полілінія: фігура 347">
            <a:extLst>
              <a:ext uri="{FF2B5EF4-FFF2-40B4-BE49-F238E27FC236}">
                <a16:creationId xmlns:a16="http://schemas.microsoft.com/office/drawing/2014/main" id="{5D069E15-D79C-40E5-9DF8-B1AE51D19315}"/>
              </a:ext>
            </a:extLst>
          </p:cNvPr>
          <p:cNvSpPr/>
          <p:nvPr>
            <p:custDataLst>
              <p:tags r:id="rId156"/>
            </p:custDataLst>
          </p:nvPr>
        </p:nvSpPr>
        <p:spPr bwMode="auto">
          <a:xfrm>
            <a:off x="6698233" y="5649629"/>
            <a:ext cx="146051" cy="39688"/>
          </a:xfrm>
          <a:custGeom>
            <a:avLst/>
            <a:gdLst/>
            <a:ahLst/>
            <a:cxnLst/>
            <a:rect l="0" t="0" r="0" b="0"/>
            <a:pathLst>
              <a:path w="146051" h="39688">
                <a:moveTo>
                  <a:pt x="0" y="39687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49" name="Полілінія: фігура 348">
            <a:extLst>
              <a:ext uri="{FF2B5EF4-FFF2-40B4-BE49-F238E27FC236}">
                <a16:creationId xmlns:a16="http://schemas.microsoft.com/office/drawing/2014/main" id="{37AD4A73-AE11-4D6B-8CE1-45909C601923}"/>
              </a:ext>
            </a:extLst>
          </p:cNvPr>
          <p:cNvSpPr/>
          <p:nvPr>
            <p:custDataLst>
              <p:tags r:id="rId157"/>
            </p:custDataLst>
          </p:nvPr>
        </p:nvSpPr>
        <p:spPr bwMode="auto">
          <a:xfrm>
            <a:off x="6698233" y="5706779"/>
            <a:ext cx="146051" cy="39688"/>
          </a:xfrm>
          <a:custGeom>
            <a:avLst/>
            <a:gdLst/>
            <a:ahLst/>
            <a:cxnLst/>
            <a:rect l="0" t="0" r="0" b="0"/>
            <a:pathLst>
              <a:path w="146051" h="39688">
                <a:moveTo>
                  <a:pt x="0" y="39687"/>
                </a:moveTo>
                <a:lnTo>
                  <a:pt x="146050" y="0"/>
                </a:lnTo>
              </a:path>
            </a:pathLst>
          </a:custGeom>
          <a:ln w="9525" cap="flat" cmpd="sng" algn="ctr">
            <a:solidFill>
              <a:schemeClr val="tx1"/>
            </a:solidFill>
            <a:prstDash val="solid"/>
            <a:miter lim="800000"/>
            <a:headEnd type="none" w="med" len="med"/>
            <a:tailEnd type="none" w="med" len="med"/>
          </a:ln>
          <a:effectLst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 useBgFill="1">
        <p:nvSpPr>
          <p:cNvPr id="350" name="Holder 3">
            <a:extLst>
              <a:ext uri="{FF2B5EF4-FFF2-40B4-BE49-F238E27FC236}">
                <a16:creationId xmlns:a16="http://schemas.microsoft.com/office/drawing/2014/main" id="{B515665A-C4B3-498F-A80D-9E9AE8420BCF}"/>
              </a:ext>
            </a:extLst>
          </p:cNvPr>
          <p:cNvSpPr>
            <a:spLocks noGrp="1"/>
          </p:cNvSpPr>
          <p:nvPr>
            <p:custDataLst>
              <p:tags r:id="rId158"/>
            </p:custDataLst>
          </p:nvPr>
        </p:nvSpPr>
        <p:spPr bwMode="gray">
          <a:xfrm>
            <a:off x="8776270" y="4754279"/>
            <a:ext cx="231775" cy="1238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5875" tIns="0" rIns="15875" bIns="0" numCol="1" spcCol="0" anchor="b" anchorCtr="0">
            <a:noAutofit/>
          </a:bodyPr>
          <a:lstStyle>
            <a:lvl1pPr marL="0"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>
              <a:defRPr>
                <a:latin typeface="+mn-lt"/>
                <a:ea typeface="+mn-ea"/>
                <a:cs typeface="+mn-cs"/>
              </a:defRPr>
            </a:lvl2pPr>
            <a:lvl3pPr marL="685800">
              <a:defRPr>
                <a:latin typeface="+mn-lt"/>
                <a:ea typeface="+mn-ea"/>
                <a:cs typeface="+mn-cs"/>
              </a:defRPr>
            </a:lvl3pPr>
            <a:lvl4pPr marL="1028700">
              <a:defRPr>
                <a:latin typeface="+mn-lt"/>
                <a:ea typeface="+mn-ea"/>
                <a:cs typeface="+mn-cs"/>
              </a:defRPr>
            </a:lvl4pPr>
            <a:lvl5pPr marL="1371600">
              <a:defRPr>
                <a:latin typeface="+mn-lt"/>
                <a:ea typeface="+mn-ea"/>
                <a:cs typeface="+mn-cs"/>
              </a:defRPr>
            </a:lvl5pPr>
            <a:lvl6pPr marL="1714500">
              <a:defRPr>
                <a:latin typeface="+mn-lt"/>
                <a:ea typeface="+mn-ea"/>
                <a:cs typeface="+mn-cs"/>
              </a:defRPr>
            </a:lvl6pPr>
            <a:lvl7pPr marL="2057400">
              <a:defRPr>
                <a:latin typeface="+mn-lt"/>
                <a:ea typeface="+mn-ea"/>
                <a:cs typeface="+mn-cs"/>
              </a:defRPr>
            </a:lvl7pPr>
            <a:lvl8pPr marL="2400300">
              <a:defRPr>
                <a:latin typeface="+mn-lt"/>
                <a:ea typeface="+mn-ea"/>
                <a:cs typeface="+mn-cs"/>
              </a:defRPr>
            </a:lvl8pPr>
            <a:lvl9pPr marL="2743200">
              <a:defRPr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44CFFA1E-EBFE-4245-9FA1-82FA2C92AACD}" type="datetime'''''''''''1''''''''''''''1'''',''''''''''9'''''''''''">
              <a:rPr lang="en-US" altLang="en-US" sz="900" smtClean="0">
                <a:solidFill>
                  <a:schemeClr val="tx1"/>
                </a:solidFill>
                <a:effectLst/>
              </a:rPr>
              <a:pPr/>
              <a:t>11,9</a:t>
            </a:fld>
            <a:endParaRPr lang="en-US" sz="9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351" name="Holder 3">
            <a:extLst>
              <a:ext uri="{FF2B5EF4-FFF2-40B4-BE49-F238E27FC236}">
                <a16:creationId xmlns:a16="http://schemas.microsoft.com/office/drawing/2014/main" id="{D7C235DE-B4CE-48B1-BFC8-BD3A08141EDB}"/>
              </a:ext>
            </a:extLst>
          </p:cNvPr>
          <p:cNvSpPr>
            <a:spLocks noGrp="1"/>
          </p:cNvSpPr>
          <p:nvPr>
            <p:custDataLst>
              <p:tags r:id="rId159"/>
            </p:custDataLst>
          </p:nvPr>
        </p:nvSpPr>
        <p:spPr bwMode="gray">
          <a:xfrm>
            <a:off x="8776270" y="3719229"/>
            <a:ext cx="231775" cy="12382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15875" tIns="0" rIns="15875" bIns="0" numCol="1" spcCol="0" anchor="b" anchorCtr="0">
            <a:noAutofit/>
          </a:bodyPr>
          <a:lstStyle>
            <a:lvl1pPr marL="0"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>
              <a:defRPr>
                <a:latin typeface="+mn-lt"/>
                <a:ea typeface="+mn-ea"/>
                <a:cs typeface="+mn-cs"/>
              </a:defRPr>
            </a:lvl2pPr>
            <a:lvl3pPr marL="685800">
              <a:defRPr>
                <a:latin typeface="+mn-lt"/>
                <a:ea typeface="+mn-ea"/>
                <a:cs typeface="+mn-cs"/>
              </a:defRPr>
            </a:lvl3pPr>
            <a:lvl4pPr marL="1028700">
              <a:defRPr>
                <a:latin typeface="+mn-lt"/>
                <a:ea typeface="+mn-ea"/>
                <a:cs typeface="+mn-cs"/>
              </a:defRPr>
            </a:lvl4pPr>
            <a:lvl5pPr marL="1371600">
              <a:defRPr>
                <a:latin typeface="+mn-lt"/>
                <a:ea typeface="+mn-ea"/>
                <a:cs typeface="+mn-cs"/>
              </a:defRPr>
            </a:lvl5pPr>
            <a:lvl6pPr marL="1714500">
              <a:defRPr>
                <a:latin typeface="+mn-lt"/>
                <a:ea typeface="+mn-ea"/>
                <a:cs typeface="+mn-cs"/>
              </a:defRPr>
            </a:lvl6pPr>
            <a:lvl7pPr marL="2057400">
              <a:defRPr>
                <a:latin typeface="+mn-lt"/>
                <a:ea typeface="+mn-ea"/>
                <a:cs typeface="+mn-cs"/>
              </a:defRPr>
            </a:lvl7pPr>
            <a:lvl8pPr marL="2400300">
              <a:defRPr>
                <a:latin typeface="+mn-lt"/>
                <a:ea typeface="+mn-ea"/>
                <a:cs typeface="+mn-cs"/>
              </a:defRPr>
            </a:lvl8pPr>
            <a:lvl9pPr marL="2743200">
              <a:defRPr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107F775-9460-43B5-B19D-325A3FF41C4B}" type="datetime'''''14'''''''''''''''',''''''3'''''''''''">
              <a:rPr lang="en-US" altLang="en-US" sz="900" smtClean="0">
                <a:solidFill>
                  <a:schemeClr val="tx1"/>
                </a:solidFill>
                <a:effectLst/>
              </a:rPr>
              <a:pPr/>
              <a:t>14,3</a:t>
            </a:fld>
            <a:endParaRPr lang="en-US" sz="9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352" name="Місце для тексту 2">
            <a:extLst>
              <a:ext uri="{FF2B5EF4-FFF2-40B4-BE49-F238E27FC236}">
                <a16:creationId xmlns:a16="http://schemas.microsoft.com/office/drawing/2014/main" id="{16327515-B1F7-4355-8DD8-016104A432E0}"/>
              </a:ext>
            </a:extLst>
          </p:cNvPr>
          <p:cNvSpPr>
            <a:spLocks noGrp="1"/>
          </p:cNvSpPr>
          <p:nvPr>
            <p:custDataLst>
              <p:tags r:id="rId160"/>
            </p:custDataLst>
          </p:nvPr>
        </p:nvSpPr>
        <p:spPr bwMode="auto">
          <a:xfrm>
            <a:off x="6687120" y="5805204"/>
            <a:ext cx="16986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000" dirty="0">
                <a:solidFill>
                  <a:srgbClr val="000000"/>
                </a:solidFill>
              </a:rPr>
              <a:t>Jan</a:t>
            </a:r>
            <a:endParaRPr kumimoji="0" lang="uk-UA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 useBgFill="1">
        <p:nvSpPr>
          <p:cNvPr id="353" name="Holder 3">
            <a:extLst>
              <a:ext uri="{FF2B5EF4-FFF2-40B4-BE49-F238E27FC236}">
                <a16:creationId xmlns:a16="http://schemas.microsoft.com/office/drawing/2014/main" id="{362FC1AD-DD89-4444-8CF8-4752AA0D1E21}"/>
              </a:ext>
            </a:extLst>
          </p:cNvPr>
          <p:cNvSpPr>
            <a:spLocks noGrp="1"/>
          </p:cNvSpPr>
          <p:nvPr>
            <p:custDataLst>
              <p:tags r:id="rId161"/>
            </p:custDataLst>
          </p:nvPr>
        </p:nvSpPr>
        <p:spPr bwMode="gray">
          <a:xfrm>
            <a:off x="7009383" y="4841591"/>
            <a:ext cx="231775" cy="1238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5875" tIns="0" rIns="15875" bIns="0" numCol="1" spcCol="0" anchor="b" anchorCtr="0">
            <a:noAutofit/>
          </a:bodyPr>
          <a:lstStyle>
            <a:lvl1pPr marL="0"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>
              <a:defRPr>
                <a:latin typeface="+mn-lt"/>
                <a:ea typeface="+mn-ea"/>
                <a:cs typeface="+mn-cs"/>
              </a:defRPr>
            </a:lvl2pPr>
            <a:lvl3pPr marL="685800">
              <a:defRPr>
                <a:latin typeface="+mn-lt"/>
                <a:ea typeface="+mn-ea"/>
                <a:cs typeface="+mn-cs"/>
              </a:defRPr>
            </a:lvl3pPr>
            <a:lvl4pPr marL="1028700">
              <a:defRPr>
                <a:latin typeface="+mn-lt"/>
                <a:ea typeface="+mn-ea"/>
                <a:cs typeface="+mn-cs"/>
              </a:defRPr>
            </a:lvl4pPr>
            <a:lvl5pPr marL="1371600">
              <a:defRPr>
                <a:latin typeface="+mn-lt"/>
                <a:ea typeface="+mn-ea"/>
                <a:cs typeface="+mn-cs"/>
              </a:defRPr>
            </a:lvl5pPr>
            <a:lvl6pPr marL="1714500">
              <a:defRPr>
                <a:latin typeface="+mn-lt"/>
                <a:ea typeface="+mn-ea"/>
                <a:cs typeface="+mn-cs"/>
              </a:defRPr>
            </a:lvl6pPr>
            <a:lvl7pPr marL="2057400">
              <a:defRPr>
                <a:latin typeface="+mn-lt"/>
                <a:ea typeface="+mn-ea"/>
                <a:cs typeface="+mn-cs"/>
              </a:defRPr>
            </a:lvl7pPr>
            <a:lvl8pPr marL="2400300">
              <a:defRPr>
                <a:latin typeface="+mn-lt"/>
                <a:ea typeface="+mn-ea"/>
                <a:cs typeface="+mn-cs"/>
              </a:defRPr>
            </a:lvl8pPr>
            <a:lvl9pPr marL="2743200">
              <a:defRPr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822E09A-8712-437D-B228-35454910486F}" type="datetime'''''''''''''''''''11'''''''''''',''''''''''7'''">
              <a:rPr lang="en-US" altLang="en-US" sz="900" smtClean="0">
                <a:solidFill>
                  <a:schemeClr val="tx1"/>
                </a:solidFill>
                <a:effectLst/>
              </a:rPr>
              <a:pPr/>
              <a:t>11,7</a:t>
            </a:fld>
            <a:endParaRPr lang="en-US" sz="9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354" name="Holder 3">
            <a:extLst>
              <a:ext uri="{FF2B5EF4-FFF2-40B4-BE49-F238E27FC236}">
                <a16:creationId xmlns:a16="http://schemas.microsoft.com/office/drawing/2014/main" id="{1FEC05C3-5D4D-4F69-85AA-33666BF2DFDF}"/>
              </a:ext>
            </a:extLst>
          </p:cNvPr>
          <p:cNvSpPr>
            <a:spLocks noGrp="1"/>
          </p:cNvSpPr>
          <p:nvPr>
            <p:custDataLst>
              <p:tags r:id="rId162"/>
            </p:custDataLst>
          </p:nvPr>
        </p:nvSpPr>
        <p:spPr bwMode="gray">
          <a:xfrm>
            <a:off x="6799833" y="2461929"/>
            <a:ext cx="231775" cy="12382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15875" tIns="0" rIns="15875" bIns="0" numCol="1" spcCol="0" anchor="b" anchorCtr="0">
            <a:noAutofit/>
          </a:bodyPr>
          <a:lstStyle>
            <a:lvl1pPr marL="0"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>
              <a:defRPr>
                <a:latin typeface="+mn-lt"/>
                <a:ea typeface="+mn-ea"/>
                <a:cs typeface="+mn-cs"/>
              </a:defRPr>
            </a:lvl2pPr>
            <a:lvl3pPr marL="685800">
              <a:defRPr>
                <a:latin typeface="+mn-lt"/>
                <a:ea typeface="+mn-ea"/>
                <a:cs typeface="+mn-cs"/>
              </a:defRPr>
            </a:lvl3pPr>
            <a:lvl4pPr marL="1028700">
              <a:defRPr>
                <a:latin typeface="+mn-lt"/>
                <a:ea typeface="+mn-ea"/>
                <a:cs typeface="+mn-cs"/>
              </a:defRPr>
            </a:lvl4pPr>
            <a:lvl5pPr marL="1371600">
              <a:defRPr>
                <a:latin typeface="+mn-lt"/>
                <a:ea typeface="+mn-ea"/>
                <a:cs typeface="+mn-cs"/>
              </a:defRPr>
            </a:lvl5pPr>
            <a:lvl6pPr marL="1714500">
              <a:defRPr>
                <a:latin typeface="+mn-lt"/>
                <a:ea typeface="+mn-ea"/>
                <a:cs typeface="+mn-cs"/>
              </a:defRPr>
            </a:lvl6pPr>
            <a:lvl7pPr marL="2057400">
              <a:defRPr>
                <a:latin typeface="+mn-lt"/>
                <a:ea typeface="+mn-ea"/>
                <a:cs typeface="+mn-cs"/>
              </a:defRPr>
            </a:lvl7pPr>
            <a:lvl8pPr marL="2400300">
              <a:defRPr>
                <a:latin typeface="+mn-lt"/>
                <a:ea typeface="+mn-ea"/>
                <a:cs typeface="+mn-cs"/>
              </a:defRPr>
            </a:lvl8pPr>
            <a:lvl9pPr marL="2743200">
              <a:defRPr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DF57334B-E69E-49D7-BD21-6A0A5F9F905F}" type="datetime'''''''''''''''''1''''''''''''''''7'''''''''''',''''''''''1'">
              <a:rPr lang="en-US" altLang="en-US" sz="900" smtClean="0">
                <a:solidFill>
                  <a:schemeClr val="tx1"/>
                </a:solidFill>
                <a:effectLst/>
              </a:rPr>
              <a:pPr/>
              <a:t>17,1</a:t>
            </a:fld>
            <a:endParaRPr lang="en-US" sz="9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355" name="Місце для тексту 2">
            <a:extLst>
              <a:ext uri="{FF2B5EF4-FFF2-40B4-BE49-F238E27FC236}">
                <a16:creationId xmlns:a16="http://schemas.microsoft.com/office/drawing/2014/main" id="{AFD85267-A795-4D60-84D4-21E9BC9510D0}"/>
              </a:ext>
            </a:extLst>
          </p:cNvPr>
          <p:cNvSpPr>
            <a:spLocks noGrp="1"/>
          </p:cNvSpPr>
          <p:nvPr>
            <p:custDataLst>
              <p:tags r:id="rId163"/>
            </p:custDataLst>
          </p:nvPr>
        </p:nvSpPr>
        <p:spPr bwMode="auto">
          <a:xfrm>
            <a:off x="9141395" y="5805204"/>
            <a:ext cx="21113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000" dirty="0">
                <a:solidFill>
                  <a:srgbClr val="000000"/>
                </a:solidFill>
              </a:rPr>
              <a:t>Aug</a:t>
            </a:r>
            <a:endParaRPr kumimoji="0" lang="uk-UA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356" name="Holder 3">
            <a:extLst>
              <a:ext uri="{FF2B5EF4-FFF2-40B4-BE49-F238E27FC236}">
                <a16:creationId xmlns:a16="http://schemas.microsoft.com/office/drawing/2014/main" id="{674B39C5-27FD-4776-AC7F-953397BD4D7F}"/>
              </a:ext>
            </a:extLst>
          </p:cNvPr>
          <p:cNvSpPr>
            <a:spLocks noGrp="1"/>
          </p:cNvSpPr>
          <p:nvPr>
            <p:custDataLst>
              <p:tags r:id="rId164"/>
            </p:custDataLst>
          </p:nvPr>
        </p:nvSpPr>
        <p:spPr bwMode="gray">
          <a:xfrm>
            <a:off x="6799833" y="3885916"/>
            <a:ext cx="231775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5875" tIns="0" rIns="15875" bIns="0" numCol="1" spcCol="0" anchor="b" anchorCtr="0">
            <a:noAutofit/>
          </a:bodyPr>
          <a:lstStyle>
            <a:lvl1pPr marL="0"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>
              <a:defRPr>
                <a:latin typeface="+mn-lt"/>
                <a:ea typeface="+mn-ea"/>
                <a:cs typeface="+mn-cs"/>
              </a:defRPr>
            </a:lvl2pPr>
            <a:lvl3pPr marL="685800">
              <a:defRPr>
                <a:latin typeface="+mn-lt"/>
                <a:ea typeface="+mn-ea"/>
                <a:cs typeface="+mn-cs"/>
              </a:defRPr>
            </a:lvl3pPr>
            <a:lvl4pPr marL="1028700">
              <a:defRPr>
                <a:latin typeface="+mn-lt"/>
                <a:ea typeface="+mn-ea"/>
                <a:cs typeface="+mn-cs"/>
              </a:defRPr>
            </a:lvl4pPr>
            <a:lvl5pPr marL="1371600">
              <a:defRPr>
                <a:latin typeface="+mn-lt"/>
                <a:ea typeface="+mn-ea"/>
                <a:cs typeface="+mn-cs"/>
              </a:defRPr>
            </a:lvl5pPr>
            <a:lvl6pPr marL="1714500">
              <a:defRPr>
                <a:latin typeface="+mn-lt"/>
                <a:ea typeface="+mn-ea"/>
                <a:cs typeface="+mn-cs"/>
              </a:defRPr>
            </a:lvl6pPr>
            <a:lvl7pPr marL="2057400">
              <a:defRPr>
                <a:latin typeface="+mn-lt"/>
                <a:ea typeface="+mn-ea"/>
                <a:cs typeface="+mn-cs"/>
              </a:defRPr>
            </a:lvl7pPr>
            <a:lvl8pPr marL="2400300">
              <a:defRPr>
                <a:latin typeface="+mn-lt"/>
                <a:ea typeface="+mn-ea"/>
                <a:cs typeface="+mn-cs"/>
              </a:defRPr>
            </a:lvl8pPr>
            <a:lvl9pPr marL="2743200">
              <a:defRPr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1448A88-8E41-49BC-8A38-BAEA98A34A73}" type="datetime'''''''''''''''''1''''''''3,''8'''''">
              <a:rPr lang="en-US" altLang="en-US" sz="900" smtClean="0">
                <a:solidFill>
                  <a:schemeClr val="tx1"/>
                </a:solidFill>
              </a:rPr>
              <a:pPr/>
              <a:t>13,8</a:t>
            </a:fld>
            <a:endParaRPr lang="en-US" sz="9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357" name="Holder 3">
            <a:extLst>
              <a:ext uri="{FF2B5EF4-FFF2-40B4-BE49-F238E27FC236}">
                <a16:creationId xmlns:a16="http://schemas.microsoft.com/office/drawing/2014/main" id="{FD14433F-34AA-42C1-93EA-A529E30D5665}"/>
              </a:ext>
            </a:extLst>
          </p:cNvPr>
          <p:cNvSpPr>
            <a:spLocks noGrp="1"/>
          </p:cNvSpPr>
          <p:nvPr>
            <p:custDataLst>
              <p:tags r:id="rId165"/>
            </p:custDataLst>
          </p:nvPr>
        </p:nvSpPr>
        <p:spPr bwMode="gray">
          <a:xfrm>
            <a:off x="7009383" y="3423954"/>
            <a:ext cx="231775" cy="12382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15875" tIns="0" rIns="15875" bIns="0" numCol="1" spcCol="0" anchor="b" anchorCtr="0">
            <a:noAutofit/>
          </a:bodyPr>
          <a:lstStyle>
            <a:lvl1pPr marL="0"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>
              <a:defRPr>
                <a:latin typeface="+mn-lt"/>
                <a:ea typeface="+mn-ea"/>
                <a:cs typeface="+mn-cs"/>
              </a:defRPr>
            </a:lvl2pPr>
            <a:lvl3pPr marL="685800">
              <a:defRPr>
                <a:latin typeface="+mn-lt"/>
                <a:ea typeface="+mn-ea"/>
                <a:cs typeface="+mn-cs"/>
              </a:defRPr>
            </a:lvl3pPr>
            <a:lvl4pPr marL="1028700">
              <a:defRPr>
                <a:latin typeface="+mn-lt"/>
                <a:ea typeface="+mn-ea"/>
                <a:cs typeface="+mn-cs"/>
              </a:defRPr>
            </a:lvl4pPr>
            <a:lvl5pPr marL="1371600">
              <a:defRPr>
                <a:latin typeface="+mn-lt"/>
                <a:ea typeface="+mn-ea"/>
                <a:cs typeface="+mn-cs"/>
              </a:defRPr>
            </a:lvl5pPr>
            <a:lvl6pPr marL="1714500">
              <a:defRPr>
                <a:latin typeface="+mn-lt"/>
                <a:ea typeface="+mn-ea"/>
                <a:cs typeface="+mn-cs"/>
              </a:defRPr>
            </a:lvl6pPr>
            <a:lvl7pPr marL="2057400">
              <a:defRPr>
                <a:latin typeface="+mn-lt"/>
                <a:ea typeface="+mn-ea"/>
                <a:cs typeface="+mn-cs"/>
              </a:defRPr>
            </a:lvl7pPr>
            <a:lvl8pPr marL="2400300">
              <a:defRPr>
                <a:latin typeface="+mn-lt"/>
                <a:ea typeface="+mn-ea"/>
                <a:cs typeface="+mn-cs"/>
              </a:defRPr>
            </a:lvl8pPr>
            <a:lvl9pPr marL="2743200">
              <a:defRPr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8444B69-7826-441C-8A8E-36BEB1AA332A}" type="datetime'''''''''''''''''''1''''''''''''5'''''''''''''''',0'''''''''">
              <a:rPr lang="en-US" altLang="en-US" sz="900" smtClean="0">
                <a:solidFill>
                  <a:schemeClr val="tx1"/>
                </a:solidFill>
                <a:effectLst/>
              </a:rPr>
              <a:pPr/>
              <a:t>15,0</a:t>
            </a:fld>
            <a:endParaRPr lang="en-US" sz="9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358" name="Місце для тексту 2">
            <a:extLst>
              <a:ext uri="{FF2B5EF4-FFF2-40B4-BE49-F238E27FC236}">
                <a16:creationId xmlns:a16="http://schemas.microsoft.com/office/drawing/2014/main" id="{A802C894-607B-4F55-8BD2-3204B6FE48F4}"/>
              </a:ext>
            </a:extLst>
          </p:cNvPr>
          <p:cNvSpPr>
            <a:spLocks noGrp="1"/>
          </p:cNvSpPr>
          <p:nvPr>
            <p:custDataLst>
              <p:tags r:id="rId166"/>
            </p:custDataLst>
          </p:nvPr>
        </p:nvSpPr>
        <p:spPr bwMode="auto">
          <a:xfrm>
            <a:off x="7009383" y="5805204"/>
            <a:ext cx="23177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000" dirty="0">
                <a:solidFill>
                  <a:srgbClr val="000000"/>
                </a:solidFill>
              </a:rPr>
              <a:t>Feb</a:t>
            </a:r>
            <a:endParaRPr kumimoji="0" lang="uk-UA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359" name="Holder 3">
            <a:extLst>
              <a:ext uri="{FF2B5EF4-FFF2-40B4-BE49-F238E27FC236}">
                <a16:creationId xmlns:a16="http://schemas.microsoft.com/office/drawing/2014/main" id="{37AAF978-42F3-413B-8B67-8BFAC8C0A623}"/>
              </a:ext>
            </a:extLst>
          </p:cNvPr>
          <p:cNvSpPr>
            <a:spLocks noGrp="1"/>
          </p:cNvSpPr>
          <p:nvPr>
            <p:custDataLst>
              <p:tags r:id="rId167"/>
            </p:custDataLst>
          </p:nvPr>
        </p:nvSpPr>
        <p:spPr bwMode="gray">
          <a:xfrm>
            <a:off x="7361808" y="2812766"/>
            <a:ext cx="231775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5875" tIns="0" rIns="15875" bIns="0" numCol="1" spcCol="0" anchor="b" anchorCtr="0">
            <a:noAutofit/>
          </a:bodyPr>
          <a:lstStyle>
            <a:lvl1pPr marL="0"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>
              <a:defRPr>
                <a:latin typeface="+mn-lt"/>
                <a:ea typeface="+mn-ea"/>
                <a:cs typeface="+mn-cs"/>
              </a:defRPr>
            </a:lvl2pPr>
            <a:lvl3pPr marL="685800">
              <a:defRPr>
                <a:latin typeface="+mn-lt"/>
                <a:ea typeface="+mn-ea"/>
                <a:cs typeface="+mn-cs"/>
              </a:defRPr>
            </a:lvl3pPr>
            <a:lvl4pPr marL="1028700">
              <a:defRPr>
                <a:latin typeface="+mn-lt"/>
                <a:ea typeface="+mn-ea"/>
                <a:cs typeface="+mn-cs"/>
              </a:defRPr>
            </a:lvl4pPr>
            <a:lvl5pPr marL="1371600">
              <a:defRPr>
                <a:latin typeface="+mn-lt"/>
                <a:ea typeface="+mn-ea"/>
                <a:cs typeface="+mn-cs"/>
              </a:defRPr>
            </a:lvl5pPr>
            <a:lvl6pPr marL="1714500">
              <a:defRPr>
                <a:latin typeface="+mn-lt"/>
                <a:ea typeface="+mn-ea"/>
                <a:cs typeface="+mn-cs"/>
              </a:defRPr>
            </a:lvl6pPr>
            <a:lvl7pPr marL="2057400">
              <a:defRPr>
                <a:latin typeface="+mn-lt"/>
                <a:ea typeface="+mn-ea"/>
                <a:cs typeface="+mn-cs"/>
              </a:defRPr>
            </a:lvl7pPr>
            <a:lvl8pPr marL="2400300">
              <a:defRPr>
                <a:latin typeface="+mn-lt"/>
                <a:ea typeface="+mn-ea"/>
                <a:cs typeface="+mn-cs"/>
              </a:defRPr>
            </a:lvl8pPr>
            <a:lvl9pPr marL="2743200">
              <a:defRPr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68CFC0F2-3532-47E5-9EC5-615AFF806F64}" type="datetime'''''''''''''''''''''''''''1''''''6'''',''''''''''''3'''''''">
              <a:rPr lang="en-US" altLang="en-US" sz="900" smtClean="0">
                <a:solidFill>
                  <a:schemeClr val="tx1"/>
                </a:solidFill>
              </a:rPr>
              <a:pPr/>
              <a:t>16,3</a:t>
            </a:fld>
            <a:endParaRPr lang="en-US" sz="9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360" name="Holder 3">
            <a:extLst>
              <a:ext uri="{FF2B5EF4-FFF2-40B4-BE49-F238E27FC236}">
                <a16:creationId xmlns:a16="http://schemas.microsoft.com/office/drawing/2014/main" id="{2834CEDD-8B0F-44C0-AFAA-7B35F39DA5D8}"/>
              </a:ext>
            </a:extLst>
          </p:cNvPr>
          <p:cNvSpPr>
            <a:spLocks noGrp="1"/>
          </p:cNvSpPr>
          <p:nvPr>
            <p:custDataLst>
              <p:tags r:id="rId168"/>
            </p:custDataLst>
          </p:nvPr>
        </p:nvSpPr>
        <p:spPr bwMode="gray">
          <a:xfrm>
            <a:off x="7361808" y="4004979"/>
            <a:ext cx="231775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5875" tIns="0" rIns="15875" bIns="0" numCol="1" spcCol="0" anchor="b" anchorCtr="0">
            <a:noAutofit/>
          </a:bodyPr>
          <a:lstStyle>
            <a:lvl1pPr marL="0"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>
              <a:defRPr>
                <a:latin typeface="+mn-lt"/>
                <a:ea typeface="+mn-ea"/>
                <a:cs typeface="+mn-cs"/>
              </a:defRPr>
            </a:lvl2pPr>
            <a:lvl3pPr marL="685800">
              <a:defRPr>
                <a:latin typeface="+mn-lt"/>
                <a:ea typeface="+mn-ea"/>
                <a:cs typeface="+mn-cs"/>
              </a:defRPr>
            </a:lvl3pPr>
            <a:lvl4pPr marL="1028700">
              <a:defRPr>
                <a:latin typeface="+mn-lt"/>
                <a:ea typeface="+mn-ea"/>
                <a:cs typeface="+mn-cs"/>
              </a:defRPr>
            </a:lvl4pPr>
            <a:lvl5pPr marL="1371600">
              <a:defRPr>
                <a:latin typeface="+mn-lt"/>
                <a:ea typeface="+mn-ea"/>
                <a:cs typeface="+mn-cs"/>
              </a:defRPr>
            </a:lvl5pPr>
            <a:lvl6pPr marL="1714500">
              <a:defRPr>
                <a:latin typeface="+mn-lt"/>
                <a:ea typeface="+mn-ea"/>
                <a:cs typeface="+mn-cs"/>
              </a:defRPr>
            </a:lvl6pPr>
            <a:lvl7pPr marL="2057400">
              <a:defRPr>
                <a:latin typeface="+mn-lt"/>
                <a:ea typeface="+mn-ea"/>
                <a:cs typeface="+mn-cs"/>
              </a:defRPr>
            </a:lvl7pPr>
            <a:lvl8pPr marL="2400300">
              <a:defRPr>
                <a:latin typeface="+mn-lt"/>
                <a:ea typeface="+mn-ea"/>
                <a:cs typeface="+mn-cs"/>
              </a:defRPr>
            </a:lvl8pPr>
            <a:lvl9pPr marL="2743200">
              <a:defRPr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7E603A0-1A5A-4AAA-9B6B-21534ECAFF48}" type="datetime'''''''''''''''''''''''''''''13'''''''''',''''''''''6'''">
              <a:rPr lang="en-US" altLang="en-US" sz="900" smtClean="0">
                <a:solidFill>
                  <a:schemeClr val="tx1"/>
                </a:solidFill>
                <a:effectLst/>
              </a:rPr>
              <a:pPr/>
              <a:t>13,6</a:t>
            </a:fld>
            <a:endParaRPr lang="en-US" sz="9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361" name="Місце для тексту 2">
            <a:extLst>
              <a:ext uri="{FF2B5EF4-FFF2-40B4-BE49-F238E27FC236}">
                <a16:creationId xmlns:a16="http://schemas.microsoft.com/office/drawing/2014/main" id="{C780F0E4-BD1C-4746-91FF-E6394E275DBB}"/>
              </a:ext>
            </a:extLst>
          </p:cNvPr>
          <p:cNvSpPr>
            <a:spLocks noGrp="1"/>
          </p:cNvSpPr>
          <p:nvPr>
            <p:custDataLst>
              <p:tags r:id="rId169"/>
            </p:custDataLst>
          </p:nvPr>
        </p:nvSpPr>
        <p:spPr bwMode="auto">
          <a:xfrm>
            <a:off x="7372920" y="5805204"/>
            <a:ext cx="211138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000" dirty="0">
                <a:solidFill>
                  <a:srgbClr val="000000"/>
                </a:solidFill>
              </a:rPr>
              <a:t>Mar</a:t>
            </a:r>
            <a:endParaRPr kumimoji="0" lang="uk-UA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362" name="Holder 3">
            <a:extLst>
              <a:ext uri="{FF2B5EF4-FFF2-40B4-BE49-F238E27FC236}">
                <a16:creationId xmlns:a16="http://schemas.microsoft.com/office/drawing/2014/main" id="{10C0630C-0405-4CC1-AFBC-C4EA0A2EE15A}"/>
              </a:ext>
            </a:extLst>
          </p:cNvPr>
          <p:cNvSpPr>
            <a:spLocks noGrp="1"/>
          </p:cNvSpPr>
          <p:nvPr>
            <p:custDataLst>
              <p:tags r:id="rId170"/>
            </p:custDataLst>
          </p:nvPr>
        </p:nvSpPr>
        <p:spPr bwMode="gray">
          <a:xfrm>
            <a:off x="7715820" y="3019141"/>
            <a:ext cx="231775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5875" tIns="0" rIns="15875" bIns="0" numCol="1" spcCol="0" anchor="b" anchorCtr="0">
            <a:noAutofit/>
          </a:bodyPr>
          <a:lstStyle>
            <a:lvl1pPr marL="0"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>
              <a:defRPr>
                <a:latin typeface="+mn-lt"/>
                <a:ea typeface="+mn-ea"/>
                <a:cs typeface="+mn-cs"/>
              </a:defRPr>
            </a:lvl2pPr>
            <a:lvl3pPr marL="685800">
              <a:defRPr>
                <a:latin typeface="+mn-lt"/>
                <a:ea typeface="+mn-ea"/>
                <a:cs typeface="+mn-cs"/>
              </a:defRPr>
            </a:lvl3pPr>
            <a:lvl4pPr marL="1028700">
              <a:defRPr>
                <a:latin typeface="+mn-lt"/>
                <a:ea typeface="+mn-ea"/>
                <a:cs typeface="+mn-cs"/>
              </a:defRPr>
            </a:lvl4pPr>
            <a:lvl5pPr marL="1371600">
              <a:defRPr>
                <a:latin typeface="+mn-lt"/>
                <a:ea typeface="+mn-ea"/>
                <a:cs typeface="+mn-cs"/>
              </a:defRPr>
            </a:lvl5pPr>
            <a:lvl6pPr marL="1714500">
              <a:defRPr>
                <a:latin typeface="+mn-lt"/>
                <a:ea typeface="+mn-ea"/>
                <a:cs typeface="+mn-cs"/>
              </a:defRPr>
            </a:lvl6pPr>
            <a:lvl7pPr marL="2057400">
              <a:defRPr>
                <a:latin typeface="+mn-lt"/>
                <a:ea typeface="+mn-ea"/>
                <a:cs typeface="+mn-cs"/>
              </a:defRPr>
            </a:lvl7pPr>
            <a:lvl8pPr marL="2400300">
              <a:defRPr>
                <a:latin typeface="+mn-lt"/>
                <a:ea typeface="+mn-ea"/>
                <a:cs typeface="+mn-cs"/>
              </a:defRPr>
            </a:lvl8pPr>
            <a:lvl9pPr marL="2743200">
              <a:defRPr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EDC402BF-8C2E-41A1-A708-AB93F63A5AE8}" type="datetime'''''''''''1''''''''''''''''''''''''5'''''''''',9'''''">
              <a:rPr lang="en-US" altLang="en-US" sz="900" smtClean="0">
                <a:solidFill>
                  <a:schemeClr val="tx1"/>
                </a:solidFill>
                <a:effectLst/>
              </a:rPr>
              <a:pPr/>
              <a:t>15,9</a:t>
            </a:fld>
            <a:endParaRPr lang="en-US" sz="9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363" name="Holder 3">
            <a:extLst>
              <a:ext uri="{FF2B5EF4-FFF2-40B4-BE49-F238E27FC236}">
                <a16:creationId xmlns:a16="http://schemas.microsoft.com/office/drawing/2014/main" id="{02209794-8D40-45C1-AC0E-CCE2086E14B7}"/>
              </a:ext>
            </a:extLst>
          </p:cNvPr>
          <p:cNvSpPr>
            <a:spLocks noGrp="1"/>
          </p:cNvSpPr>
          <p:nvPr>
            <p:custDataLst>
              <p:tags r:id="rId171"/>
            </p:custDataLst>
          </p:nvPr>
        </p:nvSpPr>
        <p:spPr bwMode="gray">
          <a:xfrm>
            <a:off x="8069833" y="2873091"/>
            <a:ext cx="231775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5875" tIns="0" rIns="15875" bIns="0" numCol="1" spcCol="0" anchor="b" anchorCtr="0">
            <a:noAutofit/>
          </a:bodyPr>
          <a:lstStyle>
            <a:lvl1pPr marL="0"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>
              <a:defRPr>
                <a:latin typeface="+mn-lt"/>
                <a:ea typeface="+mn-ea"/>
                <a:cs typeface="+mn-cs"/>
              </a:defRPr>
            </a:lvl2pPr>
            <a:lvl3pPr marL="685800">
              <a:defRPr>
                <a:latin typeface="+mn-lt"/>
                <a:ea typeface="+mn-ea"/>
                <a:cs typeface="+mn-cs"/>
              </a:defRPr>
            </a:lvl3pPr>
            <a:lvl4pPr marL="1028700">
              <a:defRPr>
                <a:latin typeface="+mn-lt"/>
                <a:ea typeface="+mn-ea"/>
                <a:cs typeface="+mn-cs"/>
              </a:defRPr>
            </a:lvl4pPr>
            <a:lvl5pPr marL="1371600">
              <a:defRPr>
                <a:latin typeface="+mn-lt"/>
                <a:ea typeface="+mn-ea"/>
                <a:cs typeface="+mn-cs"/>
              </a:defRPr>
            </a:lvl5pPr>
            <a:lvl6pPr marL="1714500">
              <a:defRPr>
                <a:latin typeface="+mn-lt"/>
                <a:ea typeface="+mn-ea"/>
                <a:cs typeface="+mn-cs"/>
              </a:defRPr>
            </a:lvl6pPr>
            <a:lvl7pPr marL="2057400">
              <a:defRPr>
                <a:latin typeface="+mn-lt"/>
                <a:ea typeface="+mn-ea"/>
                <a:cs typeface="+mn-cs"/>
              </a:defRPr>
            </a:lvl7pPr>
            <a:lvl8pPr marL="2400300">
              <a:defRPr>
                <a:latin typeface="+mn-lt"/>
                <a:ea typeface="+mn-ea"/>
                <a:cs typeface="+mn-cs"/>
              </a:defRPr>
            </a:lvl8pPr>
            <a:lvl9pPr marL="2743200">
              <a:defRPr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651E3B6-B4CA-43FC-A5EC-CE931199AB08}" type="datetime'''''''''1''''''6'''''''''''''''',''''2'''''''">
              <a:rPr lang="en-US" altLang="en-US" sz="900" smtClean="0">
                <a:solidFill>
                  <a:schemeClr val="tx1"/>
                </a:solidFill>
              </a:rPr>
              <a:pPr/>
              <a:t>16,2</a:t>
            </a:fld>
            <a:endParaRPr lang="en-US" sz="9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364" name="Holder 3">
            <a:extLst>
              <a:ext uri="{FF2B5EF4-FFF2-40B4-BE49-F238E27FC236}">
                <a16:creationId xmlns:a16="http://schemas.microsoft.com/office/drawing/2014/main" id="{7EF49854-AC6E-43FD-BD27-BB02ABF8DAD4}"/>
              </a:ext>
            </a:extLst>
          </p:cNvPr>
          <p:cNvSpPr>
            <a:spLocks noGrp="1"/>
          </p:cNvSpPr>
          <p:nvPr>
            <p:custDataLst>
              <p:tags r:id="rId172"/>
            </p:custDataLst>
          </p:nvPr>
        </p:nvSpPr>
        <p:spPr bwMode="gray">
          <a:xfrm>
            <a:off x="8069833" y="3881154"/>
            <a:ext cx="231775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5875" tIns="0" rIns="15875" bIns="0" numCol="1" spcCol="0" anchor="b" anchorCtr="0">
            <a:noAutofit/>
          </a:bodyPr>
          <a:lstStyle>
            <a:lvl1pPr marL="0"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>
              <a:defRPr>
                <a:latin typeface="+mn-lt"/>
                <a:ea typeface="+mn-ea"/>
                <a:cs typeface="+mn-cs"/>
              </a:defRPr>
            </a:lvl2pPr>
            <a:lvl3pPr marL="685800">
              <a:defRPr>
                <a:latin typeface="+mn-lt"/>
                <a:ea typeface="+mn-ea"/>
                <a:cs typeface="+mn-cs"/>
              </a:defRPr>
            </a:lvl3pPr>
            <a:lvl4pPr marL="1028700">
              <a:defRPr>
                <a:latin typeface="+mn-lt"/>
                <a:ea typeface="+mn-ea"/>
                <a:cs typeface="+mn-cs"/>
              </a:defRPr>
            </a:lvl4pPr>
            <a:lvl5pPr marL="1371600">
              <a:defRPr>
                <a:latin typeface="+mn-lt"/>
                <a:ea typeface="+mn-ea"/>
                <a:cs typeface="+mn-cs"/>
              </a:defRPr>
            </a:lvl5pPr>
            <a:lvl6pPr marL="1714500">
              <a:defRPr>
                <a:latin typeface="+mn-lt"/>
                <a:ea typeface="+mn-ea"/>
                <a:cs typeface="+mn-cs"/>
              </a:defRPr>
            </a:lvl6pPr>
            <a:lvl7pPr marL="2057400">
              <a:defRPr>
                <a:latin typeface="+mn-lt"/>
                <a:ea typeface="+mn-ea"/>
                <a:cs typeface="+mn-cs"/>
              </a:defRPr>
            </a:lvl7pPr>
            <a:lvl8pPr marL="2400300">
              <a:defRPr>
                <a:latin typeface="+mn-lt"/>
                <a:ea typeface="+mn-ea"/>
                <a:cs typeface="+mn-cs"/>
              </a:defRPr>
            </a:lvl8pPr>
            <a:lvl9pPr marL="2743200">
              <a:defRPr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24D7E0A-D83D-420C-BF0E-57365D49B813}" type="datetime'''''''''''''''''''''13'''''',''''''''''''''''''''''''''8'''">
              <a:rPr lang="en-US" altLang="en-US" sz="900" smtClean="0">
                <a:solidFill>
                  <a:schemeClr val="tx1"/>
                </a:solidFill>
              </a:rPr>
              <a:pPr/>
              <a:t>13,8</a:t>
            </a:fld>
            <a:endParaRPr lang="en-US" sz="9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365" name="Holder 3">
            <a:extLst>
              <a:ext uri="{FF2B5EF4-FFF2-40B4-BE49-F238E27FC236}">
                <a16:creationId xmlns:a16="http://schemas.microsoft.com/office/drawing/2014/main" id="{98F300E3-97C0-4CFA-9E56-28DB334BD5CE}"/>
              </a:ext>
            </a:extLst>
          </p:cNvPr>
          <p:cNvSpPr>
            <a:spLocks noGrp="1"/>
          </p:cNvSpPr>
          <p:nvPr>
            <p:custDataLst>
              <p:tags r:id="rId173"/>
            </p:custDataLst>
          </p:nvPr>
        </p:nvSpPr>
        <p:spPr bwMode="gray">
          <a:xfrm>
            <a:off x="10190733" y="2676241"/>
            <a:ext cx="231775" cy="12382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15875" tIns="0" rIns="15875" bIns="0" numCol="1" spcCol="0" anchor="b" anchorCtr="0">
            <a:noAutofit/>
          </a:bodyPr>
          <a:lstStyle>
            <a:lvl1pPr marL="0"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>
              <a:defRPr>
                <a:latin typeface="+mn-lt"/>
                <a:ea typeface="+mn-ea"/>
                <a:cs typeface="+mn-cs"/>
              </a:defRPr>
            </a:lvl2pPr>
            <a:lvl3pPr marL="685800">
              <a:defRPr>
                <a:latin typeface="+mn-lt"/>
                <a:ea typeface="+mn-ea"/>
                <a:cs typeface="+mn-cs"/>
              </a:defRPr>
            </a:lvl3pPr>
            <a:lvl4pPr marL="1028700">
              <a:defRPr>
                <a:latin typeface="+mn-lt"/>
                <a:ea typeface="+mn-ea"/>
                <a:cs typeface="+mn-cs"/>
              </a:defRPr>
            </a:lvl4pPr>
            <a:lvl5pPr marL="1371600">
              <a:defRPr>
                <a:latin typeface="+mn-lt"/>
                <a:ea typeface="+mn-ea"/>
                <a:cs typeface="+mn-cs"/>
              </a:defRPr>
            </a:lvl5pPr>
            <a:lvl6pPr marL="1714500">
              <a:defRPr>
                <a:latin typeface="+mn-lt"/>
                <a:ea typeface="+mn-ea"/>
                <a:cs typeface="+mn-cs"/>
              </a:defRPr>
            </a:lvl6pPr>
            <a:lvl7pPr marL="2057400">
              <a:defRPr>
                <a:latin typeface="+mn-lt"/>
                <a:ea typeface="+mn-ea"/>
                <a:cs typeface="+mn-cs"/>
              </a:defRPr>
            </a:lvl7pPr>
            <a:lvl8pPr marL="2400300">
              <a:defRPr>
                <a:latin typeface="+mn-lt"/>
                <a:ea typeface="+mn-ea"/>
                <a:cs typeface="+mn-cs"/>
              </a:defRPr>
            </a:lvl8pPr>
            <a:lvl9pPr marL="2743200">
              <a:defRPr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DE991AC-CE0D-45E9-A7F9-220B0B5DB779}" type="datetime'''''''''''''''''1''''''''''6'''''''''''''''''''',6'''''''''''">
              <a:rPr lang="en-US" altLang="en-US" sz="900" smtClean="0">
                <a:solidFill>
                  <a:schemeClr val="tx1"/>
                </a:solidFill>
              </a:rPr>
              <a:pPr/>
              <a:t>16,6</a:t>
            </a:fld>
            <a:endParaRPr lang="en-US" sz="9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366" name="Місце для тексту 2">
            <a:extLst>
              <a:ext uri="{FF2B5EF4-FFF2-40B4-BE49-F238E27FC236}">
                <a16:creationId xmlns:a16="http://schemas.microsoft.com/office/drawing/2014/main" id="{0BD2E9A8-025D-4D56-88EE-AB42BABAF9A5}"/>
              </a:ext>
            </a:extLst>
          </p:cNvPr>
          <p:cNvSpPr>
            <a:spLocks noGrp="1"/>
          </p:cNvSpPr>
          <p:nvPr>
            <p:custDataLst>
              <p:tags r:id="rId174"/>
            </p:custDataLst>
          </p:nvPr>
        </p:nvSpPr>
        <p:spPr bwMode="auto">
          <a:xfrm>
            <a:off x="8085708" y="5805204"/>
            <a:ext cx="20161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fld id="{FC8417E8-AD46-4D66-B7E0-A9343D197F67}" type="datetime'''''''''''''''''''''''''''''''''''''''''''Тра'''''''''''''''''">
              <a:rPr lang="uk-UA" altLang="en-US" sz="1000" smtClean="0">
                <a:solidFill>
                  <a:srgbClr val="000000"/>
                </a:solidFill>
              </a:rPr>
              <a:pPr/>
              <a:t>Тра</a:t>
            </a:fld>
            <a:endParaRPr kumimoji="0" lang="uk-UA" sz="1000" b="0" i="0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367" name="Holder 3">
            <a:extLst>
              <a:ext uri="{FF2B5EF4-FFF2-40B4-BE49-F238E27FC236}">
                <a16:creationId xmlns:a16="http://schemas.microsoft.com/office/drawing/2014/main" id="{FA5183DE-A28A-4DA4-8FFA-BFE7D34A1385}"/>
              </a:ext>
            </a:extLst>
          </p:cNvPr>
          <p:cNvSpPr>
            <a:spLocks noGrp="1"/>
          </p:cNvSpPr>
          <p:nvPr>
            <p:custDataLst>
              <p:tags r:id="rId175"/>
            </p:custDataLst>
          </p:nvPr>
        </p:nvSpPr>
        <p:spPr bwMode="gray">
          <a:xfrm>
            <a:off x="8423845" y="3236629"/>
            <a:ext cx="231775" cy="12382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15875" tIns="0" rIns="15875" bIns="0" numCol="1" spcCol="0" anchor="b" anchorCtr="0">
            <a:noAutofit/>
          </a:bodyPr>
          <a:lstStyle>
            <a:lvl1pPr marL="0"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>
              <a:defRPr>
                <a:latin typeface="+mn-lt"/>
                <a:ea typeface="+mn-ea"/>
                <a:cs typeface="+mn-cs"/>
              </a:defRPr>
            </a:lvl2pPr>
            <a:lvl3pPr marL="685800">
              <a:defRPr>
                <a:latin typeface="+mn-lt"/>
                <a:ea typeface="+mn-ea"/>
                <a:cs typeface="+mn-cs"/>
              </a:defRPr>
            </a:lvl3pPr>
            <a:lvl4pPr marL="1028700">
              <a:defRPr>
                <a:latin typeface="+mn-lt"/>
                <a:ea typeface="+mn-ea"/>
                <a:cs typeface="+mn-cs"/>
              </a:defRPr>
            </a:lvl4pPr>
            <a:lvl5pPr marL="1371600">
              <a:defRPr>
                <a:latin typeface="+mn-lt"/>
                <a:ea typeface="+mn-ea"/>
                <a:cs typeface="+mn-cs"/>
              </a:defRPr>
            </a:lvl5pPr>
            <a:lvl6pPr marL="1714500">
              <a:defRPr>
                <a:latin typeface="+mn-lt"/>
                <a:ea typeface="+mn-ea"/>
                <a:cs typeface="+mn-cs"/>
              </a:defRPr>
            </a:lvl6pPr>
            <a:lvl7pPr marL="2057400">
              <a:defRPr>
                <a:latin typeface="+mn-lt"/>
                <a:ea typeface="+mn-ea"/>
                <a:cs typeface="+mn-cs"/>
              </a:defRPr>
            </a:lvl7pPr>
            <a:lvl8pPr marL="2400300">
              <a:defRPr>
                <a:latin typeface="+mn-lt"/>
                <a:ea typeface="+mn-ea"/>
                <a:cs typeface="+mn-cs"/>
              </a:defRPr>
            </a:lvl8pPr>
            <a:lvl9pPr marL="2743200">
              <a:defRPr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0EB66265-5B2A-4DD9-96CF-40ADE28E2061}" type="datetime'''''''''''''''''''''''''''''''''''''''''1''''5'',''4'''''''">
              <a:rPr lang="en-US" altLang="en-US" sz="900" smtClean="0">
                <a:solidFill>
                  <a:schemeClr val="tx1"/>
                </a:solidFill>
                <a:effectLst/>
              </a:rPr>
              <a:pPr/>
              <a:t>15,4</a:t>
            </a:fld>
            <a:endParaRPr lang="en-US" sz="9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368" name="Holder 3">
            <a:extLst>
              <a:ext uri="{FF2B5EF4-FFF2-40B4-BE49-F238E27FC236}">
                <a16:creationId xmlns:a16="http://schemas.microsoft.com/office/drawing/2014/main" id="{007EAA55-AD66-4117-8363-9046EDB16176}"/>
              </a:ext>
            </a:extLst>
          </p:cNvPr>
          <p:cNvSpPr>
            <a:spLocks noGrp="1"/>
          </p:cNvSpPr>
          <p:nvPr>
            <p:custDataLst>
              <p:tags r:id="rId176"/>
            </p:custDataLst>
          </p:nvPr>
        </p:nvSpPr>
        <p:spPr bwMode="gray">
          <a:xfrm>
            <a:off x="7715820" y="4201829"/>
            <a:ext cx="231775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5875" tIns="0" rIns="15875" bIns="0" numCol="1" spcCol="0" anchor="b" anchorCtr="0">
            <a:noAutofit/>
          </a:bodyPr>
          <a:lstStyle>
            <a:lvl1pPr marL="0"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>
              <a:defRPr>
                <a:latin typeface="+mn-lt"/>
                <a:ea typeface="+mn-ea"/>
                <a:cs typeface="+mn-cs"/>
              </a:defRPr>
            </a:lvl2pPr>
            <a:lvl3pPr marL="685800">
              <a:defRPr>
                <a:latin typeface="+mn-lt"/>
                <a:ea typeface="+mn-ea"/>
                <a:cs typeface="+mn-cs"/>
              </a:defRPr>
            </a:lvl3pPr>
            <a:lvl4pPr marL="1028700">
              <a:defRPr>
                <a:latin typeface="+mn-lt"/>
                <a:ea typeface="+mn-ea"/>
                <a:cs typeface="+mn-cs"/>
              </a:defRPr>
            </a:lvl4pPr>
            <a:lvl5pPr marL="1371600">
              <a:defRPr>
                <a:latin typeface="+mn-lt"/>
                <a:ea typeface="+mn-ea"/>
                <a:cs typeface="+mn-cs"/>
              </a:defRPr>
            </a:lvl5pPr>
            <a:lvl6pPr marL="1714500">
              <a:defRPr>
                <a:latin typeface="+mn-lt"/>
                <a:ea typeface="+mn-ea"/>
                <a:cs typeface="+mn-cs"/>
              </a:defRPr>
            </a:lvl6pPr>
            <a:lvl7pPr marL="2057400">
              <a:defRPr>
                <a:latin typeface="+mn-lt"/>
                <a:ea typeface="+mn-ea"/>
                <a:cs typeface="+mn-cs"/>
              </a:defRPr>
            </a:lvl7pPr>
            <a:lvl8pPr marL="2400300">
              <a:defRPr>
                <a:latin typeface="+mn-lt"/>
                <a:ea typeface="+mn-ea"/>
                <a:cs typeface="+mn-cs"/>
              </a:defRPr>
            </a:lvl8pPr>
            <a:lvl9pPr marL="2743200">
              <a:defRPr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E105965-7751-40E8-926B-6B3AAF9DFD2D}" type="datetime'''''''''''''''''''''''''''''''13'''',''1'''''''''''''''''''">
              <a:rPr lang="en-US" altLang="en-US" sz="900" smtClean="0">
                <a:solidFill>
                  <a:schemeClr val="tx1"/>
                </a:solidFill>
                <a:effectLst/>
              </a:rPr>
              <a:pPr/>
              <a:t>13,1</a:t>
            </a:fld>
            <a:endParaRPr lang="en-US" sz="9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369" name="Місце для тексту 2">
            <a:extLst>
              <a:ext uri="{FF2B5EF4-FFF2-40B4-BE49-F238E27FC236}">
                <a16:creationId xmlns:a16="http://schemas.microsoft.com/office/drawing/2014/main" id="{9F0E5568-3C58-4A70-A348-DDAD3B270BEB}"/>
              </a:ext>
            </a:extLst>
          </p:cNvPr>
          <p:cNvSpPr>
            <a:spLocks noGrp="1"/>
          </p:cNvSpPr>
          <p:nvPr>
            <p:custDataLst>
              <p:tags r:id="rId177"/>
            </p:custDataLst>
          </p:nvPr>
        </p:nvSpPr>
        <p:spPr bwMode="auto">
          <a:xfrm>
            <a:off x="8779445" y="5805204"/>
            <a:ext cx="2254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000" dirty="0">
                <a:solidFill>
                  <a:srgbClr val="000000"/>
                </a:solidFill>
              </a:rPr>
              <a:t>Jul</a:t>
            </a:r>
            <a:endParaRPr kumimoji="0" lang="uk-UA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370" name="Holder 3">
            <a:extLst>
              <a:ext uri="{FF2B5EF4-FFF2-40B4-BE49-F238E27FC236}">
                <a16:creationId xmlns:a16="http://schemas.microsoft.com/office/drawing/2014/main" id="{DB668AA4-B427-4CA8-AE91-27C34FDCB20D}"/>
              </a:ext>
            </a:extLst>
          </p:cNvPr>
          <p:cNvSpPr>
            <a:spLocks noGrp="1"/>
          </p:cNvSpPr>
          <p:nvPr>
            <p:custDataLst>
              <p:tags r:id="rId178"/>
            </p:custDataLst>
          </p:nvPr>
        </p:nvSpPr>
        <p:spPr bwMode="gray">
          <a:xfrm>
            <a:off x="9130283" y="3398554"/>
            <a:ext cx="231775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5875" tIns="0" rIns="15875" bIns="0" numCol="1" spcCol="0" anchor="b" anchorCtr="0">
            <a:noAutofit/>
          </a:bodyPr>
          <a:lstStyle>
            <a:lvl1pPr marL="0"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>
              <a:defRPr>
                <a:latin typeface="+mn-lt"/>
                <a:ea typeface="+mn-ea"/>
                <a:cs typeface="+mn-cs"/>
              </a:defRPr>
            </a:lvl2pPr>
            <a:lvl3pPr marL="685800">
              <a:defRPr>
                <a:latin typeface="+mn-lt"/>
                <a:ea typeface="+mn-ea"/>
                <a:cs typeface="+mn-cs"/>
              </a:defRPr>
            </a:lvl3pPr>
            <a:lvl4pPr marL="1028700">
              <a:defRPr>
                <a:latin typeface="+mn-lt"/>
                <a:ea typeface="+mn-ea"/>
                <a:cs typeface="+mn-cs"/>
              </a:defRPr>
            </a:lvl4pPr>
            <a:lvl5pPr marL="1371600">
              <a:defRPr>
                <a:latin typeface="+mn-lt"/>
                <a:ea typeface="+mn-ea"/>
                <a:cs typeface="+mn-cs"/>
              </a:defRPr>
            </a:lvl5pPr>
            <a:lvl6pPr marL="1714500">
              <a:defRPr>
                <a:latin typeface="+mn-lt"/>
                <a:ea typeface="+mn-ea"/>
                <a:cs typeface="+mn-cs"/>
              </a:defRPr>
            </a:lvl6pPr>
            <a:lvl7pPr marL="2057400">
              <a:defRPr>
                <a:latin typeface="+mn-lt"/>
                <a:ea typeface="+mn-ea"/>
                <a:cs typeface="+mn-cs"/>
              </a:defRPr>
            </a:lvl7pPr>
            <a:lvl8pPr marL="2400300">
              <a:defRPr>
                <a:latin typeface="+mn-lt"/>
                <a:ea typeface="+mn-ea"/>
                <a:cs typeface="+mn-cs"/>
              </a:defRPr>
            </a:lvl8pPr>
            <a:lvl9pPr marL="2743200">
              <a:defRPr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3B9D690-521F-4EC8-B2B4-61360B1232B1}" type="datetime'''''''1''''''''''''''''''''5'''''''''''''''''''',''''''0'''''">
              <a:rPr lang="en-US" altLang="en-US" sz="900" smtClean="0">
                <a:solidFill>
                  <a:schemeClr val="tx1"/>
                </a:solidFill>
              </a:rPr>
              <a:pPr/>
              <a:t>15,0</a:t>
            </a:fld>
            <a:endParaRPr lang="en-US" sz="9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371" name="Holder 3">
            <a:extLst>
              <a:ext uri="{FF2B5EF4-FFF2-40B4-BE49-F238E27FC236}">
                <a16:creationId xmlns:a16="http://schemas.microsoft.com/office/drawing/2014/main" id="{35646879-DA63-4F09-A7BE-C932B1B6D600}"/>
              </a:ext>
            </a:extLst>
          </p:cNvPr>
          <p:cNvSpPr>
            <a:spLocks noGrp="1"/>
          </p:cNvSpPr>
          <p:nvPr>
            <p:custDataLst>
              <p:tags r:id="rId179"/>
            </p:custDataLst>
          </p:nvPr>
        </p:nvSpPr>
        <p:spPr bwMode="gray">
          <a:xfrm>
            <a:off x="9484295" y="4628866"/>
            <a:ext cx="231775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5875" tIns="0" rIns="15875" bIns="0" numCol="1" spcCol="0" anchor="b" anchorCtr="0">
            <a:noAutofit/>
          </a:bodyPr>
          <a:lstStyle>
            <a:lvl1pPr marL="0"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>
              <a:defRPr>
                <a:latin typeface="+mn-lt"/>
                <a:ea typeface="+mn-ea"/>
                <a:cs typeface="+mn-cs"/>
              </a:defRPr>
            </a:lvl2pPr>
            <a:lvl3pPr marL="685800">
              <a:defRPr>
                <a:latin typeface="+mn-lt"/>
                <a:ea typeface="+mn-ea"/>
                <a:cs typeface="+mn-cs"/>
              </a:defRPr>
            </a:lvl3pPr>
            <a:lvl4pPr marL="1028700">
              <a:defRPr>
                <a:latin typeface="+mn-lt"/>
                <a:ea typeface="+mn-ea"/>
                <a:cs typeface="+mn-cs"/>
              </a:defRPr>
            </a:lvl4pPr>
            <a:lvl5pPr marL="1371600">
              <a:defRPr>
                <a:latin typeface="+mn-lt"/>
                <a:ea typeface="+mn-ea"/>
                <a:cs typeface="+mn-cs"/>
              </a:defRPr>
            </a:lvl5pPr>
            <a:lvl6pPr marL="1714500">
              <a:defRPr>
                <a:latin typeface="+mn-lt"/>
                <a:ea typeface="+mn-ea"/>
                <a:cs typeface="+mn-cs"/>
              </a:defRPr>
            </a:lvl6pPr>
            <a:lvl7pPr marL="2057400">
              <a:defRPr>
                <a:latin typeface="+mn-lt"/>
                <a:ea typeface="+mn-ea"/>
                <a:cs typeface="+mn-cs"/>
              </a:defRPr>
            </a:lvl7pPr>
            <a:lvl8pPr marL="2400300">
              <a:defRPr>
                <a:latin typeface="+mn-lt"/>
                <a:ea typeface="+mn-ea"/>
                <a:cs typeface="+mn-cs"/>
              </a:defRPr>
            </a:lvl8pPr>
            <a:lvl9pPr marL="2743200">
              <a:defRPr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7DB04E39-6DF2-42DB-BAB5-FC58D9DAB296}" type="datetime'''''''''''''''1''''''''''2'''''''''''''',2'''''''''''">
              <a:rPr lang="en-US" altLang="en-US" sz="900" smtClean="0">
                <a:solidFill>
                  <a:schemeClr val="tx1"/>
                </a:solidFill>
              </a:rPr>
              <a:pPr/>
              <a:t>12,2</a:t>
            </a:fld>
            <a:endParaRPr lang="en-US" sz="9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373" name="Holder 3">
            <a:extLst>
              <a:ext uri="{FF2B5EF4-FFF2-40B4-BE49-F238E27FC236}">
                <a16:creationId xmlns:a16="http://schemas.microsoft.com/office/drawing/2014/main" id="{49437B1A-CF2E-4D21-899E-C919183EF5D4}"/>
              </a:ext>
            </a:extLst>
          </p:cNvPr>
          <p:cNvSpPr>
            <a:spLocks noGrp="1"/>
          </p:cNvSpPr>
          <p:nvPr>
            <p:custDataLst>
              <p:tags r:id="rId180"/>
            </p:custDataLst>
          </p:nvPr>
        </p:nvSpPr>
        <p:spPr bwMode="gray">
          <a:xfrm>
            <a:off x="9838308" y="2947704"/>
            <a:ext cx="231775" cy="12382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15875" tIns="0" rIns="15875" bIns="0" numCol="1" spcCol="0" anchor="b" anchorCtr="0">
            <a:noAutofit/>
          </a:bodyPr>
          <a:lstStyle>
            <a:lvl1pPr marL="0"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>
              <a:defRPr>
                <a:latin typeface="+mn-lt"/>
                <a:ea typeface="+mn-ea"/>
                <a:cs typeface="+mn-cs"/>
              </a:defRPr>
            </a:lvl2pPr>
            <a:lvl3pPr marL="685800">
              <a:defRPr>
                <a:latin typeface="+mn-lt"/>
                <a:ea typeface="+mn-ea"/>
                <a:cs typeface="+mn-cs"/>
              </a:defRPr>
            </a:lvl3pPr>
            <a:lvl4pPr marL="1028700">
              <a:defRPr>
                <a:latin typeface="+mn-lt"/>
                <a:ea typeface="+mn-ea"/>
                <a:cs typeface="+mn-cs"/>
              </a:defRPr>
            </a:lvl4pPr>
            <a:lvl5pPr marL="1371600">
              <a:defRPr>
                <a:latin typeface="+mn-lt"/>
                <a:ea typeface="+mn-ea"/>
                <a:cs typeface="+mn-cs"/>
              </a:defRPr>
            </a:lvl5pPr>
            <a:lvl6pPr marL="1714500">
              <a:defRPr>
                <a:latin typeface="+mn-lt"/>
                <a:ea typeface="+mn-ea"/>
                <a:cs typeface="+mn-cs"/>
              </a:defRPr>
            </a:lvl6pPr>
            <a:lvl7pPr marL="2057400">
              <a:defRPr>
                <a:latin typeface="+mn-lt"/>
                <a:ea typeface="+mn-ea"/>
                <a:cs typeface="+mn-cs"/>
              </a:defRPr>
            </a:lvl7pPr>
            <a:lvl8pPr marL="2400300">
              <a:defRPr>
                <a:latin typeface="+mn-lt"/>
                <a:ea typeface="+mn-ea"/>
                <a:cs typeface="+mn-cs"/>
              </a:defRPr>
            </a:lvl8pPr>
            <a:lvl9pPr marL="2743200">
              <a:defRPr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A053E60A-2DA6-468A-88B9-CBFF354420CC}" type="datetime'''''''''''''''''1''''''''''''''''''''''6'''',''''''''0'''''''">
              <a:rPr lang="en-US" altLang="en-US" sz="900" smtClean="0">
                <a:solidFill>
                  <a:schemeClr val="tx1"/>
                </a:solidFill>
                <a:effectLst/>
              </a:rPr>
              <a:pPr/>
              <a:t>16,0</a:t>
            </a:fld>
            <a:endParaRPr lang="en-US" sz="900" dirty="0">
              <a:solidFill>
                <a:schemeClr val="tx1"/>
              </a:solidFill>
              <a:sym typeface="+mn-lt"/>
            </a:endParaRPr>
          </a:p>
        </p:txBody>
      </p:sp>
      <p:sp useBgFill="1">
        <p:nvSpPr>
          <p:cNvPr id="374" name="Holder 3">
            <a:extLst>
              <a:ext uri="{FF2B5EF4-FFF2-40B4-BE49-F238E27FC236}">
                <a16:creationId xmlns:a16="http://schemas.microsoft.com/office/drawing/2014/main" id="{D38A5FEE-253A-433C-B208-CA3B792A1102}"/>
              </a:ext>
            </a:extLst>
          </p:cNvPr>
          <p:cNvSpPr>
            <a:spLocks noGrp="1"/>
          </p:cNvSpPr>
          <p:nvPr>
            <p:custDataLst>
              <p:tags r:id="rId181"/>
            </p:custDataLst>
          </p:nvPr>
        </p:nvSpPr>
        <p:spPr bwMode="gray">
          <a:xfrm>
            <a:off x="9838308" y="5367054"/>
            <a:ext cx="231775" cy="1238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5875" tIns="0" rIns="15875" bIns="0" numCol="1" spcCol="0" anchor="b" anchorCtr="0">
            <a:noAutofit/>
          </a:bodyPr>
          <a:lstStyle>
            <a:lvl1pPr marL="0"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>
              <a:defRPr>
                <a:latin typeface="+mn-lt"/>
                <a:ea typeface="+mn-ea"/>
                <a:cs typeface="+mn-cs"/>
              </a:defRPr>
            </a:lvl2pPr>
            <a:lvl3pPr marL="685800">
              <a:defRPr>
                <a:latin typeface="+mn-lt"/>
                <a:ea typeface="+mn-ea"/>
                <a:cs typeface="+mn-cs"/>
              </a:defRPr>
            </a:lvl3pPr>
            <a:lvl4pPr marL="1028700">
              <a:defRPr>
                <a:latin typeface="+mn-lt"/>
                <a:ea typeface="+mn-ea"/>
                <a:cs typeface="+mn-cs"/>
              </a:defRPr>
            </a:lvl4pPr>
            <a:lvl5pPr marL="1371600">
              <a:defRPr>
                <a:latin typeface="+mn-lt"/>
                <a:ea typeface="+mn-ea"/>
                <a:cs typeface="+mn-cs"/>
              </a:defRPr>
            </a:lvl5pPr>
            <a:lvl6pPr marL="1714500">
              <a:defRPr>
                <a:latin typeface="+mn-lt"/>
                <a:ea typeface="+mn-ea"/>
                <a:cs typeface="+mn-cs"/>
              </a:defRPr>
            </a:lvl6pPr>
            <a:lvl7pPr marL="2057400">
              <a:defRPr>
                <a:latin typeface="+mn-lt"/>
                <a:ea typeface="+mn-ea"/>
                <a:cs typeface="+mn-cs"/>
              </a:defRPr>
            </a:lvl7pPr>
            <a:lvl8pPr marL="2400300">
              <a:defRPr>
                <a:latin typeface="+mn-lt"/>
                <a:ea typeface="+mn-ea"/>
                <a:cs typeface="+mn-cs"/>
              </a:defRPr>
            </a:lvl8pPr>
            <a:lvl9pPr marL="2743200">
              <a:defRPr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21210FB2-A8E5-468D-A031-9034A09BD3A5}" type="datetime'''''''''''''''''''''''''''''''''1''''0'',''''5'">
              <a:rPr lang="en-US" altLang="en-US" sz="900" smtClean="0">
                <a:solidFill>
                  <a:schemeClr val="tx1"/>
                </a:solidFill>
              </a:rPr>
              <a:pPr/>
              <a:t>10,5</a:t>
            </a:fld>
            <a:endParaRPr lang="en-US" sz="900" dirty="0">
              <a:solidFill>
                <a:schemeClr val="tx1"/>
              </a:solidFill>
              <a:sym typeface="+mn-lt"/>
            </a:endParaRPr>
          </a:p>
        </p:txBody>
      </p:sp>
      <p:sp useBgFill="1">
        <p:nvSpPr>
          <p:cNvPr id="376" name="Holder 3">
            <a:extLst>
              <a:ext uri="{FF2B5EF4-FFF2-40B4-BE49-F238E27FC236}">
                <a16:creationId xmlns:a16="http://schemas.microsoft.com/office/drawing/2014/main" id="{62E553C5-F2A8-435C-82D1-590666CB41B9}"/>
              </a:ext>
            </a:extLst>
          </p:cNvPr>
          <p:cNvSpPr>
            <a:spLocks noGrp="1"/>
          </p:cNvSpPr>
          <p:nvPr>
            <p:custDataLst>
              <p:tags r:id="rId182"/>
            </p:custDataLst>
          </p:nvPr>
        </p:nvSpPr>
        <p:spPr bwMode="gray">
          <a:xfrm>
            <a:off x="10190733" y="5408329"/>
            <a:ext cx="231775" cy="1238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5875" tIns="0" rIns="15875" bIns="0" numCol="1" spcCol="0" anchor="b" anchorCtr="0">
            <a:noAutofit/>
          </a:bodyPr>
          <a:lstStyle>
            <a:lvl1pPr marL="0"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>
              <a:defRPr>
                <a:latin typeface="+mn-lt"/>
                <a:ea typeface="+mn-ea"/>
                <a:cs typeface="+mn-cs"/>
              </a:defRPr>
            </a:lvl2pPr>
            <a:lvl3pPr marL="685800">
              <a:defRPr>
                <a:latin typeface="+mn-lt"/>
                <a:ea typeface="+mn-ea"/>
                <a:cs typeface="+mn-cs"/>
              </a:defRPr>
            </a:lvl3pPr>
            <a:lvl4pPr marL="1028700">
              <a:defRPr>
                <a:latin typeface="+mn-lt"/>
                <a:ea typeface="+mn-ea"/>
                <a:cs typeface="+mn-cs"/>
              </a:defRPr>
            </a:lvl4pPr>
            <a:lvl5pPr marL="1371600">
              <a:defRPr>
                <a:latin typeface="+mn-lt"/>
                <a:ea typeface="+mn-ea"/>
                <a:cs typeface="+mn-cs"/>
              </a:defRPr>
            </a:lvl5pPr>
            <a:lvl6pPr marL="1714500">
              <a:defRPr>
                <a:latin typeface="+mn-lt"/>
                <a:ea typeface="+mn-ea"/>
                <a:cs typeface="+mn-cs"/>
              </a:defRPr>
            </a:lvl6pPr>
            <a:lvl7pPr marL="2057400">
              <a:defRPr>
                <a:latin typeface="+mn-lt"/>
                <a:ea typeface="+mn-ea"/>
                <a:cs typeface="+mn-cs"/>
              </a:defRPr>
            </a:lvl7pPr>
            <a:lvl8pPr marL="2400300">
              <a:defRPr>
                <a:latin typeface="+mn-lt"/>
                <a:ea typeface="+mn-ea"/>
                <a:cs typeface="+mn-cs"/>
              </a:defRPr>
            </a:lvl8pPr>
            <a:lvl9pPr marL="2743200">
              <a:defRPr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0616FE8-912F-471B-8D62-370A7F28D7F2}" type="datetime'''''''''''''10'''''''''''''''''''',4'''''">
              <a:rPr lang="en-US" altLang="en-US" sz="900" smtClean="0">
                <a:solidFill>
                  <a:schemeClr val="tx1"/>
                </a:solidFill>
              </a:rPr>
              <a:pPr/>
              <a:t>10,4</a:t>
            </a:fld>
            <a:endParaRPr lang="en-US" sz="9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377" name="Місце для тексту 2">
            <a:extLst>
              <a:ext uri="{FF2B5EF4-FFF2-40B4-BE49-F238E27FC236}">
                <a16:creationId xmlns:a16="http://schemas.microsoft.com/office/drawing/2014/main" id="{A3462703-D5D7-4F79-8981-85FCA94F03B8}"/>
              </a:ext>
            </a:extLst>
          </p:cNvPr>
          <p:cNvSpPr>
            <a:spLocks noGrp="1"/>
          </p:cNvSpPr>
          <p:nvPr>
            <p:custDataLst>
              <p:tags r:id="rId183"/>
            </p:custDataLst>
          </p:nvPr>
        </p:nvSpPr>
        <p:spPr bwMode="auto">
          <a:xfrm>
            <a:off x="8433370" y="5805204"/>
            <a:ext cx="2127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000" dirty="0">
                <a:solidFill>
                  <a:srgbClr val="000000"/>
                </a:solidFill>
              </a:rPr>
              <a:t>Jun</a:t>
            </a:r>
            <a:endParaRPr kumimoji="0" lang="uk-UA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 useBgFill="1">
        <p:nvSpPr>
          <p:cNvPr id="378" name="Holder 3">
            <a:extLst>
              <a:ext uri="{FF2B5EF4-FFF2-40B4-BE49-F238E27FC236}">
                <a16:creationId xmlns:a16="http://schemas.microsoft.com/office/drawing/2014/main" id="{4C0818E1-88D5-4645-B5FF-4B025BABE7AD}"/>
              </a:ext>
            </a:extLst>
          </p:cNvPr>
          <p:cNvSpPr>
            <a:spLocks noGrp="1"/>
          </p:cNvSpPr>
          <p:nvPr>
            <p:custDataLst>
              <p:tags r:id="rId184"/>
            </p:custDataLst>
          </p:nvPr>
        </p:nvSpPr>
        <p:spPr bwMode="gray">
          <a:xfrm>
            <a:off x="10544745" y="2453991"/>
            <a:ext cx="231775" cy="1238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5875" tIns="0" rIns="15875" bIns="0" numCol="1" spcCol="0" anchor="b" anchorCtr="0">
            <a:noAutofit/>
          </a:bodyPr>
          <a:lstStyle>
            <a:lvl1pPr marL="0"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>
              <a:defRPr>
                <a:latin typeface="+mn-lt"/>
                <a:ea typeface="+mn-ea"/>
                <a:cs typeface="+mn-cs"/>
              </a:defRPr>
            </a:lvl2pPr>
            <a:lvl3pPr marL="685800">
              <a:defRPr>
                <a:latin typeface="+mn-lt"/>
                <a:ea typeface="+mn-ea"/>
                <a:cs typeface="+mn-cs"/>
              </a:defRPr>
            </a:lvl3pPr>
            <a:lvl4pPr marL="1028700">
              <a:defRPr>
                <a:latin typeface="+mn-lt"/>
                <a:ea typeface="+mn-ea"/>
                <a:cs typeface="+mn-cs"/>
              </a:defRPr>
            </a:lvl4pPr>
            <a:lvl5pPr marL="1371600">
              <a:defRPr>
                <a:latin typeface="+mn-lt"/>
                <a:ea typeface="+mn-ea"/>
                <a:cs typeface="+mn-cs"/>
              </a:defRPr>
            </a:lvl5pPr>
            <a:lvl6pPr marL="1714500">
              <a:defRPr>
                <a:latin typeface="+mn-lt"/>
                <a:ea typeface="+mn-ea"/>
                <a:cs typeface="+mn-cs"/>
              </a:defRPr>
            </a:lvl6pPr>
            <a:lvl7pPr marL="2057400">
              <a:defRPr>
                <a:latin typeface="+mn-lt"/>
                <a:ea typeface="+mn-ea"/>
                <a:cs typeface="+mn-cs"/>
              </a:defRPr>
            </a:lvl7pPr>
            <a:lvl8pPr marL="2400300">
              <a:defRPr>
                <a:latin typeface="+mn-lt"/>
                <a:ea typeface="+mn-ea"/>
                <a:cs typeface="+mn-cs"/>
              </a:defRPr>
            </a:lvl8pPr>
            <a:lvl9pPr marL="2743200">
              <a:defRPr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329A5935-8584-4EBA-8689-590CD467A8D8}" type="datetime'''1''''''''7'''',''''''''''''''''''''''''1'''''''''">
              <a:rPr lang="en-US" altLang="en-US" sz="900" smtClean="0">
                <a:solidFill>
                  <a:schemeClr val="tx1"/>
                </a:solidFill>
              </a:rPr>
              <a:pPr/>
              <a:t>17,1</a:t>
            </a:fld>
            <a:endParaRPr lang="en-US" sz="9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379" name="Holder 3">
            <a:extLst>
              <a:ext uri="{FF2B5EF4-FFF2-40B4-BE49-F238E27FC236}">
                <a16:creationId xmlns:a16="http://schemas.microsoft.com/office/drawing/2014/main" id="{D9C0D0BF-605D-4566-B58D-30A43184CE46}"/>
              </a:ext>
            </a:extLst>
          </p:cNvPr>
          <p:cNvSpPr>
            <a:spLocks noGrp="1"/>
          </p:cNvSpPr>
          <p:nvPr>
            <p:custDataLst>
              <p:tags r:id="rId185"/>
            </p:custDataLst>
          </p:nvPr>
        </p:nvSpPr>
        <p:spPr bwMode="gray">
          <a:xfrm>
            <a:off x="10544745" y="4943191"/>
            <a:ext cx="231775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15875" tIns="0" rIns="15875" bIns="0" numCol="1" spcCol="0" anchor="b" anchorCtr="0">
            <a:noAutofit/>
          </a:bodyPr>
          <a:lstStyle>
            <a:lvl1pPr marL="0"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>
              <a:defRPr>
                <a:latin typeface="+mn-lt"/>
                <a:ea typeface="+mn-ea"/>
                <a:cs typeface="+mn-cs"/>
              </a:defRPr>
            </a:lvl2pPr>
            <a:lvl3pPr marL="685800">
              <a:defRPr>
                <a:latin typeface="+mn-lt"/>
                <a:ea typeface="+mn-ea"/>
                <a:cs typeface="+mn-cs"/>
              </a:defRPr>
            </a:lvl3pPr>
            <a:lvl4pPr marL="1028700">
              <a:defRPr>
                <a:latin typeface="+mn-lt"/>
                <a:ea typeface="+mn-ea"/>
                <a:cs typeface="+mn-cs"/>
              </a:defRPr>
            </a:lvl4pPr>
            <a:lvl5pPr marL="1371600">
              <a:defRPr>
                <a:latin typeface="+mn-lt"/>
                <a:ea typeface="+mn-ea"/>
                <a:cs typeface="+mn-cs"/>
              </a:defRPr>
            </a:lvl5pPr>
            <a:lvl6pPr marL="1714500">
              <a:defRPr>
                <a:latin typeface="+mn-lt"/>
                <a:ea typeface="+mn-ea"/>
                <a:cs typeface="+mn-cs"/>
              </a:defRPr>
            </a:lvl6pPr>
            <a:lvl7pPr marL="2057400">
              <a:defRPr>
                <a:latin typeface="+mn-lt"/>
                <a:ea typeface="+mn-ea"/>
                <a:cs typeface="+mn-cs"/>
              </a:defRPr>
            </a:lvl7pPr>
            <a:lvl8pPr marL="2400300">
              <a:defRPr>
                <a:latin typeface="+mn-lt"/>
                <a:ea typeface="+mn-ea"/>
                <a:cs typeface="+mn-cs"/>
              </a:defRPr>
            </a:lvl8pPr>
            <a:lvl9pPr marL="2743200">
              <a:defRPr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FEC564FE-7936-4B42-BCC2-630EF38F5FA0}" type="datetime'''''''''''''''''''''''''''''''''''''''''''''''''''1''1,5'''''">
              <a:rPr lang="en-US" altLang="en-US" sz="900" smtClean="0">
                <a:solidFill>
                  <a:schemeClr val="tx1"/>
                </a:solidFill>
              </a:rPr>
              <a:pPr/>
              <a:t>11,5</a:t>
            </a:fld>
            <a:endParaRPr lang="en-US" sz="900" dirty="0">
              <a:solidFill>
                <a:schemeClr val="tx1"/>
              </a:solidFill>
              <a:sym typeface="+mn-lt"/>
            </a:endParaRPr>
          </a:p>
        </p:txBody>
      </p:sp>
      <p:sp useBgFill="1">
        <p:nvSpPr>
          <p:cNvPr id="381" name="Holder 3">
            <a:extLst>
              <a:ext uri="{FF2B5EF4-FFF2-40B4-BE49-F238E27FC236}">
                <a16:creationId xmlns:a16="http://schemas.microsoft.com/office/drawing/2014/main" id="{DFB03149-B57A-4DDB-BB67-E1D8C2C1BC1B}"/>
              </a:ext>
            </a:extLst>
          </p:cNvPr>
          <p:cNvSpPr>
            <a:spLocks noGrp="1"/>
          </p:cNvSpPr>
          <p:nvPr>
            <p:custDataLst>
              <p:tags r:id="rId186"/>
            </p:custDataLst>
          </p:nvPr>
        </p:nvSpPr>
        <p:spPr bwMode="gray">
          <a:xfrm>
            <a:off x="8423845" y="4220879"/>
            <a:ext cx="231775" cy="123825"/>
          </a:xfrm>
          <a:prstGeom prst="rect">
            <a:avLst/>
          </a:prstGeom>
          <a:ln>
            <a:noFill/>
          </a:ln>
          <a:effectLst/>
        </p:spPr>
        <p:txBody>
          <a:bodyPr vert="horz" wrap="none" lIns="15875" tIns="0" rIns="15875" bIns="0" numCol="1" spcCol="0" anchor="b" anchorCtr="0">
            <a:noAutofit/>
          </a:bodyPr>
          <a:lstStyle>
            <a:lvl1pPr marL="0"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>
              <a:defRPr>
                <a:latin typeface="+mn-lt"/>
                <a:ea typeface="+mn-ea"/>
                <a:cs typeface="+mn-cs"/>
              </a:defRPr>
            </a:lvl2pPr>
            <a:lvl3pPr marL="685800">
              <a:defRPr>
                <a:latin typeface="+mn-lt"/>
                <a:ea typeface="+mn-ea"/>
                <a:cs typeface="+mn-cs"/>
              </a:defRPr>
            </a:lvl3pPr>
            <a:lvl4pPr marL="1028700">
              <a:defRPr>
                <a:latin typeface="+mn-lt"/>
                <a:ea typeface="+mn-ea"/>
                <a:cs typeface="+mn-cs"/>
              </a:defRPr>
            </a:lvl4pPr>
            <a:lvl5pPr marL="1371600">
              <a:defRPr>
                <a:latin typeface="+mn-lt"/>
                <a:ea typeface="+mn-ea"/>
                <a:cs typeface="+mn-cs"/>
              </a:defRPr>
            </a:lvl5pPr>
            <a:lvl6pPr marL="1714500">
              <a:defRPr>
                <a:latin typeface="+mn-lt"/>
                <a:ea typeface="+mn-ea"/>
                <a:cs typeface="+mn-cs"/>
              </a:defRPr>
            </a:lvl6pPr>
            <a:lvl7pPr marL="2057400">
              <a:defRPr>
                <a:latin typeface="+mn-lt"/>
                <a:ea typeface="+mn-ea"/>
                <a:cs typeface="+mn-cs"/>
              </a:defRPr>
            </a:lvl7pPr>
            <a:lvl8pPr marL="2400300">
              <a:defRPr>
                <a:latin typeface="+mn-lt"/>
                <a:ea typeface="+mn-ea"/>
                <a:cs typeface="+mn-cs"/>
              </a:defRPr>
            </a:lvl8pPr>
            <a:lvl9pPr marL="2743200">
              <a:defRPr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AAE80DC-7159-46BD-BB1A-C5A65523A86D}" type="datetime'''''''''''1''''3'''''''''',''''''''''''''''''''''''''''''1'">
              <a:rPr lang="en-US" altLang="en-US" sz="900" smtClean="0">
                <a:solidFill>
                  <a:schemeClr val="tx1"/>
                </a:solidFill>
              </a:rPr>
              <a:pPr/>
              <a:t>13,1</a:t>
            </a:fld>
            <a:endParaRPr lang="en-US" sz="9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384" name="Місце для тексту 2">
            <a:extLst>
              <a:ext uri="{FF2B5EF4-FFF2-40B4-BE49-F238E27FC236}">
                <a16:creationId xmlns:a16="http://schemas.microsoft.com/office/drawing/2014/main" id="{6A52C581-71BB-458D-B921-BA46C15E3538}"/>
              </a:ext>
            </a:extLst>
          </p:cNvPr>
          <p:cNvSpPr>
            <a:spLocks noGrp="1"/>
          </p:cNvSpPr>
          <p:nvPr>
            <p:custDataLst>
              <p:tags r:id="rId187"/>
            </p:custDataLst>
          </p:nvPr>
        </p:nvSpPr>
        <p:spPr bwMode="auto">
          <a:xfrm>
            <a:off x="7747570" y="5805204"/>
            <a:ext cx="169863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000" dirty="0">
                <a:solidFill>
                  <a:srgbClr val="000000"/>
                </a:solidFill>
              </a:rPr>
              <a:t>Apr</a:t>
            </a:r>
            <a:endParaRPr kumimoji="0" lang="uk-UA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385" name="Holder 3">
            <a:extLst>
              <a:ext uri="{FF2B5EF4-FFF2-40B4-BE49-F238E27FC236}">
                <a16:creationId xmlns:a16="http://schemas.microsoft.com/office/drawing/2014/main" id="{685E33F7-611E-46C4-85F3-4E1EE1B1C959}"/>
              </a:ext>
            </a:extLst>
          </p:cNvPr>
          <p:cNvSpPr>
            <a:spLocks noGrp="1"/>
          </p:cNvSpPr>
          <p:nvPr>
            <p:custDataLst>
              <p:tags r:id="rId188"/>
            </p:custDataLst>
          </p:nvPr>
        </p:nvSpPr>
        <p:spPr bwMode="gray">
          <a:xfrm>
            <a:off x="9484295" y="3336641"/>
            <a:ext cx="231775" cy="123825"/>
          </a:xfrm>
          <a:prstGeom prst="rect">
            <a:avLst/>
          </a:prstGeom>
          <a:noFill/>
          <a:ln>
            <a:noFill/>
          </a:ln>
          <a:effectLst/>
        </p:spPr>
        <p:txBody>
          <a:bodyPr vert="horz" wrap="none" lIns="15875" tIns="0" rIns="15875" bIns="0" numCol="1" spcCol="0" anchor="b" anchorCtr="0">
            <a:noAutofit/>
          </a:bodyPr>
          <a:lstStyle>
            <a:lvl1pPr marL="0"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>
              <a:defRPr>
                <a:latin typeface="+mn-lt"/>
                <a:ea typeface="+mn-ea"/>
                <a:cs typeface="+mn-cs"/>
              </a:defRPr>
            </a:lvl2pPr>
            <a:lvl3pPr marL="685800">
              <a:defRPr>
                <a:latin typeface="+mn-lt"/>
                <a:ea typeface="+mn-ea"/>
                <a:cs typeface="+mn-cs"/>
              </a:defRPr>
            </a:lvl3pPr>
            <a:lvl4pPr marL="1028700">
              <a:defRPr>
                <a:latin typeface="+mn-lt"/>
                <a:ea typeface="+mn-ea"/>
                <a:cs typeface="+mn-cs"/>
              </a:defRPr>
            </a:lvl4pPr>
            <a:lvl5pPr marL="1371600">
              <a:defRPr>
                <a:latin typeface="+mn-lt"/>
                <a:ea typeface="+mn-ea"/>
                <a:cs typeface="+mn-cs"/>
              </a:defRPr>
            </a:lvl5pPr>
            <a:lvl6pPr marL="1714500">
              <a:defRPr>
                <a:latin typeface="+mn-lt"/>
                <a:ea typeface="+mn-ea"/>
                <a:cs typeface="+mn-cs"/>
              </a:defRPr>
            </a:lvl6pPr>
            <a:lvl7pPr marL="2057400">
              <a:defRPr>
                <a:latin typeface="+mn-lt"/>
                <a:ea typeface="+mn-ea"/>
                <a:cs typeface="+mn-cs"/>
              </a:defRPr>
            </a:lvl7pPr>
            <a:lvl8pPr marL="2400300">
              <a:defRPr>
                <a:latin typeface="+mn-lt"/>
                <a:ea typeface="+mn-ea"/>
                <a:cs typeface="+mn-cs"/>
              </a:defRPr>
            </a:lvl8pPr>
            <a:lvl9pPr marL="2743200">
              <a:defRPr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8FA3DEBF-8FFE-4EA2-8A32-205AB4AD4C79}" type="datetime'''15'',2'''''''''''''''''''''''''''''''''''''">
              <a:rPr lang="en-US" altLang="en-US" sz="900" smtClean="0">
                <a:solidFill>
                  <a:schemeClr val="tx1"/>
                </a:solidFill>
                <a:effectLst/>
              </a:rPr>
              <a:pPr/>
              <a:t>15,2</a:t>
            </a:fld>
            <a:endParaRPr lang="en-US" sz="9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386" name="Holder 3">
            <a:extLst>
              <a:ext uri="{FF2B5EF4-FFF2-40B4-BE49-F238E27FC236}">
                <a16:creationId xmlns:a16="http://schemas.microsoft.com/office/drawing/2014/main" id="{035425D3-2B9C-4FC5-96EB-5F1E4B7792A7}"/>
              </a:ext>
            </a:extLst>
          </p:cNvPr>
          <p:cNvSpPr>
            <a:spLocks noGrp="1"/>
          </p:cNvSpPr>
          <p:nvPr>
            <p:custDataLst>
              <p:tags r:id="rId189"/>
            </p:custDataLst>
          </p:nvPr>
        </p:nvSpPr>
        <p:spPr bwMode="gray">
          <a:xfrm>
            <a:off x="9130283" y="4401854"/>
            <a:ext cx="231775" cy="12382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bg1"/>
                </a:solidFill>
              </a14:hiddenFill>
            </a:ext>
          </a:extLst>
        </p:spPr>
        <p:txBody>
          <a:bodyPr vert="horz" wrap="none" lIns="15875" tIns="0" rIns="15875" bIns="0" numCol="1" spcCol="0" anchor="b" anchorCtr="0">
            <a:noAutofit/>
          </a:bodyPr>
          <a:lstStyle>
            <a:lvl1pPr marL="0">
              <a:defRPr sz="200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342900">
              <a:defRPr>
                <a:latin typeface="+mn-lt"/>
                <a:ea typeface="+mn-ea"/>
                <a:cs typeface="+mn-cs"/>
              </a:defRPr>
            </a:lvl2pPr>
            <a:lvl3pPr marL="685800">
              <a:defRPr>
                <a:latin typeface="+mn-lt"/>
                <a:ea typeface="+mn-ea"/>
                <a:cs typeface="+mn-cs"/>
              </a:defRPr>
            </a:lvl3pPr>
            <a:lvl4pPr marL="1028700">
              <a:defRPr>
                <a:latin typeface="+mn-lt"/>
                <a:ea typeface="+mn-ea"/>
                <a:cs typeface="+mn-cs"/>
              </a:defRPr>
            </a:lvl4pPr>
            <a:lvl5pPr marL="1371600">
              <a:defRPr>
                <a:latin typeface="+mn-lt"/>
                <a:ea typeface="+mn-ea"/>
                <a:cs typeface="+mn-cs"/>
              </a:defRPr>
            </a:lvl5pPr>
            <a:lvl6pPr marL="1714500">
              <a:defRPr>
                <a:latin typeface="+mn-lt"/>
                <a:ea typeface="+mn-ea"/>
                <a:cs typeface="+mn-cs"/>
              </a:defRPr>
            </a:lvl6pPr>
            <a:lvl7pPr marL="2057400">
              <a:defRPr>
                <a:latin typeface="+mn-lt"/>
                <a:ea typeface="+mn-ea"/>
                <a:cs typeface="+mn-cs"/>
              </a:defRPr>
            </a:lvl7pPr>
            <a:lvl8pPr marL="2400300">
              <a:defRPr>
                <a:latin typeface="+mn-lt"/>
                <a:ea typeface="+mn-ea"/>
                <a:cs typeface="+mn-cs"/>
              </a:defRPr>
            </a:lvl8pPr>
            <a:lvl9pPr marL="2743200">
              <a:defRPr>
                <a:latin typeface="+mn-lt"/>
                <a:ea typeface="+mn-ea"/>
                <a:cs typeface="+mn-cs"/>
              </a:defRPr>
            </a:lvl9pPr>
          </a:lstStyle>
          <a:p>
            <a:pPr algn="ctr">
              <a:lnSpc>
                <a:spcPct val="90000"/>
              </a:lnSpc>
              <a:spcBef>
                <a:spcPct val="0"/>
              </a:spcBef>
              <a:spcAft>
                <a:spcPct val="0"/>
              </a:spcAft>
            </a:pPr>
            <a:fld id="{CD3A9501-B2D2-4E5F-A659-CE40E832D720}" type="datetime'''''1''''''''''''2'''''''''''''''''''',''''''''''''''''7'''">
              <a:rPr lang="en-US" altLang="en-US" sz="900" smtClean="0">
                <a:solidFill>
                  <a:schemeClr val="tx1"/>
                </a:solidFill>
              </a:rPr>
              <a:pPr/>
              <a:t>12,7</a:t>
            </a:fld>
            <a:endParaRPr lang="en-US" sz="900" dirty="0">
              <a:solidFill>
                <a:schemeClr val="tx1"/>
              </a:solidFill>
              <a:sym typeface="+mn-lt"/>
            </a:endParaRPr>
          </a:p>
        </p:txBody>
      </p:sp>
      <p:sp>
        <p:nvSpPr>
          <p:cNvPr id="206" name="Заголовок 2">
            <a:extLst>
              <a:ext uri="{FF2B5EF4-FFF2-40B4-BE49-F238E27FC236}">
                <a16:creationId xmlns:a16="http://schemas.microsoft.com/office/drawing/2014/main" id="{D1D8CA4C-A494-4EDC-87D0-C4BB480660F9}"/>
              </a:ext>
            </a:extLst>
          </p:cNvPr>
          <p:cNvSpPr txBox="1">
            <a:spLocks/>
          </p:cNvSpPr>
          <p:nvPr/>
        </p:nvSpPr>
        <p:spPr>
          <a:xfrm>
            <a:off x="-2526" y="359337"/>
            <a:ext cx="9721201" cy="492443"/>
          </a:xfrm>
          <a:prstGeom prst="rect">
            <a:avLst/>
          </a:prstGeom>
          <a:noFill/>
        </p:spPr>
        <p:txBody>
          <a:bodyPr vert="horz" wrap="square" lIns="0" tIns="0" rIns="0" bIns="0" rtlCol="0" anchor="t">
            <a:spAutoFit/>
          </a:bodyPr>
          <a:lstStyle>
            <a:lvl1pPr marL="536575" indent="0">
              <a:defRPr sz="3200" b="1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marL="534988" defTabSz="914400"/>
            <a:r>
              <a:rPr lang="en-US" dirty="0"/>
              <a:t>The energy crisis in Europe: prices up, </a:t>
            </a:r>
            <a:r>
              <a:rPr lang="en-US" dirty="0">
                <a:solidFill>
                  <a:srgbClr val="FF0000"/>
                </a:solidFill>
              </a:rPr>
              <a:t>supplies down</a:t>
            </a:r>
            <a:endParaRPr lang="uk-UA" dirty="0">
              <a:solidFill>
                <a:srgbClr val="FF0000"/>
              </a:solidFill>
            </a:endParaRPr>
          </a:p>
        </p:txBody>
      </p:sp>
      <p:sp>
        <p:nvSpPr>
          <p:cNvPr id="208" name="Місце для тексту 2">
            <a:extLst>
              <a:ext uri="{FF2B5EF4-FFF2-40B4-BE49-F238E27FC236}">
                <a16:creationId xmlns:a16="http://schemas.microsoft.com/office/drawing/2014/main" id="{CEFBD2EE-73B6-4768-932D-18A004EA1AA7}"/>
              </a:ext>
            </a:extLst>
          </p:cNvPr>
          <p:cNvSpPr>
            <a:spLocks noGrp="1"/>
          </p:cNvSpPr>
          <p:nvPr>
            <p:custDataLst>
              <p:tags r:id="rId190"/>
            </p:custDataLst>
          </p:nvPr>
        </p:nvSpPr>
        <p:spPr bwMode="auto">
          <a:xfrm>
            <a:off x="9474064" y="5800440"/>
            <a:ext cx="2127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000" dirty="0">
                <a:solidFill>
                  <a:srgbClr val="000000"/>
                </a:solidFill>
              </a:rPr>
              <a:t>Sept</a:t>
            </a:r>
            <a:endParaRPr kumimoji="0" lang="uk-UA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213" name="Місце для тексту 2">
            <a:extLst>
              <a:ext uri="{FF2B5EF4-FFF2-40B4-BE49-F238E27FC236}">
                <a16:creationId xmlns:a16="http://schemas.microsoft.com/office/drawing/2014/main" id="{04180FB4-07F3-4113-A443-23B4880E74CC}"/>
              </a:ext>
            </a:extLst>
          </p:cNvPr>
          <p:cNvSpPr>
            <a:spLocks noGrp="1"/>
          </p:cNvSpPr>
          <p:nvPr>
            <p:custDataLst>
              <p:tags r:id="rId191"/>
            </p:custDataLst>
          </p:nvPr>
        </p:nvSpPr>
        <p:spPr bwMode="auto">
          <a:xfrm>
            <a:off x="10180501" y="5800440"/>
            <a:ext cx="212725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000" dirty="0">
                <a:solidFill>
                  <a:srgbClr val="000000"/>
                </a:solidFill>
              </a:rPr>
              <a:t>Nov</a:t>
            </a:r>
            <a:endParaRPr kumimoji="0" lang="uk-UA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214" name="Місце для тексту 2">
            <a:extLst>
              <a:ext uri="{FF2B5EF4-FFF2-40B4-BE49-F238E27FC236}">
                <a16:creationId xmlns:a16="http://schemas.microsoft.com/office/drawing/2014/main" id="{C9BC7689-0B29-4135-B782-4680F91B1EB2}"/>
              </a:ext>
            </a:extLst>
          </p:cNvPr>
          <p:cNvSpPr>
            <a:spLocks noGrp="1"/>
          </p:cNvSpPr>
          <p:nvPr>
            <p:custDataLst>
              <p:tags r:id="rId192"/>
            </p:custDataLst>
          </p:nvPr>
        </p:nvSpPr>
        <p:spPr bwMode="auto">
          <a:xfrm>
            <a:off x="10545626" y="5800440"/>
            <a:ext cx="1905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000" dirty="0">
                <a:solidFill>
                  <a:srgbClr val="000000"/>
                </a:solidFill>
              </a:rPr>
              <a:t>Dec</a:t>
            </a:r>
            <a:endParaRPr kumimoji="0" lang="uk-UA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  <p:sp>
        <p:nvSpPr>
          <p:cNvPr id="217" name="Місце для тексту 2">
            <a:extLst>
              <a:ext uri="{FF2B5EF4-FFF2-40B4-BE49-F238E27FC236}">
                <a16:creationId xmlns:a16="http://schemas.microsoft.com/office/drawing/2014/main" id="{2090EB24-0E6A-487C-812C-F8753CA6C735}"/>
              </a:ext>
            </a:extLst>
          </p:cNvPr>
          <p:cNvSpPr>
            <a:spLocks noGrp="1"/>
          </p:cNvSpPr>
          <p:nvPr>
            <p:custDataLst>
              <p:tags r:id="rId193"/>
            </p:custDataLst>
          </p:nvPr>
        </p:nvSpPr>
        <p:spPr bwMode="auto">
          <a:xfrm>
            <a:off x="9813789" y="5800440"/>
            <a:ext cx="241300" cy="1365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t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lvl="0" indent="0" algn="ctr">
              <a:spcBef>
                <a:spcPct val="0"/>
              </a:spcBef>
              <a:spcAft>
                <a:spcPct val="0"/>
              </a:spcAft>
              <a:buNone/>
              <a:defRPr/>
            </a:pPr>
            <a:r>
              <a:rPr lang="en-US" altLang="en-US" sz="1000" dirty="0">
                <a:solidFill>
                  <a:srgbClr val="000000"/>
                </a:solidFill>
              </a:rPr>
              <a:t>Oct</a:t>
            </a:r>
            <a:endParaRPr kumimoji="0" lang="uk-UA" sz="1000" b="0" i="0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sym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377220200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3" name="Рисунок 22">
            <a:extLst>
              <a:ext uri="{FF2B5EF4-FFF2-40B4-BE49-F238E27FC236}">
                <a16:creationId xmlns:a16="http://schemas.microsoft.com/office/drawing/2014/main" id="{E0CEBA94-8CA9-455C-A766-CB24E62EA8C5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71193" y="3683619"/>
            <a:ext cx="2024707" cy="1347352"/>
          </a:xfrm>
          <a:prstGeom prst="rect">
            <a:avLst/>
          </a:prstGeom>
        </p:spPr>
      </p:pic>
      <p:sp>
        <p:nvSpPr>
          <p:cNvPr id="18" name="Овал 17">
            <a:extLst>
              <a:ext uri="{FF2B5EF4-FFF2-40B4-BE49-F238E27FC236}">
                <a16:creationId xmlns:a16="http://schemas.microsoft.com/office/drawing/2014/main" id="{9B134580-5AB6-44C8-B383-38A1502418D5}"/>
              </a:ext>
            </a:extLst>
          </p:cNvPr>
          <p:cNvSpPr/>
          <p:nvPr/>
        </p:nvSpPr>
        <p:spPr>
          <a:xfrm>
            <a:off x="6706816" y="836312"/>
            <a:ext cx="5365848" cy="5365848"/>
          </a:xfrm>
          <a:prstGeom prst="ellipse">
            <a:avLst/>
          </a:prstGeom>
          <a:solidFill>
            <a:schemeClr val="accent1">
              <a:lumMod val="40000"/>
              <a:lumOff val="6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>
              <a:solidFill>
                <a:schemeClr val="bg1"/>
              </a:solidFill>
            </a:endParaRPr>
          </a:p>
        </p:txBody>
      </p:sp>
      <p:pic>
        <p:nvPicPr>
          <p:cNvPr id="11" name="Рисунок 10" descr="Зображення, що містить особа, чоловік, одяг, костюм&#10;&#10;Автоматично згенерований опис">
            <a:extLst>
              <a:ext uri="{FF2B5EF4-FFF2-40B4-BE49-F238E27FC236}">
                <a16:creationId xmlns:a16="http://schemas.microsoft.com/office/drawing/2014/main" id="{4C453DC9-49C8-4D75-AB1C-CE79A15C3BE2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98602" y="1128098"/>
            <a:ext cx="4782276" cy="4782276"/>
          </a:xfrm>
          <a:prstGeom prst="rect">
            <a:avLst/>
          </a:prstGeom>
        </p:spPr>
      </p:pic>
      <p:sp>
        <p:nvSpPr>
          <p:cNvPr id="13" name="Овал 12">
            <a:extLst>
              <a:ext uri="{FF2B5EF4-FFF2-40B4-BE49-F238E27FC236}">
                <a16:creationId xmlns:a16="http://schemas.microsoft.com/office/drawing/2014/main" id="{3AC0B076-32A9-4597-8F44-17B548653612}"/>
              </a:ext>
            </a:extLst>
          </p:cNvPr>
          <p:cNvSpPr/>
          <p:nvPr/>
        </p:nvSpPr>
        <p:spPr>
          <a:xfrm>
            <a:off x="4835860" y="3237458"/>
            <a:ext cx="2672916" cy="2672916"/>
          </a:xfrm>
          <a:prstGeom prst="ellipse">
            <a:avLst/>
          </a:prstGeom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>
              <a:solidFill>
                <a:schemeClr val="bg1"/>
              </a:solidFill>
            </a:endParaRPr>
          </a:p>
        </p:txBody>
      </p:sp>
      <p:sp>
        <p:nvSpPr>
          <p:cNvPr id="14" name="Номер слайда 13"/>
          <p:cNvSpPr>
            <a:spLocks noGrp="1"/>
          </p:cNvSpPr>
          <p:nvPr>
            <p:ph type="sldNum" sz="quarter" idx="12"/>
          </p:nvPr>
        </p:nvSpPr>
        <p:spPr>
          <a:xfrm>
            <a:off x="11582399" y="6333206"/>
            <a:ext cx="609601" cy="508000"/>
          </a:xfrm>
          <a:noFill/>
        </p:spPr>
        <p:txBody>
          <a:bodyPr/>
          <a:lstStyle/>
          <a:p>
            <a:pPr marL="25400"/>
            <a:fld id="{81D60167-4931-47E6-BA6A-407CBD079E47}" type="slidenum">
              <a:rPr lang="uk-UA" spc="-10">
                <a:solidFill>
                  <a:srgbClr val="00A0E0"/>
                </a:solidFill>
              </a:rPr>
              <a:pPr marL="25400"/>
              <a:t>4</a:t>
            </a:fld>
            <a:endParaRPr lang="uk-UA" spc="-10" dirty="0">
              <a:solidFill>
                <a:srgbClr val="00A0E0"/>
              </a:solidFill>
            </a:endParaRPr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D424E0E-42E2-475F-8FA4-0B02616F84E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2526" y="359337"/>
            <a:ext cx="8666694" cy="492443"/>
          </a:xfrm>
        </p:spPr>
        <p:txBody>
          <a:bodyPr/>
          <a:lstStyle/>
          <a:p>
            <a:pPr marL="534988"/>
            <a:r>
              <a:rPr lang="en-US" dirty="0"/>
              <a:t>France in the energy crisis</a:t>
            </a:r>
            <a:endParaRPr lang="uk-UA" dirty="0"/>
          </a:p>
        </p:txBody>
      </p:sp>
      <p:sp>
        <p:nvSpPr>
          <p:cNvPr id="5" name="Місце для тексту 4">
            <a:extLst>
              <a:ext uri="{FF2B5EF4-FFF2-40B4-BE49-F238E27FC236}">
                <a16:creationId xmlns:a16="http://schemas.microsoft.com/office/drawing/2014/main" id="{588C97F3-004F-4A51-A708-5739991AD51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043771" y="6510262"/>
            <a:ext cx="4371669" cy="156086"/>
          </a:xfrm>
        </p:spPr>
        <p:txBody>
          <a:bodyPr/>
          <a:lstStyle/>
          <a:p>
            <a:r>
              <a:rPr lang="en-US" dirty="0"/>
              <a:t>***According to service-public.fr</a:t>
            </a:r>
            <a:endParaRPr lang="uk-UA" dirty="0"/>
          </a:p>
        </p:txBody>
      </p:sp>
      <p:sp>
        <p:nvSpPr>
          <p:cNvPr id="6" name="Місце для тексту 5">
            <a:extLst>
              <a:ext uri="{FF2B5EF4-FFF2-40B4-BE49-F238E27FC236}">
                <a16:creationId xmlns:a16="http://schemas.microsoft.com/office/drawing/2014/main" id="{06E00B11-1B8E-48C4-B669-CCBDECDC295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47427" y="1556792"/>
            <a:ext cx="5544617" cy="1477328"/>
          </a:xfrm>
        </p:spPr>
        <p:txBody>
          <a:bodyPr/>
          <a:lstStyle/>
          <a:p>
            <a:pPr lvl="0" fontAlgn="base"/>
            <a:r>
              <a:rPr lang="uk-UA" dirty="0" err="1"/>
              <a:t>Regulated</a:t>
            </a:r>
            <a:r>
              <a:rPr lang="uk-UA" dirty="0"/>
              <a:t> </a:t>
            </a:r>
            <a:r>
              <a:rPr lang="uk-UA" dirty="0" err="1"/>
              <a:t>gas</a:t>
            </a:r>
            <a:r>
              <a:rPr lang="uk-UA" dirty="0"/>
              <a:t> </a:t>
            </a:r>
            <a:r>
              <a:rPr lang="uk-UA" dirty="0" err="1"/>
              <a:t>prices</a:t>
            </a:r>
            <a:r>
              <a:rPr lang="uk-UA" dirty="0"/>
              <a:t> </a:t>
            </a:r>
            <a:r>
              <a:rPr lang="uk-UA" dirty="0" err="1"/>
              <a:t>went</a:t>
            </a:r>
            <a:r>
              <a:rPr lang="uk-UA" dirty="0"/>
              <a:t> </a:t>
            </a:r>
            <a:r>
              <a:rPr lang="uk-UA" dirty="0" err="1"/>
              <a:t>up</a:t>
            </a:r>
            <a:r>
              <a:rPr lang="uk-UA" dirty="0"/>
              <a:t> </a:t>
            </a:r>
            <a:r>
              <a:rPr lang="uk-UA" dirty="0" err="1"/>
              <a:t>by</a:t>
            </a:r>
            <a:r>
              <a:rPr lang="uk-UA" dirty="0"/>
              <a:t> 12.6% </a:t>
            </a:r>
            <a:r>
              <a:rPr lang="uk-UA" dirty="0" err="1"/>
              <a:t>in</a:t>
            </a:r>
            <a:r>
              <a:rPr lang="uk-UA" dirty="0"/>
              <a:t> </a:t>
            </a:r>
            <a:r>
              <a:rPr lang="uk-UA" dirty="0" err="1"/>
              <a:t>October</a:t>
            </a:r>
            <a:r>
              <a:rPr lang="uk-UA" dirty="0"/>
              <a:t> </a:t>
            </a:r>
            <a:r>
              <a:rPr lang="en-US" dirty="0"/>
              <a:t>2021</a:t>
            </a:r>
            <a:r>
              <a:rPr lang="uk-UA" dirty="0"/>
              <a:t> </a:t>
            </a:r>
            <a:r>
              <a:rPr lang="uk-UA" dirty="0" err="1"/>
              <a:t>and</a:t>
            </a:r>
            <a:r>
              <a:rPr lang="uk-UA" dirty="0"/>
              <a:t> </a:t>
            </a:r>
            <a:r>
              <a:rPr lang="uk-UA" dirty="0" err="1"/>
              <a:t>have</a:t>
            </a:r>
            <a:r>
              <a:rPr lang="uk-UA" dirty="0"/>
              <a:t> </a:t>
            </a:r>
            <a:r>
              <a:rPr lang="uk-UA" dirty="0" err="1"/>
              <a:t>been</a:t>
            </a:r>
            <a:r>
              <a:rPr lang="uk-UA" dirty="0"/>
              <a:t> </a:t>
            </a:r>
            <a:r>
              <a:rPr lang="uk-UA" dirty="0" err="1"/>
              <a:t>frozen</a:t>
            </a:r>
            <a:r>
              <a:rPr lang="uk-UA" dirty="0"/>
              <a:t> </a:t>
            </a:r>
            <a:r>
              <a:rPr lang="uk-UA" dirty="0" err="1"/>
              <a:t>until</a:t>
            </a:r>
            <a:r>
              <a:rPr lang="uk-UA" dirty="0"/>
              <a:t> </a:t>
            </a:r>
            <a:r>
              <a:rPr lang="en-US" dirty="0"/>
              <a:t>June 2022</a:t>
            </a:r>
            <a:r>
              <a:rPr lang="uk-UA" dirty="0"/>
              <a:t>. </a:t>
            </a:r>
          </a:p>
          <a:p>
            <a:pPr fontAlgn="base"/>
            <a:r>
              <a:rPr lang="uk-UA" dirty="0"/>
              <a:t> </a:t>
            </a:r>
          </a:p>
          <a:p>
            <a:pPr lvl="0" fontAlgn="base"/>
            <a:r>
              <a:rPr lang="en-US" dirty="0"/>
              <a:t>E</a:t>
            </a:r>
            <a:r>
              <a:rPr lang="uk-UA" dirty="0" err="1"/>
              <a:t>lectricity</a:t>
            </a:r>
            <a:r>
              <a:rPr lang="uk-UA" dirty="0"/>
              <a:t> </a:t>
            </a:r>
            <a:r>
              <a:rPr lang="uk-UA" dirty="0" err="1"/>
              <a:t>prices</a:t>
            </a:r>
            <a:r>
              <a:rPr lang="en-US" dirty="0"/>
              <a:t> increased by </a:t>
            </a:r>
            <a:r>
              <a:rPr lang="uk-UA" dirty="0"/>
              <a:t>4%</a:t>
            </a:r>
            <a:r>
              <a:rPr lang="en-US" dirty="0"/>
              <a:t> in 2021</a:t>
            </a:r>
            <a:r>
              <a:rPr lang="uk-UA" dirty="0"/>
              <a:t>.</a:t>
            </a:r>
          </a:p>
          <a:p>
            <a:pPr fontAlgn="base"/>
            <a:r>
              <a:rPr lang="uk-UA" dirty="0"/>
              <a:t> </a:t>
            </a:r>
          </a:p>
          <a:p>
            <a:pPr lvl="0"/>
            <a:r>
              <a:rPr lang="uk-UA" dirty="0"/>
              <a:t>5.8 </a:t>
            </a:r>
            <a:r>
              <a:rPr lang="uk-UA" dirty="0" err="1"/>
              <a:t>million</a:t>
            </a:r>
            <a:r>
              <a:rPr lang="uk-UA" dirty="0"/>
              <a:t> </a:t>
            </a:r>
            <a:r>
              <a:rPr lang="uk-UA" dirty="0" err="1"/>
              <a:t>lower-income</a:t>
            </a:r>
            <a:r>
              <a:rPr lang="uk-UA" dirty="0"/>
              <a:t> </a:t>
            </a:r>
            <a:r>
              <a:rPr lang="uk-UA" dirty="0" err="1"/>
              <a:t>households</a:t>
            </a:r>
            <a:r>
              <a:rPr lang="uk-UA" dirty="0"/>
              <a:t> </a:t>
            </a:r>
            <a:r>
              <a:rPr lang="uk-UA" dirty="0" err="1"/>
              <a:t>received</a:t>
            </a:r>
            <a:r>
              <a:rPr lang="uk-UA" dirty="0"/>
              <a:t> a €100 "</a:t>
            </a:r>
            <a:r>
              <a:rPr lang="uk-UA" dirty="0" err="1"/>
              <a:t>chèque</a:t>
            </a:r>
            <a:r>
              <a:rPr lang="uk-UA" dirty="0"/>
              <a:t> </a:t>
            </a:r>
            <a:r>
              <a:rPr lang="uk-UA" dirty="0" err="1"/>
              <a:t>énergie</a:t>
            </a:r>
            <a:r>
              <a:rPr lang="uk-UA" dirty="0"/>
              <a:t>" </a:t>
            </a:r>
            <a:r>
              <a:rPr lang="en-US" dirty="0"/>
              <a:t>in December 2021</a:t>
            </a:r>
            <a:r>
              <a:rPr lang="uk-UA" dirty="0"/>
              <a:t>.</a:t>
            </a:r>
          </a:p>
          <a:p>
            <a:endParaRPr lang="uk-UA" dirty="0"/>
          </a:p>
        </p:txBody>
      </p:sp>
      <p:sp>
        <p:nvSpPr>
          <p:cNvPr id="7" name="Прямокутник 6">
            <a:extLst>
              <a:ext uri="{FF2B5EF4-FFF2-40B4-BE49-F238E27FC236}">
                <a16:creationId xmlns:a16="http://schemas.microsoft.com/office/drawing/2014/main" id="{66038169-9526-4F67-948B-BE410EBE9A76}"/>
              </a:ext>
            </a:extLst>
          </p:cNvPr>
          <p:cNvSpPr/>
          <p:nvPr/>
        </p:nvSpPr>
        <p:spPr>
          <a:xfrm>
            <a:off x="5102356" y="3901325"/>
            <a:ext cx="2351452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0"/>
              </a:spcAft>
            </a:pPr>
            <a:r>
              <a:rPr lang="uk-UA" sz="1600" dirty="0" err="1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Economy</a:t>
            </a:r>
            <a:r>
              <a:rPr lang="uk-UA" sz="1600" dirty="0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uk-UA" sz="1600" dirty="0" err="1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Minister</a:t>
            </a:r>
            <a:endParaRPr lang="en-US" sz="1600" dirty="0">
              <a:solidFill>
                <a:schemeClr val="bg1"/>
              </a:solidFill>
              <a:latin typeface="Calibri" panose="020F0502020204030204" pitchFamily="34" charset="0"/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pPr>
              <a:spcAft>
                <a:spcPts val="0"/>
              </a:spcAft>
            </a:pPr>
            <a:r>
              <a:rPr lang="uk-UA" sz="1600" b="1" dirty="0" err="1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Bruno</a:t>
            </a:r>
            <a:r>
              <a:rPr lang="uk-UA" sz="1600" b="1" dirty="0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uk-UA" sz="1600" b="1" dirty="0" err="1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Le</a:t>
            </a:r>
            <a:r>
              <a:rPr lang="uk-UA" sz="1600" b="1" dirty="0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uk-UA" sz="1600" b="1" dirty="0" err="1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Maire</a:t>
            </a:r>
            <a:r>
              <a:rPr lang="en-US" sz="1600" b="1" dirty="0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:</a:t>
            </a:r>
          </a:p>
          <a:p>
            <a:pPr>
              <a:spcAft>
                <a:spcPts val="0"/>
              </a:spcAft>
            </a:pPr>
            <a:r>
              <a:rPr lang="uk-UA" sz="1600" dirty="0" err="1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f</a:t>
            </a:r>
            <a:r>
              <a:rPr lang="uk-UA" sz="1600" dirty="0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en-US" sz="1600" dirty="0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e</a:t>
            </a:r>
            <a:r>
              <a:rPr lang="uk-UA" sz="1600" dirty="0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uk-UA" sz="1600" dirty="0" err="1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had</a:t>
            </a:r>
            <a:r>
              <a:rPr lang="uk-UA" sz="1600" dirty="0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uk-UA" sz="1600" dirty="0" err="1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not</a:t>
            </a:r>
            <a:r>
              <a:rPr lang="uk-UA" sz="1600" dirty="0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uk-UA" sz="1600" dirty="0" err="1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intervened</a:t>
            </a:r>
            <a:r>
              <a:rPr lang="uk-UA" sz="1600" dirty="0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,</a:t>
            </a:r>
            <a:endParaRPr lang="en-US" sz="1600" dirty="0">
              <a:solidFill>
                <a:schemeClr val="bg1"/>
              </a:solidFill>
              <a:latin typeface="Calibri" panose="020F0502020204030204" pitchFamily="34" charset="0"/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pPr>
              <a:spcAft>
                <a:spcPts val="0"/>
              </a:spcAft>
            </a:pPr>
            <a:r>
              <a:rPr lang="uk-UA" sz="1600" dirty="0" err="1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prices</a:t>
            </a:r>
            <a:r>
              <a:rPr lang="uk-UA" sz="1600" dirty="0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uk-UA" sz="1600" dirty="0" err="1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ould</a:t>
            </a:r>
            <a:r>
              <a:rPr lang="uk-UA" sz="1600" dirty="0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uk-UA" sz="1600" dirty="0" err="1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be</a:t>
            </a:r>
            <a:r>
              <a:rPr lang="uk-UA" sz="1600" dirty="0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uk-UA" sz="1600" dirty="0" err="1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going</a:t>
            </a:r>
            <a:r>
              <a:rPr lang="uk-UA" sz="1600" dirty="0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</a:t>
            </a:r>
            <a:r>
              <a:rPr lang="uk-UA" sz="1600" dirty="0" err="1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up</a:t>
            </a:r>
            <a:endParaRPr lang="en-US" sz="1600" dirty="0">
              <a:solidFill>
                <a:schemeClr val="bg1"/>
              </a:solidFill>
              <a:latin typeface="Calibri" panose="020F0502020204030204" pitchFamily="34" charset="0"/>
              <a:ea typeface="Times New Roman" panose="02020603050405020304" pitchFamily="18" charset="0"/>
              <a:cs typeface="Calibri" panose="020F0502020204030204" pitchFamily="34" charset="0"/>
            </a:endParaRPr>
          </a:p>
          <a:p>
            <a:pPr>
              <a:spcAft>
                <a:spcPts val="0"/>
              </a:spcAft>
            </a:pPr>
            <a:r>
              <a:rPr lang="uk-UA" sz="1600" dirty="0" err="1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by</a:t>
            </a:r>
            <a:r>
              <a:rPr lang="uk-UA" sz="1600" dirty="0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a </a:t>
            </a:r>
            <a:r>
              <a:rPr lang="uk-UA" sz="1600" dirty="0" err="1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whopping</a:t>
            </a:r>
            <a:r>
              <a:rPr lang="uk-UA" sz="1600" dirty="0">
                <a:solidFill>
                  <a:schemeClr val="bg1"/>
                </a:solidFill>
                <a:latin typeface="Calibri" panose="020F0502020204030204" pitchFamily="34" charset="0"/>
                <a:ea typeface="Times New Roman" panose="02020603050405020304" pitchFamily="18" charset="0"/>
                <a:cs typeface="Calibri" panose="020F0502020204030204" pitchFamily="34" charset="0"/>
              </a:rPr>
              <a:t> 45%</a:t>
            </a:r>
            <a:endParaRPr lang="uk-UA" sz="1600" dirty="0">
              <a:solidFill>
                <a:schemeClr val="bg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5" name="Овал 14">
            <a:extLst>
              <a:ext uri="{FF2B5EF4-FFF2-40B4-BE49-F238E27FC236}">
                <a16:creationId xmlns:a16="http://schemas.microsoft.com/office/drawing/2014/main" id="{92BD6429-0F70-4E69-A7DE-51F2F8F37A1C}"/>
              </a:ext>
            </a:extLst>
          </p:cNvPr>
          <p:cNvSpPr/>
          <p:nvPr/>
        </p:nvSpPr>
        <p:spPr>
          <a:xfrm>
            <a:off x="551249" y="1559606"/>
            <a:ext cx="270817" cy="270817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>
              <a:solidFill>
                <a:srgbClr val="C00000"/>
              </a:solidFill>
            </a:endParaRPr>
          </a:p>
        </p:txBody>
      </p:sp>
      <p:sp>
        <p:nvSpPr>
          <p:cNvPr id="16" name="Овал 15">
            <a:extLst>
              <a:ext uri="{FF2B5EF4-FFF2-40B4-BE49-F238E27FC236}">
                <a16:creationId xmlns:a16="http://schemas.microsoft.com/office/drawing/2014/main" id="{F95E2276-CE80-4243-B30A-1E6B244D5883}"/>
              </a:ext>
            </a:extLst>
          </p:cNvPr>
          <p:cNvSpPr/>
          <p:nvPr/>
        </p:nvSpPr>
        <p:spPr>
          <a:xfrm>
            <a:off x="551249" y="2267432"/>
            <a:ext cx="270817" cy="270817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>
              <a:solidFill>
                <a:srgbClr val="C00000"/>
              </a:solidFill>
            </a:endParaRPr>
          </a:p>
        </p:txBody>
      </p:sp>
      <p:sp>
        <p:nvSpPr>
          <p:cNvPr id="17" name="Овал 16">
            <a:extLst>
              <a:ext uri="{FF2B5EF4-FFF2-40B4-BE49-F238E27FC236}">
                <a16:creationId xmlns:a16="http://schemas.microsoft.com/office/drawing/2014/main" id="{58669DA5-CA8C-4BFB-984E-F9393B267FEF}"/>
              </a:ext>
            </a:extLst>
          </p:cNvPr>
          <p:cNvSpPr/>
          <p:nvPr/>
        </p:nvSpPr>
        <p:spPr>
          <a:xfrm>
            <a:off x="551249" y="2763303"/>
            <a:ext cx="270817" cy="270817"/>
          </a:xfrm>
          <a:prstGeom prst="ellipse">
            <a:avLst/>
          </a:prstGeom>
          <a:solidFill>
            <a:srgbClr val="C0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>
              <a:solidFill>
                <a:srgbClr val="C00000"/>
              </a:solidFill>
            </a:endParaRPr>
          </a:p>
        </p:txBody>
      </p:sp>
      <p:pic>
        <p:nvPicPr>
          <p:cNvPr id="19" name="Рисунок 18" descr="Зображення, що містить захід сонця, підйомний кран&#10;&#10;Автоматично згенерований опис">
            <a:extLst>
              <a:ext uri="{FF2B5EF4-FFF2-40B4-BE49-F238E27FC236}">
                <a16:creationId xmlns:a16="http://schemas.microsoft.com/office/drawing/2014/main" id="{8DA8F7C7-E5D6-418E-A0E3-E51EA59795A3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4489" y="3683618"/>
            <a:ext cx="3224666" cy="1347353"/>
          </a:xfrm>
          <a:prstGeom prst="rect">
            <a:avLst/>
          </a:prstGeom>
        </p:spPr>
      </p:pic>
      <p:pic>
        <p:nvPicPr>
          <p:cNvPr id="21" name="Рисунок 20" descr="Зображення, що містить особа, надворі, група, люди&#10;&#10;Автоматично згенерований опис">
            <a:extLst>
              <a:ext uri="{FF2B5EF4-FFF2-40B4-BE49-F238E27FC236}">
                <a16:creationId xmlns:a16="http://schemas.microsoft.com/office/drawing/2014/main" id="{19302D6D-5E3A-4AFF-830C-E1047F34E319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361" y="5030971"/>
            <a:ext cx="2436039" cy="182702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043910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Місце для номера слайда 1">
            <a:extLst>
              <a:ext uri="{FF2B5EF4-FFF2-40B4-BE49-F238E27FC236}">
                <a16:creationId xmlns:a16="http://schemas.microsoft.com/office/drawing/2014/main" id="{44B89D00-9D58-44E9-8B15-345BD3591D4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82399" y="6338791"/>
            <a:ext cx="609601" cy="508000"/>
          </a:xfrm>
        </p:spPr>
        <p:txBody>
          <a:bodyPr/>
          <a:lstStyle/>
          <a:p>
            <a:pPr marL="25400"/>
            <a:fld id="{81D60167-4931-47E6-BA6A-407CBD079E47}" type="slidenum">
              <a:rPr lang="uk-UA" spc="-10" smtClean="0"/>
              <a:pPr marL="25400"/>
              <a:t>5</a:t>
            </a:fld>
            <a:endParaRPr lang="uk-UA" spc="-10" dirty="0"/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F6D853B7-9B9C-4EFE-901E-283B1ADF85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2526" y="359337"/>
            <a:ext cx="8666694" cy="492443"/>
          </a:xfrm>
        </p:spPr>
        <p:txBody>
          <a:bodyPr/>
          <a:lstStyle/>
          <a:p>
            <a:pPr marL="534988"/>
            <a:r>
              <a:rPr lang="en-US" dirty="0"/>
              <a:t>How did we get here?</a:t>
            </a:r>
            <a:endParaRPr lang="uk-UA" dirty="0"/>
          </a:p>
        </p:txBody>
      </p:sp>
      <p:sp>
        <p:nvSpPr>
          <p:cNvPr id="5" name="Місце для тексту 4">
            <a:extLst>
              <a:ext uri="{FF2B5EF4-FFF2-40B4-BE49-F238E27FC236}">
                <a16:creationId xmlns:a16="http://schemas.microsoft.com/office/drawing/2014/main" id="{FB4EACE3-DC16-4D38-AC77-93528D96AF7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uk-UA"/>
          </a:p>
        </p:txBody>
      </p:sp>
      <p:sp>
        <p:nvSpPr>
          <p:cNvPr id="6" name="Місце для тексту 5">
            <a:extLst>
              <a:ext uri="{FF2B5EF4-FFF2-40B4-BE49-F238E27FC236}">
                <a16:creationId xmlns:a16="http://schemas.microsoft.com/office/drawing/2014/main" id="{08E48B2C-9352-4184-87C6-BC6BFA5AF8A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95401" y="1556792"/>
            <a:ext cx="4464495" cy="1723549"/>
          </a:xfrm>
        </p:spPr>
        <p:txBody>
          <a:bodyPr/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uk-UA" dirty="0" err="1"/>
              <a:t>The</a:t>
            </a:r>
            <a:r>
              <a:rPr lang="uk-UA" dirty="0"/>
              <a:t> </a:t>
            </a:r>
            <a:r>
              <a:rPr lang="en-US" dirty="0"/>
              <a:t>EU</a:t>
            </a:r>
            <a:r>
              <a:rPr lang="uk-UA" dirty="0"/>
              <a:t> </a:t>
            </a:r>
            <a:r>
              <a:rPr lang="uk-UA" dirty="0" err="1"/>
              <a:t>market</a:t>
            </a:r>
            <a:r>
              <a:rPr lang="uk-UA" dirty="0"/>
              <a:t> </a:t>
            </a:r>
            <a:r>
              <a:rPr lang="uk-UA" dirty="0" err="1"/>
              <a:t>is</a:t>
            </a:r>
            <a:r>
              <a:rPr lang="uk-UA" dirty="0"/>
              <a:t> </a:t>
            </a:r>
            <a:r>
              <a:rPr lang="uk-UA" dirty="0" err="1"/>
              <a:t>liberalized</a:t>
            </a:r>
            <a:r>
              <a:rPr lang="uk-UA" dirty="0"/>
              <a:t>, </a:t>
            </a:r>
            <a:r>
              <a:rPr lang="uk-UA" dirty="0" err="1"/>
              <a:t>and</a:t>
            </a:r>
            <a:r>
              <a:rPr lang="uk-UA" dirty="0"/>
              <a:t> </a:t>
            </a:r>
            <a:r>
              <a:rPr lang="uk-UA" dirty="0" err="1"/>
              <a:t>Russia</a:t>
            </a:r>
            <a:r>
              <a:rPr lang="uk-UA" dirty="0"/>
              <a:t> </a:t>
            </a:r>
            <a:r>
              <a:rPr lang="uk-UA" dirty="0" err="1"/>
              <a:t>is</a:t>
            </a:r>
            <a:r>
              <a:rPr lang="uk-UA" dirty="0"/>
              <a:t> </a:t>
            </a:r>
            <a:r>
              <a:rPr lang="uk-UA" dirty="0" err="1"/>
              <a:t>allowed</a:t>
            </a:r>
            <a:r>
              <a:rPr lang="uk-UA" dirty="0"/>
              <a:t> </a:t>
            </a:r>
            <a:r>
              <a:rPr lang="uk-UA" dirty="0" err="1"/>
              <a:t>to</a:t>
            </a:r>
            <a:r>
              <a:rPr lang="uk-UA" dirty="0"/>
              <a:t> </a:t>
            </a:r>
            <a:r>
              <a:rPr lang="uk-UA" dirty="0" err="1"/>
              <a:t>participate</a:t>
            </a:r>
            <a:r>
              <a:rPr lang="uk-UA" dirty="0"/>
              <a:t> </a:t>
            </a:r>
            <a:r>
              <a:rPr lang="uk-UA" dirty="0" err="1"/>
              <a:t>in</a:t>
            </a:r>
            <a:r>
              <a:rPr lang="uk-UA" dirty="0"/>
              <a:t> </a:t>
            </a:r>
            <a:r>
              <a:rPr lang="uk-UA" dirty="0" err="1"/>
              <a:t>it</a:t>
            </a:r>
            <a:endParaRPr lang="en-US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uk-UA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uk-UA" dirty="0"/>
              <a:t>EU </a:t>
            </a:r>
            <a:r>
              <a:rPr lang="uk-UA" dirty="0" err="1"/>
              <a:t>rules</a:t>
            </a:r>
            <a:r>
              <a:rPr lang="uk-UA" dirty="0"/>
              <a:t> </a:t>
            </a:r>
            <a:r>
              <a:rPr lang="uk-UA" dirty="0" err="1"/>
              <a:t>do</a:t>
            </a:r>
            <a:r>
              <a:rPr lang="uk-UA" dirty="0"/>
              <a:t> </a:t>
            </a:r>
            <a:r>
              <a:rPr lang="uk-UA" dirty="0" err="1"/>
              <a:t>not</a:t>
            </a:r>
            <a:r>
              <a:rPr lang="uk-UA" dirty="0"/>
              <a:t> </a:t>
            </a:r>
            <a:r>
              <a:rPr lang="uk-UA" dirty="0" err="1"/>
              <a:t>apply</a:t>
            </a:r>
            <a:r>
              <a:rPr lang="uk-UA" dirty="0"/>
              <a:t> </a:t>
            </a:r>
            <a:r>
              <a:rPr lang="uk-UA" dirty="0" err="1"/>
              <a:t>to</a:t>
            </a:r>
            <a:r>
              <a:rPr lang="uk-UA" dirty="0"/>
              <a:t> </a:t>
            </a:r>
            <a:r>
              <a:rPr lang="uk-UA" dirty="0" err="1"/>
              <a:t>Gazprom</a:t>
            </a:r>
            <a:endParaRPr lang="en-US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uk-UA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en-US" dirty="0"/>
              <a:t>Transit through the territory of Ukraine blocked by Gazprom for: EU, other Russian and Central Asian companies </a:t>
            </a:r>
            <a:endParaRPr lang="uk-UA" dirty="0"/>
          </a:p>
          <a:p>
            <a:endParaRPr lang="uk-UA" dirty="0"/>
          </a:p>
        </p:txBody>
      </p:sp>
      <p:sp>
        <p:nvSpPr>
          <p:cNvPr id="7" name="Овал 6">
            <a:extLst>
              <a:ext uri="{FF2B5EF4-FFF2-40B4-BE49-F238E27FC236}">
                <a16:creationId xmlns:a16="http://schemas.microsoft.com/office/drawing/2014/main" id="{E03ECDDC-FFEF-4CD9-8783-AEC7F75E91AD}"/>
              </a:ext>
            </a:extLst>
          </p:cNvPr>
          <p:cNvSpPr/>
          <p:nvPr/>
        </p:nvSpPr>
        <p:spPr>
          <a:xfrm>
            <a:off x="551249" y="1559606"/>
            <a:ext cx="270817" cy="270817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>
              <a:solidFill>
                <a:srgbClr val="C00000"/>
              </a:solidFill>
            </a:endParaRPr>
          </a:p>
        </p:txBody>
      </p:sp>
      <p:sp>
        <p:nvSpPr>
          <p:cNvPr id="8" name="Овал 7">
            <a:extLst>
              <a:ext uri="{FF2B5EF4-FFF2-40B4-BE49-F238E27FC236}">
                <a16:creationId xmlns:a16="http://schemas.microsoft.com/office/drawing/2014/main" id="{784700B0-CCB5-4E90-B5D6-AE026BE09A4F}"/>
              </a:ext>
            </a:extLst>
          </p:cNvPr>
          <p:cNvSpPr/>
          <p:nvPr/>
        </p:nvSpPr>
        <p:spPr>
          <a:xfrm>
            <a:off x="551249" y="2283157"/>
            <a:ext cx="270817" cy="270817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>
              <a:solidFill>
                <a:srgbClr val="C00000"/>
              </a:solidFill>
            </a:endParaRPr>
          </a:p>
        </p:txBody>
      </p:sp>
      <p:sp>
        <p:nvSpPr>
          <p:cNvPr id="9" name="Овал 8">
            <a:extLst>
              <a:ext uri="{FF2B5EF4-FFF2-40B4-BE49-F238E27FC236}">
                <a16:creationId xmlns:a16="http://schemas.microsoft.com/office/drawing/2014/main" id="{C9BCE26B-B843-4FBD-9E97-6626238C8ED9}"/>
              </a:ext>
            </a:extLst>
          </p:cNvPr>
          <p:cNvSpPr/>
          <p:nvPr/>
        </p:nvSpPr>
        <p:spPr>
          <a:xfrm>
            <a:off x="551249" y="2749077"/>
            <a:ext cx="270817" cy="270817"/>
          </a:xfrm>
          <a:prstGeom prst="ellips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>
              <a:solidFill>
                <a:srgbClr val="C00000"/>
              </a:solidFill>
            </a:endParaRP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53A57DDE-8BDD-4A5B-86D1-B3305E9130C3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416" r="2046"/>
          <a:stretch/>
        </p:blipFill>
        <p:spPr>
          <a:xfrm>
            <a:off x="5699956" y="1122571"/>
            <a:ext cx="6482747" cy="53003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2272069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Овал 14">
            <a:extLst>
              <a:ext uri="{FF2B5EF4-FFF2-40B4-BE49-F238E27FC236}">
                <a16:creationId xmlns:a16="http://schemas.microsoft.com/office/drawing/2014/main" id="{C61DD5FD-9ECD-4241-8EB5-049E7E03DF19}"/>
              </a:ext>
            </a:extLst>
          </p:cNvPr>
          <p:cNvSpPr/>
          <p:nvPr/>
        </p:nvSpPr>
        <p:spPr>
          <a:xfrm>
            <a:off x="3991979" y="2126606"/>
            <a:ext cx="4452435" cy="4452435"/>
          </a:xfrm>
          <a:prstGeom prst="ellipse">
            <a:avLst/>
          </a:prstGeom>
          <a:solidFill>
            <a:schemeClr val="accent1">
              <a:alpha val="3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2" name="Номер слайда 1">
            <a:extLst>
              <a:ext uri="{FF2B5EF4-FFF2-40B4-BE49-F238E27FC236}">
                <a16:creationId xmlns:a16="http://schemas.microsoft.com/office/drawing/2014/main" id="{2FC02E65-A035-2548-A035-BCB6F4E5582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76772" y="6344784"/>
            <a:ext cx="609601" cy="508000"/>
          </a:xfrm>
        </p:spPr>
        <p:txBody>
          <a:bodyPr/>
          <a:lstStyle/>
          <a:p>
            <a:pPr marL="25400"/>
            <a:fld id="{81D60167-4931-47E6-BA6A-407CBD079E47}" type="slidenum">
              <a:rPr lang="uk-UA" spc="-10" smtClean="0"/>
              <a:pPr marL="25400"/>
              <a:t>6</a:t>
            </a:fld>
            <a:endParaRPr lang="uk-UA" spc="-10" dirty="0"/>
          </a:p>
        </p:txBody>
      </p:sp>
      <p:sp>
        <p:nvSpPr>
          <p:cNvPr id="3" name="Заголовок 2">
            <a:extLst>
              <a:ext uri="{FF2B5EF4-FFF2-40B4-BE49-F238E27FC236}">
                <a16:creationId xmlns:a16="http://schemas.microsoft.com/office/drawing/2014/main" id="{C1285962-73D8-A040-83E6-E58D2A8FB8C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2526" y="359337"/>
            <a:ext cx="8978846" cy="492443"/>
          </a:xfrm>
        </p:spPr>
        <p:txBody>
          <a:bodyPr/>
          <a:lstStyle/>
          <a:p>
            <a:pPr marL="534988"/>
            <a:r>
              <a:rPr lang="en-US" dirty="0"/>
              <a:t>What does Putin want?</a:t>
            </a:r>
            <a:r>
              <a:rPr lang="ru-UA" dirty="0"/>
              <a:t> </a:t>
            </a:r>
          </a:p>
        </p:txBody>
      </p:sp>
      <p:sp>
        <p:nvSpPr>
          <p:cNvPr id="5" name="Текст 4">
            <a:extLst>
              <a:ext uri="{FF2B5EF4-FFF2-40B4-BE49-F238E27FC236}">
                <a16:creationId xmlns:a16="http://schemas.microsoft.com/office/drawing/2014/main" id="{EE98A7DA-B02F-7640-990D-B7C1609BE72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55492" y="6498663"/>
            <a:ext cx="7851366" cy="153888"/>
          </a:xfrm>
        </p:spPr>
        <p:txBody>
          <a:bodyPr/>
          <a:lstStyle/>
          <a:p>
            <a:endParaRPr lang="ru-UA"/>
          </a:p>
        </p:txBody>
      </p:sp>
      <p:sp>
        <p:nvSpPr>
          <p:cNvPr id="6" name="Текст 5">
            <a:extLst>
              <a:ext uri="{FF2B5EF4-FFF2-40B4-BE49-F238E27FC236}">
                <a16:creationId xmlns:a16="http://schemas.microsoft.com/office/drawing/2014/main" id="{60D4BA04-A069-6A44-84F4-AAC3242FAB7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695400" y="1544015"/>
            <a:ext cx="5436604" cy="984885"/>
          </a:xfrm>
        </p:spPr>
        <p:txBody>
          <a:bodyPr/>
          <a:lstStyle/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uk-UA" dirty="0" err="1"/>
              <a:t>Nord</a:t>
            </a:r>
            <a:r>
              <a:rPr lang="uk-UA" dirty="0"/>
              <a:t> Stream-2 </a:t>
            </a:r>
            <a:r>
              <a:rPr lang="uk-UA" dirty="0" err="1"/>
              <a:t>operates</a:t>
            </a:r>
            <a:r>
              <a:rPr lang="uk-UA" dirty="0"/>
              <a:t> </a:t>
            </a:r>
            <a:r>
              <a:rPr lang="uk-UA" dirty="0" err="1"/>
              <a:t>despite</a:t>
            </a:r>
            <a:r>
              <a:rPr lang="uk-UA" dirty="0"/>
              <a:t> </a:t>
            </a:r>
            <a:r>
              <a:rPr lang="uk-UA" dirty="0" err="1"/>
              <a:t>non-compliance</a:t>
            </a:r>
            <a:r>
              <a:rPr lang="uk-UA" dirty="0"/>
              <a:t> </a:t>
            </a:r>
            <a:r>
              <a:rPr lang="uk-UA" dirty="0" err="1"/>
              <a:t>with</a:t>
            </a:r>
            <a:r>
              <a:rPr lang="uk-UA" dirty="0"/>
              <a:t> EU </a:t>
            </a:r>
            <a:r>
              <a:rPr lang="uk-UA" dirty="0" err="1"/>
              <a:t>law</a:t>
            </a:r>
            <a:endParaRPr lang="en-US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endParaRPr lang="uk-UA" dirty="0"/>
          </a:p>
          <a:p>
            <a:pPr marL="285750" lvl="0" indent="-285750">
              <a:buFont typeface="Arial" panose="020B0604020202020204" pitchFamily="34" charset="0"/>
              <a:buChar char="•"/>
            </a:pPr>
            <a:r>
              <a:rPr lang="uk-UA" dirty="0" err="1"/>
              <a:t>The</a:t>
            </a:r>
            <a:r>
              <a:rPr lang="uk-UA" dirty="0"/>
              <a:t> EU </a:t>
            </a:r>
            <a:r>
              <a:rPr lang="uk-UA" dirty="0" err="1"/>
              <a:t>is</a:t>
            </a:r>
            <a:r>
              <a:rPr lang="uk-UA" dirty="0"/>
              <a:t> </a:t>
            </a:r>
            <a:r>
              <a:rPr lang="uk-UA" dirty="0" err="1"/>
              <a:t>again</a:t>
            </a:r>
            <a:r>
              <a:rPr lang="uk-UA" dirty="0"/>
              <a:t> </a:t>
            </a:r>
            <a:r>
              <a:rPr lang="uk-UA" dirty="0" err="1"/>
              <a:t>bound</a:t>
            </a:r>
            <a:r>
              <a:rPr lang="uk-UA" dirty="0"/>
              <a:t> </a:t>
            </a:r>
            <a:r>
              <a:rPr lang="uk-UA" dirty="0" err="1"/>
              <a:t>by</a:t>
            </a:r>
            <a:r>
              <a:rPr lang="uk-UA" dirty="0"/>
              <a:t> </a:t>
            </a:r>
            <a:r>
              <a:rPr lang="uk-UA" dirty="0" err="1"/>
              <a:t>long-term</a:t>
            </a:r>
            <a:r>
              <a:rPr lang="uk-UA" dirty="0"/>
              <a:t> </a:t>
            </a:r>
            <a:r>
              <a:rPr lang="uk-UA" dirty="0" err="1"/>
              <a:t>contracts</a:t>
            </a:r>
            <a:r>
              <a:rPr lang="uk-UA" dirty="0"/>
              <a:t> </a:t>
            </a:r>
          </a:p>
          <a:p>
            <a:endParaRPr lang="ru-UA" dirty="0"/>
          </a:p>
        </p:txBody>
      </p:sp>
      <p:sp>
        <p:nvSpPr>
          <p:cNvPr id="8" name="Овал 7">
            <a:extLst>
              <a:ext uri="{FF2B5EF4-FFF2-40B4-BE49-F238E27FC236}">
                <a16:creationId xmlns:a16="http://schemas.microsoft.com/office/drawing/2014/main" id="{DCE656FF-CD63-45E9-9781-BD100A1280BE}"/>
              </a:ext>
            </a:extLst>
          </p:cNvPr>
          <p:cNvSpPr/>
          <p:nvPr/>
        </p:nvSpPr>
        <p:spPr>
          <a:xfrm>
            <a:off x="551248" y="2003671"/>
            <a:ext cx="270817" cy="27081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>
              <a:solidFill>
                <a:srgbClr val="C00000"/>
              </a:solidFill>
            </a:endParaRPr>
          </a:p>
        </p:txBody>
      </p:sp>
      <p:sp>
        <p:nvSpPr>
          <p:cNvPr id="9" name="Овал 8">
            <a:extLst>
              <a:ext uri="{FF2B5EF4-FFF2-40B4-BE49-F238E27FC236}">
                <a16:creationId xmlns:a16="http://schemas.microsoft.com/office/drawing/2014/main" id="{A3C9FAF5-7F37-473F-9062-6D5E9CB24A83}"/>
              </a:ext>
            </a:extLst>
          </p:cNvPr>
          <p:cNvSpPr/>
          <p:nvPr/>
        </p:nvSpPr>
        <p:spPr>
          <a:xfrm>
            <a:off x="551248" y="1543995"/>
            <a:ext cx="270817" cy="270817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>
              <a:solidFill>
                <a:srgbClr val="C00000"/>
              </a:solidFill>
            </a:endParaRPr>
          </a:p>
        </p:txBody>
      </p:sp>
      <p:pic>
        <p:nvPicPr>
          <p:cNvPr id="10" name="Рисунок 9">
            <a:extLst>
              <a:ext uri="{FF2B5EF4-FFF2-40B4-BE49-F238E27FC236}">
                <a16:creationId xmlns:a16="http://schemas.microsoft.com/office/drawing/2014/main" id="{AD395DA9-0691-4116-B591-CF4665C2705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896" r="4297"/>
          <a:stretch/>
        </p:blipFill>
        <p:spPr>
          <a:xfrm>
            <a:off x="6505462" y="1489193"/>
            <a:ext cx="3567268" cy="2155831"/>
          </a:xfrm>
          <a:prstGeom prst="rect">
            <a:avLst/>
          </a:prstGeom>
        </p:spPr>
      </p:pic>
      <p:pic>
        <p:nvPicPr>
          <p:cNvPr id="12" name="Рисунок 11" descr="Зображення, що містить вода, надворі&#10;&#10;Автоматично згенерований опис">
            <a:extLst>
              <a:ext uri="{FF2B5EF4-FFF2-40B4-BE49-F238E27FC236}">
                <a16:creationId xmlns:a16="http://schemas.microsoft.com/office/drawing/2014/main" id="{DBA52D1E-9687-4E2C-BFF9-39B88B216162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93098" y="3634216"/>
            <a:ext cx="4112363" cy="2349923"/>
          </a:xfrm>
          <a:prstGeom prst="rect">
            <a:avLst/>
          </a:prstGeom>
        </p:spPr>
      </p:pic>
      <p:pic>
        <p:nvPicPr>
          <p:cNvPr id="14" name="Рисунок 13" descr="Зображення, що містить вода, надворі, човен, небо&#10;&#10;Автоматично згенерований опис">
            <a:extLst>
              <a:ext uri="{FF2B5EF4-FFF2-40B4-BE49-F238E27FC236}">
                <a16:creationId xmlns:a16="http://schemas.microsoft.com/office/drawing/2014/main" id="{415786AA-A3A9-4804-9BA0-2C502DB05817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00514" y="3645024"/>
            <a:ext cx="5683470" cy="3196952"/>
          </a:xfrm>
          <a:prstGeom prst="rect">
            <a:avLst/>
          </a:prstGeom>
        </p:spPr>
      </p:pic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9BFCF6E5-8D7E-9D40-885A-CF43BACCA67E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484706" y="1271490"/>
            <a:ext cx="3709563" cy="25912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155039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Овал 2">
            <a:extLst>
              <a:ext uri="{FF2B5EF4-FFF2-40B4-BE49-F238E27FC236}">
                <a16:creationId xmlns:a16="http://schemas.microsoft.com/office/drawing/2014/main" id="{39E2C497-0979-4BD5-80A4-64612E155922}"/>
              </a:ext>
            </a:extLst>
          </p:cNvPr>
          <p:cNvSpPr/>
          <p:nvPr/>
        </p:nvSpPr>
        <p:spPr>
          <a:xfrm>
            <a:off x="587388" y="1898148"/>
            <a:ext cx="306716" cy="306716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21" name="Овал 20">
            <a:extLst>
              <a:ext uri="{FF2B5EF4-FFF2-40B4-BE49-F238E27FC236}">
                <a16:creationId xmlns:a16="http://schemas.microsoft.com/office/drawing/2014/main" id="{58C860F2-D525-47DA-AA9A-C493082B617D}"/>
              </a:ext>
            </a:extLst>
          </p:cNvPr>
          <p:cNvSpPr/>
          <p:nvPr/>
        </p:nvSpPr>
        <p:spPr>
          <a:xfrm>
            <a:off x="587388" y="2402204"/>
            <a:ext cx="306716" cy="306716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22" name="Овал 21">
            <a:extLst>
              <a:ext uri="{FF2B5EF4-FFF2-40B4-BE49-F238E27FC236}">
                <a16:creationId xmlns:a16="http://schemas.microsoft.com/office/drawing/2014/main" id="{718A108F-E62D-4E42-8FB7-67ACE653FC9C}"/>
              </a:ext>
            </a:extLst>
          </p:cNvPr>
          <p:cNvSpPr/>
          <p:nvPr/>
        </p:nvSpPr>
        <p:spPr>
          <a:xfrm>
            <a:off x="587388" y="3145173"/>
            <a:ext cx="306716" cy="306716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23" name="Овал 22">
            <a:extLst>
              <a:ext uri="{FF2B5EF4-FFF2-40B4-BE49-F238E27FC236}">
                <a16:creationId xmlns:a16="http://schemas.microsoft.com/office/drawing/2014/main" id="{443B6D4C-C480-4BDC-9D2F-C015215E4BAE}"/>
              </a:ext>
            </a:extLst>
          </p:cNvPr>
          <p:cNvSpPr/>
          <p:nvPr/>
        </p:nvSpPr>
        <p:spPr>
          <a:xfrm>
            <a:off x="587388" y="3615328"/>
            <a:ext cx="306716" cy="306716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24" name="Овал 23">
            <a:extLst>
              <a:ext uri="{FF2B5EF4-FFF2-40B4-BE49-F238E27FC236}">
                <a16:creationId xmlns:a16="http://schemas.microsoft.com/office/drawing/2014/main" id="{9FA1DA4D-F6AE-4AFD-914B-D49C1E65469A}"/>
              </a:ext>
            </a:extLst>
          </p:cNvPr>
          <p:cNvSpPr/>
          <p:nvPr/>
        </p:nvSpPr>
        <p:spPr>
          <a:xfrm>
            <a:off x="587388" y="4344899"/>
            <a:ext cx="306716" cy="306716"/>
          </a:xfrm>
          <a:prstGeom prst="ellipse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uk-UA"/>
          </a:p>
        </p:txBody>
      </p:sp>
      <p:sp>
        <p:nvSpPr>
          <p:cNvPr id="2" name="Заголовок 1">
            <a:extLst>
              <a:ext uri="{FF2B5EF4-FFF2-40B4-BE49-F238E27FC236}">
                <a16:creationId xmlns:a16="http://schemas.microsoft.com/office/drawing/2014/main" id="{8B291763-830A-491E-BE8E-036C3309BF6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2526" y="359337"/>
            <a:ext cx="8666694" cy="492443"/>
          </a:xfrm>
        </p:spPr>
        <p:txBody>
          <a:bodyPr/>
          <a:lstStyle/>
          <a:p>
            <a:pPr marL="534988"/>
            <a:r>
              <a:rPr lang="en-US" dirty="0"/>
              <a:t>What can be done?</a:t>
            </a:r>
            <a:endParaRPr lang="uk-UA" dirty="0"/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21D35C1F-1102-4BFC-8FBA-FB5F1C6F8E9B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-321"/>
          <a:stretch/>
        </p:blipFill>
        <p:spPr>
          <a:xfrm>
            <a:off x="6852084" y="-33041"/>
            <a:ext cx="5339916" cy="6918425"/>
          </a:xfrm>
          <a:prstGeom prst="rect">
            <a:avLst/>
          </a:prstGeom>
        </p:spPr>
      </p:pic>
      <p:sp>
        <p:nvSpPr>
          <p:cNvPr id="14" name="Номер слайда 13"/>
          <p:cNvSpPr>
            <a:spLocks noGrp="1"/>
          </p:cNvSpPr>
          <p:nvPr>
            <p:ph type="sldNum" sz="quarter" idx="12"/>
          </p:nvPr>
        </p:nvSpPr>
        <p:spPr>
          <a:noFill/>
        </p:spPr>
        <p:txBody>
          <a:bodyPr/>
          <a:lstStyle/>
          <a:p>
            <a:pPr marL="25400"/>
            <a:fld id="{81D60167-4931-47E6-BA6A-407CBD079E47}" type="slidenum">
              <a:rPr lang="uk-UA" spc="-10">
                <a:solidFill>
                  <a:srgbClr val="00A0E0"/>
                </a:solidFill>
              </a:rPr>
              <a:pPr marL="25400"/>
              <a:t>7</a:t>
            </a:fld>
            <a:endParaRPr lang="uk-UA" spc="-10">
              <a:solidFill>
                <a:srgbClr val="00A0E0"/>
              </a:solidFill>
            </a:endParaRPr>
          </a:p>
        </p:txBody>
      </p:sp>
      <p:sp>
        <p:nvSpPr>
          <p:cNvPr id="10" name="Прямокутник 9">
            <a:extLst>
              <a:ext uri="{FF2B5EF4-FFF2-40B4-BE49-F238E27FC236}">
                <a16:creationId xmlns:a16="http://schemas.microsoft.com/office/drawing/2014/main" id="{D7E31594-7A96-4AEE-A361-E3BCDFEDDC7A}"/>
              </a:ext>
            </a:extLst>
          </p:cNvPr>
          <p:cNvSpPr/>
          <p:nvPr/>
        </p:nvSpPr>
        <p:spPr>
          <a:xfrm>
            <a:off x="950065" y="1898148"/>
            <a:ext cx="4641879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Aft>
                <a:spcPts val="0"/>
              </a:spcAft>
            </a:pPr>
            <a:r>
              <a:rPr lang="en-US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Investigate the energy market manipulation</a:t>
            </a:r>
          </a:p>
          <a:p>
            <a:pPr lvl="0">
              <a:spcAft>
                <a:spcPts val="0"/>
              </a:spcAft>
            </a:pPr>
            <a:endParaRPr lang="en-US" sz="16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Make sure that NS2 is not operational unless it is compliant with the EU regulation</a:t>
            </a:r>
          </a:p>
          <a:p>
            <a:endParaRPr lang="en-US" sz="16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Keep gas transit through Ukraine as one of the routes</a:t>
            </a:r>
          </a:p>
          <a:p>
            <a:endParaRPr lang="en-US" sz="16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New European policy: gas storage solution that cushion against Russian cut-offs</a:t>
            </a:r>
          </a:p>
          <a:p>
            <a:endParaRPr lang="en-US" sz="16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r>
              <a:rPr lang="en-US" sz="1600" dirty="0"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Fight back against Russian disinformation on NS2</a:t>
            </a:r>
            <a:endParaRPr lang="uk-UA" sz="1600" dirty="0"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20" name="Прямокутник 19">
            <a:extLst>
              <a:ext uri="{FF2B5EF4-FFF2-40B4-BE49-F238E27FC236}">
                <a16:creationId xmlns:a16="http://schemas.microsoft.com/office/drawing/2014/main" id="{A2DA5F10-4F9D-4742-81FA-7AE010D27CA9}"/>
              </a:ext>
            </a:extLst>
          </p:cNvPr>
          <p:cNvSpPr/>
          <p:nvPr/>
        </p:nvSpPr>
        <p:spPr>
          <a:xfrm>
            <a:off x="407368" y="1898148"/>
            <a:ext cx="468051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r">
              <a:spcAft>
                <a:spcPts val="0"/>
              </a:spcAft>
            </a:pPr>
            <a:r>
              <a:rPr lang="en-US" sz="16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1</a:t>
            </a:r>
          </a:p>
          <a:p>
            <a:pPr lvl="0" algn="r">
              <a:spcAft>
                <a:spcPts val="0"/>
              </a:spcAft>
            </a:pPr>
            <a:endParaRPr lang="en-US" sz="1600" b="1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lvl="0" algn="r">
              <a:spcAft>
                <a:spcPts val="0"/>
              </a:spcAft>
            </a:pPr>
            <a:r>
              <a:rPr lang="en-US" sz="16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2</a:t>
            </a:r>
          </a:p>
          <a:p>
            <a:pPr lvl="0" algn="r">
              <a:spcAft>
                <a:spcPts val="0"/>
              </a:spcAft>
            </a:pPr>
            <a:endParaRPr lang="en-US" sz="1600" b="1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lvl="0" algn="r">
              <a:spcAft>
                <a:spcPts val="0"/>
              </a:spcAft>
            </a:pPr>
            <a:endParaRPr lang="en-US" sz="1600" b="1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lvl="0" algn="r">
              <a:spcAft>
                <a:spcPts val="0"/>
              </a:spcAft>
            </a:pPr>
            <a:r>
              <a:rPr lang="en-US" sz="16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3</a:t>
            </a:r>
          </a:p>
          <a:p>
            <a:pPr lvl="0" algn="r">
              <a:spcAft>
                <a:spcPts val="0"/>
              </a:spcAft>
            </a:pPr>
            <a:endParaRPr lang="en-US" sz="1600" b="1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lvl="0" algn="r">
              <a:spcAft>
                <a:spcPts val="0"/>
              </a:spcAft>
            </a:pPr>
            <a:r>
              <a:rPr lang="en-US" sz="16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4</a:t>
            </a:r>
          </a:p>
          <a:p>
            <a:pPr lvl="0" algn="r">
              <a:spcAft>
                <a:spcPts val="0"/>
              </a:spcAft>
            </a:pPr>
            <a:endParaRPr lang="en-US" sz="1600" b="1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lvl="0" algn="r">
              <a:spcAft>
                <a:spcPts val="0"/>
              </a:spcAft>
            </a:pPr>
            <a:endParaRPr lang="en-US" sz="1600" b="1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  <a:p>
            <a:pPr lvl="0" algn="r">
              <a:spcAft>
                <a:spcPts val="0"/>
              </a:spcAft>
            </a:pPr>
            <a:r>
              <a:rPr lang="en-US" sz="1600" b="1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Calibri" panose="020F0502020204030204" pitchFamily="34" charset="0"/>
              </a:rPr>
              <a:t>5</a:t>
            </a:r>
            <a:endParaRPr lang="uk-UA" sz="1600" b="1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Calibri" panose="020F0502020204030204" pitchFamily="34" charset="0"/>
            </a:endParaRPr>
          </a:p>
        </p:txBody>
      </p:sp>
      <p:pic>
        <p:nvPicPr>
          <p:cNvPr id="6" name="Рисунок 5">
            <a:extLst>
              <a:ext uri="{FF2B5EF4-FFF2-40B4-BE49-F238E27FC236}">
                <a16:creationId xmlns:a16="http://schemas.microsoft.com/office/drawing/2014/main" id="{054FB4B0-AFCA-4B9D-A482-F32D3A06E8CC}"/>
              </a:ext>
            </a:extLst>
          </p:cNvPr>
          <p:cNvPicPr>
            <a:picLocks noChangeAspect="1"/>
          </p:cNvPicPr>
          <p:nvPr/>
        </p:nvPicPr>
        <p:blipFill>
          <a:blip r:embed="rId4">
            <a:alphaModFix amt="48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0800000" flipH="1">
            <a:off x="7794960" y="4005064"/>
            <a:ext cx="4401998" cy="2880320"/>
          </a:xfrm>
          <a:prstGeom prst="rect">
            <a:avLst/>
          </a:prstGeom>
        </p:spPr>
      </p:pic>
      <p:pic>
        <p:nvPicPr>
          <p:cNvPr id="13" name="Графіка 12">
            <a:extLst>
              <a:ext uri="{FF2B5EF4-FFF2-40B4-BE49-F238E27FC236}">
                <a16:creationId xmlns:a16="http://schemas.microsoft.com/office/drawing/2014/main" id="{2E204C09-BC5F-4472-B098-89C3D3AFD78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380476" y="382985"/>
            <a:ext cx="1388554" cy="244464"/>
          </a:xfrm>
          <a:prstGeom prst="rect">
            <a:avLst/>
          </a:prstGeom>
        </p:spPr>
      </p:pic>
      <p:pic>
        <p:nvPicPr>
          <p:cNvPr id="26" name="Графіка 25">
            <a:extLst>
              <a:ext uri="{FF2B5EF4-FFF2-40B4-BE49-F238E27FC236}">
                <a16:creationId xmlns:a16="http://schemas.microsoft.com/office/drawing/2014/main" id="{CAD0FD20-1E89-46A2-8E0A-117C30006265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4257241" y="5252197"/>
            <a:ext cx="899714" cy="942999"/>
          </a:xfrm>
          <a:prstGeom prst="rect">
            <a:avLst/>
          </a:prstGeom>
        </p:spPr>
      </p:pic>
      <p:pic>
        <p:nvPicPr>
          <p:cNvPr id="27" name="Графіка 26">
            <a:extLst>
              <a:ext uri="{FF2B5EF4-FFF2-40B4-BE49-F238E27FC236}">
                <a16:creationId xmlns:a16="http://schemas.microsoft.com/office/drawing/2014/main" id="{DB4C9B13-9693-4504-A2BC-6294D80DC212}"/>
              </a:ext>
            </a:extLst>
          </p:cNvPr>
          <p:cNvPicPr>
            <a:picLocks noChangeAspect="1"/>
          </p:cNvPicPr>
          <p:nvPr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2864507" y="5275695"/>
            <a:ext cx="899715" cy="902723"/>
          </a:xfrm>
          <a:prstGeom prst="rect">
            <a:avLst/>
          </a:prstGeom>
        </p:spPr>
      </p:pic>
      <p:pic>
        <p:nvPicPr>
          <p:cNvPr id="28" name="Графіка 27">
            <a:extLst>
              <a:ext uri="{FF2B5EF4-FFF2-40B4-BE49-F238E27FC236}">
                <a16:creationId xmlns:a16="http://schemas.microsoft.com/office/drawing/2014/main" id="{1C8DD9E1-8B39-462A-A3A6-DC88ABB37AFC}"/>
              </a:ext>
            </a:extLst>
          </p:cNvPr>
          <p:cNvPicPr>
            <a:picLocks noChangeAspect="1"/>
          </p:cNvPicPr>
          <p:nvPr/>
        </p:nvPicPr>
        <p:blipFill>
          <a:blip r:embed="rId11">
            <a:extLs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1111678" y="5332687"/>
            <a:ext cx="899714" cy="82519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1170758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Заголовок 7"/>
          <p:cNvSpPr>
            <a:spLocks noGrp="1"/>
          </p:cNvSpPr>
          <p:nvPr>
            <p:ph type="ctrTitle"/>
          </p:nvPr>
        </p:nvSpPr>
        <p:spPr/>
        <p:txBody>
          <a:bodyPr>
            <a:normAutofit/>
          </a:bodyPr>
          <a:lstStyle/>
          <a:p>
            <a:r>
              <a:rPr lang="en-US" sz="5400" dirty="0">
                <a:latin typeface="Calibri" panose="020F0502020204030204" pitchFamily="34" charset="0"/>
                <a:cs typeface="Calibri" panose="020F0502020204030204" pitchFamily="34" charset="0"/>
              </a:rPr>
              <a:t>Thank you</a:t>
            </a:r>
            <a:endParaRPr lang="uk-UA" sz="5400" dirty="0">
              <a:latin typeface="Calibri" panose="020F0502020204030204" pitchFamily="34" charset="0"/>
              <a:cs typeface="Calibri" panose="020F0502020204030204" pitchFamily="34" charset="0"/>
            </a:endParaRPr>
          </a:p>
        </p:txBody>
      </p:sp>
      <p:sp>
        <p:nvSpPr>
          <p:cNvPr id="10" name="Текст 9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uk-UA" sz="2400" dirty="0">
                <a:solidFill>
                  <a:schemeClr val="bg1"/>
                </a:solidFill>
              </a:rPr>
              <a:t>+380 (44) 586-3330</a:t>
            </a:r>
          </a:p>
          <a:p>
            <a:r>
              <a:rPr lang="uk-UA" sz="2400" dirty="0">
                <a:solidFill>
                  <a:schemeClr val="bg1"/>
                </a:solidFill>
              </a:rPr>
              <a:t>ngu@naftogaz.com</a:t>
            </a:r>
          </a:p>
          <a:p>
            <a:r>
              <a:rPr lang="uk-UA" sz="2400" b="1" dirty="0">
                <a:solidFill>
                  <a:schemeClr val="bg1"/>
                </a:solidFill>
              </a:rPr>
              <a:t>naftogaz.com</a:t>
            </a:r>
          </a:p>
        </p:txBody>
      </p:sp>
    </p:spTree>
    <p:extLst>
      <p:ext uri="{BB962C8B-B14F-4D97-AF65-F5344CB8AC3E}">
        <p14:creationId xmlns:p14="http://schemas.microsoft.com/office/powerpoint/2010/main" val="32707990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7037&quot;&gt;&lt;version val=&quot;32622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Yx325PhImUlr4lPm2sQig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FQ5lO1_QBaKNCE4RSwEeA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p1zYYRwsgifGUI9Gq7OxQ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m7whndBe_QA6XQzp_pUqg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tKZB483zGVHBBsWzw4RC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oe4d8iTQkmyURY4T6s5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CPF_lfJ_uFvGhKuVeMJ3w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GrKrGePy_MxKuKXrHxuA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PftDAIWZYqXyoAflmhfmQ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wMzAAIGOlSRP3n9GPfmw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.2FlRV_AY_B7sahCjcd4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p1xeWhg3nfrmlzYs9gP9g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FSUyoYgJnrh2ZxOngNEQA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t3U92rJxdlS7x.5sxcjEQ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2S1HaSQyWqojYdnidf2g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Gzjs7Whbq.H7wI_l04ow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c8BYoIr_rwtCGqn8dl_Iw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U1MHZMGns42CTAsYYcbM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cMafJlO3mU.fb808zWQlg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PJqeoUTmdMPIFDhbf_wOg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K8.fl6Imy_.gXl9jrExCg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SuIlD96WVtMBgt3EZ5Y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nDd5jzUIgV9nF3XA2r6n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G8BS61YSBpP_ML_qIdXdw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y9ewGasyh0F3tmn.QZBjg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_aNRb.IrCbPT0pgppaY6w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1fUqarm16hAktG01Xlw6Q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Radmj3iLKkH9y.Nxhkfg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FE9Ahp61u8eTyRzJ23V8w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QcEpr_RKFHSgFsoOM2K_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1s1.pI3HlYlaQuvwx8LQw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z_vZkiOkzC.4YKyOYlotA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Cb2ueBAdLYPdfJIo.mrB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EGl84c5Ze5gZKTeAGJUgw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u3EmEK14DFxaH9mP3mejg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6fN1zkdRE6bweyXudikTg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ba.0.grHTGfxgcHp4v_Rg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9E1vaBIfghC2RsWH2MMw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2HoSK0DkK4pypeHDyGRnA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f2VPEn5hZLMUKuTtiaaAg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bu0cW1fXjzkEdw3c3hp1w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CJXXcuYMhtGjI8WoVpLv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yirk3pPBqm.UKZBKnP6aw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7UMa_jwFpo2uu6VtDE9W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P_CKgH14jTWHPjICi03A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hCclMEjBCJR.w1APiSCn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c_pO9s9gBwx7Bpzcn6CYg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Hb0Bdz.bhqxdi1FYzJB0w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NfY36PwnNaa1V1d1TtdvQ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FbdFkWr7zOXOKeor43nw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pkXh.8SN9u45jBDFypFQ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.AqEIIIKOGw._qpCtmwpJ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nJbjK4P7.EMAYQjfTxxUw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lUkAC6JPFfOAdvlZSpMig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slj0A3wyNLWDFosJxkEy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PrDBbrTEx7v.sbDO7_v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8LFUCkkkIAzkU4_zYQZu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b1enf7TT15QLdiKM4pxf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7yDsgHFt3CyvYijHY8bgA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uzhYU5gpPk_X_Nvx5kZ9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0_9poL6x0DJbRJWuLQlBw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V7PWyPA_.nKfW1pS6lP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TTRZyfoyBKPMSdUcwufjg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EzzqO7MZMejefXTu_Elaw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VY2R.1idQgPH6iP6V7fBg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aQX2hwxURxrOm3xeZdfM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EzCnLOzflIsreXUWqhpaQ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pgNQPprzKJxuRNH.7Sp9A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A05ZUCB0h.Lj3A89WSHjw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m7mIoj_.O_3f_v7Kr27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3r6.cT0hTfaRWD3mHh6qw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l9oZX4BjSwddS8LyZW6Qg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v.RfPGszWu1GMMoeK9Wtw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v3HhqmJOMze3hefE1HRIA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_3vJ.N715KBvpdTNH7y2w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731BCSlYXGIZJAXarXjv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DPI6T1kZnGrCwGx89AzA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1Gpyz_QIDPy9ysRc.szNg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eE42H.BYyhHZrpGDqrs4g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0ICc9xtz9dnIR10YFgskw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5PbGAMceENYcejG0Z.Egw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btIfZW0aNox3nUX5FbtdQ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36aNIujkA04ZvUFB4_iLA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PHLOi6cRd8Tcr9_5Bx2jg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g8uABT3JHsxqnt2wVbBIw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f80nhSVwsKOrcUxy2Q7Xw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AnodP03Z0VaPVQGQOYTk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qkTK9Nj_Y9gu512MTZet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41g_F2gq9o6WyRGV2UwHg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qv.b5.Zz7OcBAlifZXchA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fW0ic9evoVBTQjiuzerTg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YJ2FSW50_zbc78cgBk5oA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PeZ7BU7RbIdcFd3A4JTDg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OWHTxQHFoMRLScfpTfYWQ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Hidx7r0pXBuFQYGKQm.PQ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qCjfK2h.k0UpPqEUu8rvw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8Bk6d6mQJNkTjXmkIVeeQ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D7pB20TL23ji0aQWtLgNA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1n4wIGVyPSqNbI1lSwApw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YYGVIHHwPj3OZ7.ARbyYg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2RQQlmTIRibkCdntleDww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WWSWwpa1UhFgvMabHchnQ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dFvUHP4DJMNgnWtvgGAQ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Ftg3M5MbTs1BNBUZINRw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o8xN40rhf_eJLW5vBkLg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roVZIdZe3SkxExmTVXYbA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w7UvE.bmrGq0_syAaH6bw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lu3XEf6DO2KK1afwbkjfA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.pSFNsI4sb6n7muRNRkEw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7aXIWQK.izdh_FVqFRpVA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ZHPwLxkl4vBQPRxfLaRgw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8B7Ndd3yRFM4YuvTFvlBg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z3lCJj3.iFgQcNZVjzAvA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8J2.ftEWEk21Vs_fLzwHQ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jrQjfXG8ySnQSIhqkg2g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7FOTsP5vq3iUS6k2NBLg"/>
</p:tagLst>
</file>

<file path=ppt/tags/tag2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axni7YzKc9mTX6aO7lVYQ"/>
</p:tagLst>
</file>

<file path=ppt/tags/tag2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Bq9zaO9zcBbvSwWCtWIPg"/>
</p:tagLst>
</file>

<file path=ppt/tags/tag2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SjiP6PUWJhKI9F3VMscFQ"/>
</p:tagLst>
</file>

<file path=ppt/tags/tag2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N46xwT_EX7KjL74.G_rPA"/>
</p:tagLst>
</file>

<file path=ppt/tags/tag2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5Sm_aqnwyo8MWs2EPKWk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luG.76dn9XXFrZ20tMy2w"/>
</p:tagLst>
</file>

<file path=ppt/tags/tag2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VD8DeMWkI0csYaTxbiyOA"/>
</p:tagLst>
</file>

<file path=ppt/tags/tag2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gvuvloyCUWMpV.zreufwA"/>
</p:tagLst>
</file>

<file path=ppt/tags/tag2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FQ5lO1_QBaKNCE4RSwEeA"/>
</p:tagLst>
</file>

<file path=ppt/tags/tag2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goe4d8iTQkmyURY4T6s5Q"/>
</p:tagLst>
</file>

<file path=ppt/tags/tag2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GrKrGePy_MxKuKXrHxuA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y2vHeMxhc2fPDe0wKXIG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pxM3WxB3WDzgh644DSr3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kBtxG2Vdj01OjqU2FJ9X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KH41782gz0j4DpTegCtPg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3chi0hNRARyYVnHrBQ.W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7_hOW3E.05NqsUmjbCxeQ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fC9UwZJCl7p.pCnn7QZ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8u6_UUzY3YtDu2wRgS8nw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dEqEFgICgTNgKbkYq.FdA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AMUaSvtDGHjb798Biv9Ng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8yg4EEnGwkQyKhVGtccgA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Y5j5goWgDr7T412eJx4H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kCWlU0nyBcuggIsz.sFUg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ikNQCLlnap5DXbxnewZN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_N_gYOFe_1kEzIaNAQ7J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ymeHkTanPDU5JZqi0vyk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2DwynUcRcFcpzSl1XCEC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hMafsL6IcEreRTPuTDaJ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6uRkbst2GnD4jcOVKfPBA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Hfa35w6MHY6UYXcpqWl.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wfMjqrd3p1FDRD_U5r2x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LLgO.2TLDbJVTvfIFV2VA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0kHtqqu32kT2da1E6Lz4A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vzYjEIwqSqXwIr8wgxjCA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D38t3W.qvGaX5fXQEkXJg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FEqnkTBJ8lXsIaUkWCm1w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XjOaVsuqihv7u2h_0v0j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iMUz756GIB4DlPFolrjrw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gWE6ep5p8wa2lYQUzgMHw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JSB6ck4Rso0VHZxGlWi2A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5E.zRaoBZq2kUKhXkDF1g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5XI6EiiJllDNfmc4qDR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nLrByyLqT.Syf_F_PRdng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l_ac7.vgQfO5Ob7OTtQyg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2b3y3xtG15tlrhHeij3vw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0r0TtjkA9TRh2njC845CA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U3ytgzEVzxHDvybhfSr9w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Q.tPQA6LWDj9VGz7FQfm3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e4OcuUwWfRexNVA0Sn3Q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0SaTmyAUrTacvXxhdNLR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3nw7yaB0kvDwHiyqFdXXg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xHOqQRtr7FmAZgwCH74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mnDfXcd9Xd4I3jE0Uo0mg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z3RPnzMunf6cv90aVf4cw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UCfWuY7v8.6b4wzhKVKT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.sY1QelOkzVTD.r0iehUw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NvsoK9yNaytDE7gACoA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46EcVZVpTtdgkVd44qE2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KWRV6KfEx3OO2d.o7P4hg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YiWq3gxcXKIS25_TWzXr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pmc_MdzgE82mq0xnlmEzQ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ss9N9vTVmHdJF0JP3HAHg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x.2X1qRM40qIIPIaNEv_g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ojbe4GJiZeJVmkGqi63KA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DKTdwShTtKjp24oEpZzZQ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aIKaKuKJIwv_2fY1ufhWg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8LbuQ9_BvluDbZCkYNvCw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TKidwDSzPMCEodWFjNtFUA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IVLuBUGE90Us1U3R6Mkj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ZIcTEocVRHyWA.WqS3xKw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trvNMefr0NioHH9AH8_Bg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suKTatecM_bqlElMBecl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pWYFCLR2ZHzsxpL5cNChg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M3XlTcLiEE_f4xlrm0gcw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sG7UsFMts14ibEaQpt_d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BTw3Zy4Z7fxgHhW4s_rdQ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NrO.lpkmFrAKUcsQjA.yA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MLE8XIGqHEuz6f_ByRAKP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FPdd_FaXyTpdysBxHTTj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rwAJmKEbGt7Ai2HZtaJFzg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WyJxoFZlUJdNtRoxltWqw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OQYGV1ZEMmufqoc2wqZsg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2URnU_9vGtvJ9XyB13GJw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YtKnd3_dC7gXAxS4zOXag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tXlgVb5DVFqJ2fJI2p3_Q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GI65ng06qRNSQsbvozQ8w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s_nzIu_MndAjooPFi5flA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gvuvloyCUWMpV.zreufw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__RmAVSEkMh6F8cC5Gv0M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H1xcT1TngvPYRfJqi3yQ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TSm5QyuzlYMNe73yWgsqw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1P7X7bzPsCV.K9iuXy3msA"/>
</p:tagLst>
</file>

<file path=ppt/theme/theme1.xml><?xml version="1.0" encoding="utf-8"?>
<a:theme xmlns:a="http://schemas.openxmlformats.org/drawingml/2006/main" name="1_Office Theme">
  <a:themeElements>
    <a:clrScheme name="Настроювані 1">
      <a:dk1>
        <a:sysClr val="windowText" lastClr="000000"/>
      </a:dk1>
      <a:lt1>
        <a:sysClr val="window" lastClr="FFFFFF"/>
      </a:lt1>
      <a:dk2>
        <a:srgbClr val="006AB9"/>
      </a:dk2>
      <a:lt2>
        <a:srgbClr val="EEECE1"/>
      </a:lt2>
      <a:accent1>
        <a:srgbClr val="00A1DF"/>
      </a:accent1>
      <a:accent2>
        <a:srgbClr val="ED2435"/>
      </a:accent2>
      <a:accent3>
        <a:srgbClr val="C2B22B"/>
      </a:accent3>
      <a:accent4>
        <a:srgbClr val="FCBA26"/>
      </a:accent4>
      <a:accent5>
        <a:srgbClr val="4C8E88"/>
      </a:accent5>
      <a:accent6>
        <a:srgbClr val="F58230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Тема Office">
  <a:themeElements>
    <a:clrScheme name="Офіс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Офіс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Офіс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Тема Office">
  <a:themeElements>
    <a:clrScheme name="Офіс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Офіс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Офіс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Офіс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  <a:fontScheme name="Офіс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  <a:font script="Armn" typeface="Arial"/>
      <a:font script="Bugi" typeface="Leelawadee UI"/>
      <a:font script="Bopo" typeface="Microsoft JhengHei"/>
      <a:font script="Java" typeface="Javanese Text"/>
      <a:font script="Lisu" typeface="Segoe UI"/>
      <a:font script="Mymr" typeface="Myanmar Text"/>
      <a:font script="Nkoo" typeface="Ebrima"/>
      <a:font script="Olck" typeface="Nirmala UI"/>
      <a:font script="Osma" typeface="Ebrima"/>
      <a:font script="Phag" typeface="Phagspa"/>
      <a:font script="Syrn" typeface="Estrangelo Edessa"/>
      <a:font script="Syrj" typeface="Estrangelo Edessa"/>
      <a:font script="Syre" typeface="Estrangelo Edessa"/>
      <a:font script="Sora" typeface="Nirmala UI"/>
      <a:font script="Tale" typeface="Microsoft Tai Le"/>
      <a:font script="Talu" typeface="Microsoft New Tai Lue"/>
      <a:font script="Tfng" typeface="Ebrima"/>
    </a:minorFont>
  </a:fontScheme>
  <a:fmtScheme name="Офіс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1564</TotalTime>
  <Words>531</Words>
  <Application>Microsoft Macintosh PowerPoint</Application>
  <PresentationFormat>Widescreen</PresentationFormat>
  <Paragraphs>239</Paragraphs>
  <Slides>8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8</vt:i4>
      </vt:variant>
    </vt:vector>
  </HeadingPairs>
  <TitlesOfParts>
    <vt:vector size="14" baseType="lpstr">
      <vt:lpstr>Arial</vt:lpstr>
      <vt:lpstr>Calibri</vt:lpstr>
      <vt:lpstr>Calibri Light</vt:lpstr>
      <vt:lpstr>Times New Roman</vt:lpstr>
      <vt:lpstr>1_Office Theme</vt:lpstr>
      <vt:lpstr>think-cell Slide</vt:lpstr>
      <vt:lpstr>Ukraine-France Forum</vt:lpstr>
      <vt:lpstr>PowerPoint Presentation</vt:lpstr>
      <vt:lpstr>PowerPoint Presentation</vt:lpstr>
      <vt:lpstr>France in the energy crisis</vt:lpstr>
      <vt:lpstr>How did we get here?</vt:lpstr>
      <vt:lpstr>What does Putin want? </vt:lpstr>
      <vt:lpstr>What can be done?</vt:lpstr>
      <vt:lpstr>Thank you</vt:lpstr>
    </vt:vector>
  </TitlesOfParts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Литвиненко Євген Миколайович</dc:creator>
  <cp:lastModifiedBy>NEC NEC</cp:lastModifiedBy>
  <cp:revision>544</cp:revision>
  <cp:lastPrinted>2018-07-09T12:20:20Z</cp:lastPrinted>
  <dcterms:created xsi:type="dcterms:W3CDTF">2018-03-10T09:44:20Z</dcterms:created>
  <dcterms:modified xsi:type="dcterms:W3CDTF">2022-02-10T09:58:1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reated">
    <vt:filetime>2018-03-10T00:00:00Z</vt:filetime>
  </property>
  <property fmtid="{D5CDD505-2E9C-101B-9397-08002B2CF9AE}" pid="3" name="LastSaved">
    <vt:filetime>2018-03-10T00:00:00Z</vt:filetime>
  </property>
</Properties>
</file>